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theme/theme3.xml" ContentType="application/vnd.openxmlformats-officedocument.theme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theme/theme4.xml" ContentType="application/vnd.openxmlformats-officedocument.theme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8388" r:id="rId1"/>
    <p:sldMasterId id="2147488351" r:id="rId2"/>
    <p:sldMasterId id="2147483648" r:id="rId3"/>
    <p:sldMasterId id="2147488372" r:id="rId4"/>
    <p:sldMasterId id="2147488560" r:id="rId5"/>
  </p:sldMasterIdLst>
  <p:notesMasterIdLst>
    <p:notesMasterId r:id="rId62"/>
  </p:notesMasterIdLst>
  <p:sldIdLst>
    <p:sldId id="280" r:id="rId6"/>
    <p:sldId id="283" r:id="rId7"/>
    <p:sldId id="918" r:id="rId8"/>
    <p:sldId id="968" r:id="rId9"/>
    <p:sldId id="849" r:id="rId10"/>
    <p:sldId id="989" r:id="rId11"/>
    <p:sldId id="990" r:id="rId12"/>
    <p:sldId id="1016" r:id="rId13"/>
    <p:sldId id="1017" r:id="rId14"/>
    <p:sldId id="1013" r:id="rId15"/>
    <p:sldId id="1014" r:id="rId16"/>
    <p:sldId id="878" r:id="rId17"/>
    <p:sldId id="880" r:id="rId18"/>
    <p:sldId id="737" r:id="rId19"/>
    <p:sldId id="858" r:id="rId20"/>
    <p:sldId id="979" r:id="rId21"/>
    <p:sldId id="1012" r:id="rId22"/>
    <p:sldId id="928" r:id="rId23"/>
    <p:sldId id="1018" r:id="rId24"/>
    <p:sldId id="978" r:id="rId25"/>
    <p:sldId id="1011" r:id="rId26"/>
    <p:sldId id="980" r:id="rId27"/>
    <p:sldId id="991" r:id="rId28"/>
    <p:sldId id="992" r:id="rId29"/>
    <p:sldId id="983" r:id="rId30"/>
    <p:sldId id="987" r:id="rId31"/>
    <p:sldId id="981" r:id="rId32"/>
    <p:sldId id="982" r:id="rId33"/>
    <p:sldId id="994" r:id="rId34"/>
    <p:sldId id="995" r:id="rId35"/>
    <p:sldId id="993" r:id="rId36"/>
    <p:sldId id="1010" r:id="rId37"/>
    <p:sldId id="988" r:id="rId38"/>
    <p:sldId id="997" r:id="rId39"/>
    <p:sldId id="998" r:id="rId40"/>
    <p:sldId id="999" r:id="rId41"/>
    <p:sldId id="1000" r:id="rId42"/>
    <p:sldId id="1001" r:id="rId43"/>
    <p:sldId id="1002" r:id="rId44"/>
    <p:sldId id="1003" r:id="rId45"/>
    <p:sldId id="1004" r:id="rId46"/>
    <p:sldId id="1005" r:id="rId47"/>
    <p:sldId id="1006" r:id="rId48"/>
    <p:sldId id="1007" r:id="rId49"/>
    <p:sldId id="1008" r:id="rId50"/>
    <p:sldId id="925" r:id="rId51"/>
    <p:sldId id="923" r:id="rId52"/>
    <p:sldId id="919" r:id="rId53"/>
    <p:sldId id="955" r:id="rId54"/>
    <p:sldId id="848" r:id="rId55"/>
    <p:sldId id="832" r:id="rId56"/>
    <p:sldId id="974" r:id="rId57"/>
    <p:sldId id="975" r:id="rId58"/>
    <p:sldId id="833" r:id="rId59"/>
    <p:sldId id="845" r:id="rId60"/>
    <p:sldId id="852" r:id="rId6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7046CD1-13B3-4B12-BDF7-1E67C59A2D80}">
          <p14:sldIdLst>
            <p14:sldId id="280"/>
            <p14:sldId id="283"/>
            <p14:sldId id="918"/>
            <p14:sldId id="968"/>
            <p14:sldId id="849"/>
            <p14:sldId id="989"/>
            <p14:sldId id="990"/>
            <p14:sldId id="1016"/>
            <p14:sldId id="1017"/>
            <p14:sldId id="1013"/>
            <p14:sldId id="1014"/>
            <p14:sldId id="878"/>
            <p14:sldId id="880"/>
            <p14:sldId id="737"/>
            <p14:sldId id="858"/>
            <p14:sldId id="979"/>
            <p14:sldId id="1012"/>
            <p14:sldId id="928"/>
            <p14:sldId id="1018"/>
            <p14:sldId id="978"/>
            <p14:sldId id="1011"/>
            <p14:sldId id="980"/>
            <p14:sldId id="991"/>
            <p14:sldId id="992"/>
            <p14:sldId id="983"/>
            <p14:sldId id="987"/>
            <p14:sldId id="981"/>
            <p14:sldId id="982"/>
            <p14:sldId id="994"/>
            <p14:sldId id="995"/>
            <p14:sldId id="993"/>
            <p14:sldId id="1010"/>
            <p14:sldId id="988"/>
          </p14:sldIdLst>
        </p14:section>
        <p14:section name="REDCap" id="{7C682B81-CE89-4541-A737-433A60540500}">
          <p14:sldIdLst>
            <p14:sldId id="997"/>
            <p14:sldId id="998"/>
            <p14:sldId id="999"/>
            <p14:sldId id="1000"/>
            <p14:sldId id="1001"/>
            <p14:sldId id="1002"/>
            <p14:sldId id="1003"/>
            <p14:sldId id="1004"/>
            <p14:sldId id="1005"/>
            <p14:sldId id="1006"/>
            <p14:sldId id="1007"/>
            <p14:sldId id="1008"/>
            <p14:sldId id="925"/>
            <p14:sldId id="923"/>
            <p14:sldId id="919"/>
            <p14:sldId id="955"/>
            <p14:sldId id="848"/>
            <p14:sldId id="832"/>
            <p14:sldId id="974"/>
            <p14:sldId id="975"/>
            <p14:sldId id="833"/>
            <p14:sldId id="845"/>
            <p14:sldId id="85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B1E8E1CE-C373-4BDB-0D3F-F84FE1DA86D4}" name="Eileen Fleming Suse" initials="ES" userId="S::efs3844@ads.northwestern.edu::725c94ef-d051-42d7-9d33-8572765d592b" providerId="AD"/>
  <p188:author id="{1BCA7BFC-F11C-3E9E-95B3-FA7A4B2C0B61}" name="Kiela Karina Moreno" initials="KM" userId="S::mpg7143@ads.northwestern.edu::1e897b35-0dd4-497a-9ab7-7a37e6c39d5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25E"/>
    <a:srgbClr val="F5668F"/>
    <a:srgbClr val="20488E"/>
    <a:srgbClr val="E2DDE5"/>
    <a:srgbClr val="68A1C2"/>
    <a:srgbClr val="000000"/>
    <a:srgbClr val="1C498B"/>
    <a:srgbClr val="DDEEF8"/>
    <a:srgbClr val="F2E1E1"/>
    <a:srgbClr val="315D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2289A6A-096F-86F0-8AB2-AEB50D7C7E59}" v="405" dt="2024-06-16T00:48:59.476"/>
    <p1510:client id="{B8625CDE-1443-8533-C5C7-21E6D80C0E89}" v="1037" dt="2024-06-17T01:22:23.8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86"/>
  </p:normalViewPr>
  <p:slideViewPr>
    <p:cSldViewPr snapToGrid="0">
      <p:cViewPr varScale="1">
        <p:scale>
          <a:sx n="101" d="100"/>
          <a:sy n="101" d="100"/>
        </p:scale>
        <p:origin x="100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presProps" Target="presProps.xml"/><Relationship Id="rId68" Type="http://schemas.microsoft.com/office/2018/10/relationships/authors" Target="author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slide" Target="slides/slide53.xml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6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64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slide" Target="slides/slide54.xml"/><Relationship Id="rId67" Type="http://schemas.microsoft.com/office/2015/10/relationships/revisionInfo" Target="revisionInfo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slide" Target="slides/slide55.xml"/><Relationship Id="rId65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F2803A7-90A0-4BC6-BC05-28FBD2D976FA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1E7551E2-F93B-47D4-9821-DD67FEBEF221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Hospital Level Data form</a:t>
          </a:r>
        </a:p>
      </dgm:t>
    </dgm:pt>
    <dgm:pt modelId="{35D105FF-3E6E-4E68-A8E2-85AC789B699F}" type="parTrans" cxnId="{81F77749-EF3F-41D4-B107-045C3634334D}">
      <dgm:prSet/>
      <dgm:spPr/>
      <dgm:t>
        <a:bodyPr/>
        <a:lstStyle/>
        <a:p>
          <a:endParaRPr lang="en-US"/>
        </a:p>
      </dgm:t>
    </dgm:pt>
    <dgm:pt modelId="{3482EDDA-887F-4535-922A-A7894AA6FF27}" type="sibTrans" cxnId="{81F77749-EF3F-41D4-B107-045C3634334D}">
      <dgm:prSet/>
      <dgm:spPr/>
      <dgm:t>
        <a:bodyPr/>
        <a:lstStyle/>
        <a:p>
          <a:endParaRPr lang="en-US"/>
        </a:p>
      </dgm:t>
    </dgm:pt>
    <dgm:pt modelId="{CDE93A3B-D304-4BF9-B63C-A18A03CC1339}">
      <dgm:prSet/>
      <dgm:spPr/>
      <dgm:t>
        <a:bodyPr/>
        <a:lstStyle/>
        <a:p>
          <a:pPr rtl="0"/>
          <a:r>
            <a:rPr lang="en-US">
              <a:latin typeface="DM Sans"/>
              <a:cs typeface="Calibri"/>
            </a:rPr>
            <a:t>Structure Measures </a:t>
          </a:r>
        </a:p>
      </dgm:t>
    </dgm:pt>
    <dgm:pt modelId="{AC4E72F0-4302-408C-9916-58033F307E66}" type="parTrans" cxnId="{2455CDAC-E222-43F9-9142-8813BE8A5C89}">
      <dgm:prSet/>
      <dgm:spPr/>
      <dgm:t>
        <a:bodyPr/>
        <a:lstStyle/>
        <a:p>
          <a:endParaRPr lang="en-US"/>
        </a:p>
      </dgm:t>
    </dgm:pt>
    <dgm:pt modelId="{B75563AB-8B5A-40CF-949E-A56EF8A4FEBC}" type="sibTrans" cxnId="{2455CDAC-E222-43F9-9142-8813BE8A5C89}">
      <dgm:prSet/>
      <dgm:spPr/>
      <dgm:t>
        <a:bodyPr/>
        <a:lstStyle/>
        <a:p>
          <a:endParaRPr lang="en-US"/>
        </a:p>
      </dgm:t>
    </dgm:pt>
    <dgm:pt modelId="{E048B95C-A001-4DC8-A7B9-E10A52BE0629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Education Measures</a:t>
          </a:r>
        </a:p>
      </dgm:t>
    </dgm:pt>
    <dgm:pt modelId="{D46A2253-7F42-4F35-A6D0-B92212B2AA93}" type="parTrans" cxnId="{340CA8D4-8C91-4151-8F19-CD102E3F8CCC}">
      <dgm:prSet/>
      <dgm:spPr/>
      <dgm:t>
        <a:bodyPr/>
        <a:lstStyle/>
        <a:p>
          <a:endParaRPr lang="en-US"/>
        </a:p>
      </dgm:t>
    </dgm:pt>
    <dgm:pt modelId="{5FA6BCB9-9FAB-401C-AADA-2BAB1285B0E6}" type="sibTrans" cxnId="{340CA8D4-8C91-4151-8F19-CD102E3F8CCC}">
      <dgm:prSet/>
      <dgm:spPr/>
      <dgm:t>
        <a:bodyPr/>
        <a:lstStyle/>
        <a:p>
          <a:endParaRPr lang="en-US"/>
        </a:p>
      </dgm:t>
    </dgm:pt>
    <dgm:pt modelId="{2F96AE4C-80EE-42F0-9C1C-F09A8B9EB6B1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Crib Audits</a:t>
          </a:r>
        </a:p>
      </dgm:t>
    </dgm:pt>
    <dgm:pt modelId="{993F732A-4C89-4B04-949B-565AF25BC9C1}" type="parTrans" cxnId="{B966FE98-A212-43A6-9A1C-E4F1F6105032}">
      <dgm:prSet/>
      <dgm:spPr/>
      <dgm:t>
        <a:bodyPr/>
        <a:lstStyle/>
        <a:p>
          <a:endParaRPr lang="en-US"/>
        </a:p>
      </dgm:t>
    </dgm:pt>
    <dgm:pt modelId="{840B5B38-E302-4593-A113-A37975CD5192}" type="sibTrans" cxnId="{B966FE98-A212-43A6-9A1C-E4F1F6105032}">
      <dgm:prSet/>
      <dgm:spPr/>
      <dgm:t>
        <a:bodyPr/>
        <a:lstStyle/>
        <a:p>
          <a:endParaRPr lang="en-US"/>
        </a:p>
      </dgm:t>
    </dgm:pt>
    <dgm:pt modelId="{22D5BD7D-2E8D-478E-A9E9-F93DFD60822F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Patient Level Data form</a:t>
          </a:r>
        </a:p>
      </dgm:t>
    </dgm:pt>
    <dgm:pt modelId="{0FC81F1A-D000-4B5D-A9D6-601EF1AA153F}" type="parTrans" cxnId="{7A17557C-68F8-460B-B2DB-AD1E9B339C1D}">
      <dgm:prSet/>
      <dgm:spPr/>
      <dgm:t>
        <a:bodyPr/>
        <a:lstStyle/>
        <a:p>
          <a:endParaRPr lang="en-US"/>
        </a:p>
      </dgm:t>
    </dgm:pt>
    <dgm:pt modelId="{514469A3-F785-4FB7-8162-EBEDC6170801}" type="sibTrans" cxnId="{7A17557C-68F8-460B-B2DB-AD1E9B339C1D}">
      <dgm:prSet/>
      <dgm:spPr/>
      <dgm:t>
        <a:bodyPr/>
        <a:lstStyle/>
        <a:p>
          <a:endParaRPr lang="en-US"/>
        </a:p>
      </dgm:t>
    </dgm:pt>
    <dgm:pt modelId="{29A9AEB3-1C54-4E12-B059-0D2F8ED1614B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Random sample of 20 newborns discharged each month​</a:t>
          </a:r>
        </a:p>
      </dgm:t>
    </dgm:pt>
    <dgm:pt modelId="{9FF34403-9B14-437A-8A20-24E31C6152CA}" type="parTrans" cxnId="{48C76931-764E-4E46-B9AE-F6A5150A8A32}">
      <dgm:prSet/>
      <dgm:spPr/>
      <dgm:t>
        <a:bodyPr/>
        <a:lstStyle/>
        <a:p>
          <a:endParaRPr lang="en-US"/>
        </a:p>
      </dgm:t>
    </dgm:pt>
    <dgm:pt modelId="{E12A0EB6-A256-4A0E-AA7A-712D58EA38F9}" type="sibTrans" cxnId="{48C76931-764E-4E46-B9AE-F6A5150A8A32}">
      <dgm:prSet/>
      <dgm:spPr/>
      <dgm:t>
        <a:bodyPr/>
        <a:lstStyle/>
        <a:p>
          <a:endParaRPr lang="en-US"/>
        </a:p>
      </dgm:t>
    </dgm:pt>
    <dgm:pt modelId="{8DD8113F-3048-40A9-8EC1-48C9434AE9D5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Newborn and birthing person demographic data</a:t>
          </a:r>
        </a:p>
      </dgm:t>
    </dgm:pt>
    <dgm:pt modelId="{A6A15F87-D059-4B54-9240-8FA6FAB1AA11}" type="parTrans" cxnId="{88BDBB16-3955-4632-B83B-21BDC6B2FAB9}">
      <dgm:prSet/>
      <dgm:spPr/>
      <dgm:t>
        <a:bodyPr/>
        <a:lstStyle/>
        <a:p>
          <a:endParaRPr lang="en-US"/>
        </a:p>
      </dgm:t>
    </dgm:pt>
    <dgm:pt modelId="{7E72E34E-F8D6-4976-8500-1FDB964A1093}" type="sibTrans" cxnId="{88BDBB16-3955-4632-B83B-21BDC6B2FAB9}">
      <dgm:prSet/>
      <dgm:spPr/>
      <dgm:t>
        <a:bodyPr/>
        <a:lstStyle/>
        <a:p>
          <a:endParaRPr lang="en-US"/>
        </a:p>
      </dgm:t>
    </dgm:pt>
    <dgm:pt modelId="{EAB071E8-CDD2-4E4F-8F34-A669EEE4D813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Transfer of care documentation​</a:t>
          </a:r>
        </a:p>
      </dgm:t>
    </dgm:pt>
    <dgm:pt modelId="{88AECF3A-DA6F-4E01-9F6E-DC956428531F}" type="parTrans" cxnId="{AF69837F-3867-4E2F-B39B-191E07FEEA4F}">
      <dgm:prSet/>
      <dgm:spPr/>
      <dgm:t>
        <a:bodyPr/>
        <a:lstStyle/>
        <a:p>
          <a:endParaRPr lang="en-US"/>
        </a:p>
      </dgm:t>
    </dgm:pt>
    <dgm:pt modelId="{36C97ABB-C9CF-47D0-9358-749D9FADA06A}" type="sibTrans" cxnId="{AF69837F-3867-4E2F-B39B-191E07FEEA4F}">
      <dgm:prSet/>
      <dgm:spPr/>
      <dgm:t>
        <a:bodyPr/>
        <a:lstStyle/>
        <a:p>
          <a:endParaRPr lang="en-US"/>
        </a:p>
      </dgm:t>
    </dgm:pt>
    <dgm:pt modelId="{0E7059E9-143D-2442-BDF1-B567097CEC9E}">
      <dgm:prSet/>
      <dgm:spPr/>
      <dgm:t>
        <a:bodyPr/>
        <a:lstStyle/>
        <a:p>
          <a:r>
            <a:rPr lang="en-US">
              <a:latin typeface="DM Sans"/>
              <a:cs typeface="Calibri"/>
            </a:rPr>
            <a:t>Family safe sleep education​</a:t>
          </a:r>
        </a:p>
      </dgm:t>
    </dgm:pt>
    <dgm:pt modelId="{63245D07-9F23-5743-9999-24589F6DC805}" type="parTrans" cxnId="{6946DACF-DBE5-6741-8832-71D39FE83374}">
      <dgm:prSet/>
      <dgm:spPr/>
    </dgm:pt>
    <dgm:pt modelId="{BC92C504-E40B-C84D-AC1E-DE52D63BF427}" type="sibTrans" cxnId="{6946DACF-DBE5-6741-8832-71D39FE83374}">
      <dgm:prSet/>
      <dgm:spPr/>
    </dgm:pt>
    <dgm:pt modelId="{CA9A1851-BC48-4982-B52D-BC9989FB78D2}" type="pres">
      <dgm:prSet presAssocID="{9F2803A7-90A0-4BC6-BC05-28FBD2D976FA}" presName="Name0" presStyleCnt="0">
        <dgm:presLayoutVars>
          <dgm:dir/>
          <dgm:animLvl val="lvl"/>
          <dgm:resizeHandles val="exact"/>
        </dgm:presLayoutVars>
      </dgm:prSet>
      <dgm:spPr/>
    </dgm:pt>
    <dgm:pt modelId="{9129533E-A104-45C5-A3B3-305C27EB86D4}" type="pres">
      <dgm:prSet presAssocID="{1E7551E2-F93B-47D4-9821-DD67FEBEF221}" presName="composite" presStyleCnt="0"/>
      <dgm:spPr/>
    </dgm:pt>
    <dgm:pt modelId="{0A6E60D1-F877-47D4-8B41-F856165E7A80}" type="pres">
      <dgm:prSet presAssocID="{1E7551E2-F93B-47D4-9821-DD67FEBEF221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9CDF1165-2B21-4627-8D70-B6E057345958}" type="pres">
      <dgm:prSet presAssocID="{1E7551E2-F93B-47D4-9821-DD67FEBEF221}" presName="desTx" presStyleLbl="alignAccFollowNode1" presStyleIdx="0" presStyleCnt="2">
        <dgm:presLayoutVars>
          <dgm:bulletEnabled val="1"/>
        </dgm:presLayoutVars>
      </dgm:prSet>
      <dgm:spPr/>
    </dgm:pt>
    <dgm:pt modelId="{BA2F7A74-7A3D-4692-B18C-DEEE183052BE}" type="pres">
      <dgm:prSet presAssocID="{3482EDDA-887F-4535-922A-A7894AA6FF27}" presName="space" presStyleCnt="0"/>
      <dgm:spPr/>
    </dgm:pt>
    <dgm:pt modelId="{28FDC6B1-63B4-4B80-8398-8943F315BE9C}" type="pres">
      <dgm:prSet presAssocID="{22D5BD7D-2E8D-478E-A9E9-F93DFD60822F}" presName="composite" presStyleCnt="0"/>
      <dgm:spPr/>
    </dgm:pt>
    <dgm:pt modelId="{72E90577-3D0A-44A9-802D-7402B1482B47}" type="pres">
      <dgm:prSet presAssocID="{22D5BD7D-2E8D-478E-A9E9-F93DFD60822F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CF05495E-421B-40F8-91AB-BC717C052FA2}" type="pres">
      <dgm:prSet presAssocID="{22D5BD7D-2E8D-478E-A9E9-F93DFD60822F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FE096E00-CE66-4981-9D15-0A3D8AD2388C}" type="presOf" srcId="{EAB071E8-CDD2-4E4F-8F34-A669EEE4D813}" destId="{CF05495E-421B-40F8-91AB-BC717C052FA2}" srcOrd="0" destOrd="3" presId="urn:microsoft.com/office/officeart/2005/8/layout/hList1"/>
    <dgm:cxn modelId="{88BDBB16-3955-4632-B83B-21BDC6B2FAB9}" srcId="{22D5BD7D-2E8D-478E-A9E9-F93DFD60822F}" destId="{8DD8113F-3048-40A9-8EC1-48C9434AE9D5}" srcOrd="1" destOrd="0" parTransId="{A6A15F87-D059-4B54-9240-8FA6FAB1AA11}" sibTransId="{7E72E34E-F8D6-4976-8500-1FDB964A1093}"/>
    <dgm:cxn modelId="{48C76931-764E-4E46-B9AE-F6A5150A8A32}" srcId="{22D5BD7D-2E8D-478E-A9E9-F93DFD60822F}" destId="{29A9AEB3-1C54-4E12-B059-0D2F8ED1614B}" srcOrd="0" destOrd="0" parTransId="{9FF34403-9B14-437A-8A20-24E31C6152CA}" sibTransId="{E12A0EB6-A256-4A0E-AA7A-712D58EA38F9}"/>
    <dgm:cxn modelId="{81F77749-EF3F-41D4-B107-045C3634334D}" srcId="{9F2803A7-90A0-4BC6-BC05-28FBD2D976FA}" destId="{1E7551E2-F93B-47D4-9821-DD67FEBEF221}" srcOrd="0" destOrd="0" parTransId="{35D105FF-3E6E-4E68-A8E2-85AC789B699F}" sibTransId="{3482EDDA-887F-4535-922A-A7894AA6FF27}"/>
    <dgm:cxn modelId="{B00CE04B-5B7D-42FA-81C6-EC6C82D6C67B}" type="presOf" srcId="{2F96AE4C-80EE-42F0-9C1C-F09A8B9EB6B1}" destId="{9CDF1165-2B21-4627-8D70-B6E057345958}" srcOrd="0" destOrd="2" presId="urn:microsoft.com/office/officeart/2005/8/layout/hList1"/>
    <dgm:cxn modelId="{7165D74D-6BFD-4210-8ABA-77B18A6E3AC1}" type="presOf" srcId="{22D5BD7D-2E8D-478E-A9E9-F93DFD60822F}" destId="{72E90577-3D0A-44A9-802D-7402B1482B47}" srcOrd="0" destOrd="0" presId="urn:microsoft.com/office/officeart/2005/8/layout/hList1"/>
    <dgm:cxn modelId="{C7531579-4B3E-4E9C-A637-CB5355321A5E}" type="presOf" srcId="{9F2803A7-90A0-4BC6-BC05-28FBD2D976FA}" destId="{CA9A1851-BC48-4982-B52D-BC9989FB78D2}" srcOrd="0" destOrd="0" presId="urn:microsoft.com/office/officeart/2005/8/layout/hList1"/>
    <dgm:cxn modelId="{6C1E4979-0D1B-4298-B1D9-B252DC74106A}" type="presOf" srcId="{E048B95C-A001-4DC8-A7B9-E10A52BE0629}" destId="{9CDF1165-2B21-4627-8D70-B6E057345958}" srcOrd="0" destOrd="1" presId="urn:microsoft.com/office/officeart/2005/8/layout/hList1"/>
    <dgm:cxn modelId="{7A17557C-68F8-460B-B2DB-AD1E9B339C1D}" srcId="{9F2803A7-90A0-4BC6-BC05-28FBD2D976FA}" destId="{22D5BD7D-2E8D-478E-A9E9-F93DFD60822F}" srcOrd="1" destOrd="0" parTransId="{0FC81F1A-D000-4B5D-A9D6-601EF1AA153F}" sibTransId="{514469A3-F785-4FB7-8162-EBEDC6170801}"/>
    <dgm:cxn modelId="{0590D27C-00A3-46A1-B525-278D462D6D9B}" type="presOf" srcId="{29A9AEB3-1C54-4E12-B059-0D2F8ED1614B}" destId="{CF05495E-421B-40F8-91AB-BC717C052FA2}" srcOrd="0" destOrd="0" presId="urn:microsoft.com/office/officeart/2005/8/layout/hList1"/>
    <dgm:cxn modelId="{AF69837F-3867-4E2F-B39B-191E07FEEA4F}" srcId="{22D5BD7D-2E8D-478E-A9E9-F93DFD60822F}" destId="{EAB071E8-CDD2-4E4F-8F34-A669EEE4D813}" srcOrd="3" destOrd="0" parTransId="{88AECF3A-DA6F-4E01-9F6E-DC956428531F}" sibTransId="{36C97ABB-C9CF-47D0-9358-749D9FADA06A}"/>
    <dgm:cxn modelId="{45D2B28C-15A1-44B9-9119-17C11CDEBD07}" type="presOf" srcId="{1E7551E2-F93B-47D4-9821-DD67FEBEF221}" destId="{0A6E60D1-F877-47D4-8B41-F856165E7A80}" srcOrd="0" destOrd="0" presId="urn:microsoft.com/office/officeart/2005/8/layout/hList1"/>
    <dgm:cxn modelId="{B966FE98-A212-43A6-9A1C-E4F1F6105032}" srcId="{1E7551E2-F93B-47D4-9821-DD67FEBEF221}" destId="{2F96AE4C-80EE-42F0-9C1C-F09A8B9EB6B1}" srcOrd="2" destOrd="0" parTransId="{993F732A-4C89-4B04-949B-565AF25BC9C1}" sibTransId="{840B5B38-E302-4593-A113-A37975CD5192}"/>
    <dgm:cxn modelId="{2455CDAC-E222-43F9-9142-8813BE8A5C89}" srcId="{1E7551E2-F93B-47D4-9821-DD67FEBEF221}" destId="{CDE93A3B-D304-4BF9-B63C-A18A03CC1339}" srcOrd="0" destOrd="0" parTransId="{AC4E72F0-4302-408C-9916-58033F307E66}" sibTransId="{B75563AB-8B5A-40CF-949E-A56EF8A4FEBC}"/>
    <dgm:cxn modelId="{687232AD-801E-49C7-A659-6917DB7391DF}" type="presOf" srcId="{CDE93A3B-D304-4BF9-B63C-A18A03CC1339}" destId="{9CDF1165-2B21-4627-8D70-B6E057345958}" srcOrd="0" destOrd="0" presId="urn:microsoft.com/office/officeart/2005/8/layout/hList1"/>
    <dgm:cxn modelId="{6946DACF-DBE5-6741-8832-71D39FE83374}" srcId="{22D5BD7D-2E8D-478E-A9E9-F93DFD60822F}" destId="{0E7059E9-143D-2442-BDF1-B567097CEC9E}" srcOrd="2" destOrd="0" parTransId="{63245D07-9F23-5743-9999-24589F6DC805}" sibTransId="{BC92C504-E40B-C84D-AC1E-DE52D63BF427}"/>
    <dgm:cxn modelId="{340CA8D4-8C91-4151-8F19-CD102E3F8CCC}" srcId="{1E7551E2-F93B-47D4-9821-DD67FEBEF221}" destId="{E048B95C-A001-4DC8-A7B9-E10A52BE0629}" srcOrd="1" destOrd="0" parTransId="{D46A2253-7F42-4F35-A6D0-B92212B2AA93}" sibTransId="{5FA6BCB9-9FAB-401C-AADA-2BAB1285B0E6}"/>
    <dgm:cxn modelId="{371B7BD9-6F73-40A3-9216-7B800D8FFB25}" type="presOf" srcId="{8DD8113F-3048-40A9-8EC1-48C9434AE9D5}" destId="{CF05495E-421B-40F8-91AB-BC717C052FA2}" srcOrd="0" destOrd="1" presId="urn:microsoft.com/office/officeart/2005/8/layout/hList1"/>
    <dgm:cxn modelId="{CF49FDE4-6FD3-B047-AB58-2C50AC884160}" type="presOf" srcId="{0E7059E9-143D-2442-BDF1-B567097CEC9E}" destId="{CF05495E-421B-40F8-91AB-BC717C052FA2}" srcOrd="0" destOrd="2" presId="urn:microsoft.com/office/officeart/2005/8/layout/hList1"/>
    <dgm:cxn modelId="{89902445-5C9C-4DEC-AF52-A6FEF9EB696B}" type="presParOf" srcId="{CA9A1851-BC48-4982-B52D-BC9989FB78D2}" destId="{9129533E-A104-45C5-A3B3-305C27EB86D4}" srcOrd="0" destOrd="0" presId="urn:microsoft.com/office/officeart/2005/8/layout/hList1"/>
    <dgm:cxn modelId="{DF7AF739-0732-4AA9-9990-97583BB98171}" type="presParOf" srcId="{9129533E-A104-45C5-A3B3-305C27EB86D4}" destId="{0A6E60D1-F877-47D4-8B41-F856165E7A80}" srcOrd="0" destOrd="0" presId="urn:microsoft.com/office/officeart/2005/8/layout/hList1"/>
    <dgm:cxn modelId="{BA89DBE8-F864-41DC-B5B3-EE7E81A28A4D}" type="presParOf" srcId="{9129533E-A104-45C5-A3B3-305C27EB86D4}" destId="{9CDF1165-2B21-4627-8D70-B6E057345958}" srcOrd="1" destOrd="0" presId="urn:microsoft.com/office/officeart/2005/8/layout/hList1"/>
    <dgm:cxn modelId="{BBF643C8-4331-4499-B743-2FE207F17EB9}" type="presParOf" srcId="{CA9A1851-BC48-4982-B52D-BC9989FB78D2}" destId="{BA2F7A74-7A3D-4692-B18C-DEEE183052BE}" srcOrd="1" destOrd="0" presId="urn:microsoft.com/office/officeart/2005/8/layout/hList1"/>
    <dgm:cxn modelId="{27CCB225-6587-49D5-A4FA-EAD3CC97C905}" type="presParOf" srcId="{CA9A1851-BC48-4982-B52D-BC9989FB78D2}" destId="{28FDC6B1-63B4-4B80-8398-8943F315BE9C}" srcOrd="2" destOrd="0" presId="urn:microsoft.com/office/officeart/2005/8/layout/hList1"/>
    <dgm:cxn modelId="{76BF201C-395D-46F7-9054-A027AFFD8F08}" type="presParOf" srcId="{28FDC6B1-63B4-4B80-8398-8943F315BE9C}" destId="{72E90577-3D0A-44A9-802D-7402B1482B47}" srcOrd="0" destOrd="0" presId="urn:microsoft.com/office/officeart/2005/8/layout/hList1"/>
    <dgm:cxn modelId="{0B39C839-4462-4100-BB73-959B02A80F29}" type="presParOf" srcId="{28FDC6B1-63B4-4B80-8398-8943F315BE9C}" destId="{CF05495E-421B-40F8-91AB-BC717C052FA2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E60D1-F877-47D4-8B41-F856165E7A80}">
      <dsp:nvSpPr>
        <dsp:cNvPr id="0" name=""/>
        <dsp:cNvSpPr/>
      </dsp:nvSpPr>
      <dsp:spPr>
        <a:xfrm>
          <a:off x="54" y="191674"/>
          <a:ext cx="5259304" cy="8064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>
              <a:latin typeface="DM Sans"/>
              <a:cs typeface="Calibri"/>
            </a:rPr>
            <a:t>Hospital Level Data form</a:t>
          </a:r>
        </a:p>
      </dsp:txBody>
      <dsp:txXfrm>
        <a:off x="54" y="191674"/>
        <a:ext cx="5259304" cy="806400"/>
      </dsp:txXfrm>
    </dsp:sp>
    <dsp:sp modelId="{9CDF1165-2B21-4627-8D70-B6E057345958}">
      <dsp:nvSpPr>
        <dsp:cNvPr id="0" name=""/>
        <dsp:cNvSpPr/>
      </dsp:nvSpPr>
      <dsp:spPr>
        <a:xfrm>
          <a:off x="54" y="998074"/>
          <a:ext cx="5259304" cy="3951084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99136" bIns="224028" numCol="1" spcCol="1270" anchor="t" anchorCtr="0">
          <a:noAutofit/>
        </a:bodyPr>
        <a:lstStyle/>
        <a:p>
          <a:pPr marL="285750" lvl="1" indent="-285750" algn="l" defTabSz="12446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Structure Measures 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Education Measures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Crib Audits</a:t>
          </a:r>
        </a:p>
      </dsp:txBody>
      <dsp:txXfrm>
        <a:off x="54" y="998074"/>
        <a:ext cx="5259304" cy="3951084"/>
      </dsp:txXfrm>
    </dsp:sp>
    <dsp:sp modelId="{72E90577-3D0A-44A9-802D-7402B1482B47}">
      <dsp:nvSpPr>
        <dsp:cNvPr id="0" name=""/>
        <dsp:cNvSpPr/>
      </dsp:nvSpPr>
      <dsp:spPr>
        <a:xfrm>
          <a:off x="5995661" y="191674"/>
          <a:ext cx="5259304" cy="8064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9136" tIns="113792" rIns="199136" bIns="113792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>
              <a:latin typeface="DM Sans"/>
              <a:cs typeface="Calibri"/>
            </a:rPr>
            <a:t>Patient Level Data form</a:t>
          </a:r>
        </a:p>
      </dsp:txBody>
      <dsp:txXfrm>
        <a:off x="5995661" y="191674"/>
        <a:ext cx="5259304" cy="806400"/>
      </dsp:txXfrm>
    </dsp:sp>
    <dsp:sp modelId="{CF05495E-421B-40F8-91AB-BC717C052FA2}">
      <dsp:nvSpPr>
        <dsp:cNvPr id="0" name=""/>
        <dsp:cNvSpPr/>
      </dsp:nvSpPr>
      <dsp:spPr>
        <a:xfrm>
          <a:off x="5995661" y="998074"/>
          <a:ext cx="5259304" cy="3951084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99136" bIns="224028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Random sample of 20 newborns discharged each month​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Newborn and birthing person demographic data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Family safe sleep education​</a:t>
          </a:r>
        </a:p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800" kern="1200">
              <a:latin typeface="DM Sans"/>
              <a:cs typeface="Calibri"/>
            </a:rPr>
            <a:t>Transfer of care documentation​</a:t>
          </a:r>
        </a:p>
      </dsp:txBody>
      <dsp:txXfrm>
        <a:off x="5995661" y="998074"/>
        <a:ext cx="5259304" cy="39510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5BBA65-082A-4B12-8C12-008467D70980}" type="datetimeFigureOut">
              <a:t>6/17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92C71E-C066-413C-8B82-ED7EB3E3A74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330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>
              <a:cs typeface="Calibri"/>
            </a:endParaRPr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2</a:t>
            </a:fld>
            <a:endParaRPr lang="en-US" altLang="en-US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2733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ga632c5bda9_0_49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6" name="Google Shape;986;ga632c5bda9_0_495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8596684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6749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ga4183c468f_1_1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44" name="Google Shape;1244;ga4183c468f_1_14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1819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Calibri,Sans-Serif"/>
              <a:buChar char="-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23642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4416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8875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99696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03573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1160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159175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30014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62540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84863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68644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40311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8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064391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00203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>
              <a:cs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30B010-FF72-F22C-89F5-6F969D895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FBDAC9-7258-171C-50F1-43D1301BBF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B4A6D2-AE17-E5D3-89D8-CFCA2DF125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8F5BFF-47B7-6110-D5DA-510AAD240A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B47C4E-2555-48D5-B810-2EFF142F540E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7728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6630160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0" name="Google Shape;12720;p11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21" name="Google Shape;12721;p119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722" name="Google Shape;12722;p119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56</a:t>
            </a:fld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3395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3559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6977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5" name="Google Shape;985;ga632c5bda9_0_495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86" name="Google Shape;986;ga632c5bda9_0_495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6638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2" name="Google Shape;892;ga632c5bda9_0_476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93" name="Google Shape;893;ga632c5bda9_0_476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6" Type="http://schemas.openxmlformats.org/officeDocument/2006/relationships/image" Target="../media/image40.emf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1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6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4.bin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40.emf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40.emf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1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8.bin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2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6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0.bin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2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2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2.xml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3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3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3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3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3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3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/Relationships>
</file>

<file path=ppt/slideLayouts/_rels/slideLayout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6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3.xml"/></Relationships>
</file>

<file path=ppt/slideLayouts/_rels/slideLayout6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3.xml"/></Relationships>
</file>

<file path=ppt/slideLayouts/_rels/slideLayout6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.xml"/></Relationships>
</file>

<file path=ppt/slideLayouts/_rels/slideLayout6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6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6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3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3.xml"/></Relationships>
</file>

<file path=ppt/slideLayouts/_rels/slideLayout6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3.xml"/></Relationships>
</file>

<file path=ppt/slideLayouts/_rels/slideLayout6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3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3.xml"/></Relationships>
</file>

<file path=ppt/slideLayouts/_rels/slideLayout6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7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7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7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7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7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7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7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7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4.xml"/></Relationships>
</file>

<file path=ppt/slideLayouts/_rels/slideLayout7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7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7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8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8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8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4.xml"/></Relationships>
</file>

<file path=ppt/slideLayouts/_rels/slideLayout8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4.xml"/></Relationships>
</file>

<file path=ppt/slideLayouts/_rels/slideLayout8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4.xml"/></Relationships>
</file>

<file path=ppt/slideLayouts/_rels/slideLayout8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/Relationships>
</file>

<file path=ppt/slideLayouts/_rels/slideLayout8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8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8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8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8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4.xml"/></Relationships>
</file>

<file path=ppt/slideLayouts/_rels/slideLayout8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4.xml"/></Relationships>
</file>

<file path=ppt/slideLayouts/_rels/slideLayout8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4.xml"/></Relationships>
</file>

<file path=ppt/slideLayouts/_rels/slideLayout8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8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8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8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4.xml"/></Relationships>
</file>

<file path=ppt/slideLayouts/_rels/slideLayout8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4.xml"/></Relationships>
</file>

<file path=ppt/slideLayouts/_rels/slideLayout8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8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4.xml"/></Relationships>
</file>

<file path=ppt/slideLayouts/_rels/slideLayout8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4.xml"/></Relationships>
</file>

<file path=ppt/slideLayouts/_rels/slideLayout8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4.xml"/></Relationships>
</file>

<file path=ppt/slideLayouts/_rels/slideLayout8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4.xml"/></Relationships>
</file>

<file path=ppt/slideLayouts/_rels/slideLayout8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8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8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8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8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8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8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8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4.xml"/></Relationships>
</file>

<file path=ppt/slideLayouts/_rels/slideLayout8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4.xml"/></Relationships>
</file>

<file path=ppt/slideLayouts/_rels/slideLayout8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8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4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4.xml"/></Relationships>
</file>

<file path=ppt/slideLayouts/_rels/slideLayout8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8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8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8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8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9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9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9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9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9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9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9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9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4.xml"/></Relationships>
</file>

<file path=ppt/slideLayouts/_rels/slideLayout9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7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oMsr" TargetMode="External"/><Relationship Id="rId2" Type="http://schemas.openxmlformats.org/officeDocument/2006/relationships/hyperlink" Target="http://bit.ly/2Tynxth" TargetMode="External"/><Relationship Id="rId1" Type="http://schemas.openxmlformats.org/officeDocument/2006/relationships/slideMaster" Target="../slideMasters/slideMaster5.xml"/><Relationship Id="rId4" Type="http://schemas.openxmlformats.org/officeDocument/2006/relationships/hyperlink" Target="http://bit.ly/2TtBDfr" TargetMode="External"/></Relationships>
</file>

<file path=ppt/slideLayouts/_rels/slideLayout9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9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249338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528005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843481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7930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9260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56366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06554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01661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42777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47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271009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43037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803676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34211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5477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5277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786297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687718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88990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75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984267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469885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120183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53818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4537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90163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184010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0006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648636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70544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796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27465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773903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02035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20884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907002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4918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62656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4941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9361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424913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832855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938656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573187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18294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5414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998685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2443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7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2856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6033178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329078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41429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2230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9369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5348527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587065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882524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992380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6218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385201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43896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87178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5050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84913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159562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97272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516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192638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666927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092253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584172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9617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631518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526769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7529749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6321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740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459419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5631527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0131789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0028810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37610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9288645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5937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057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4527636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8527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428475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70216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980540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532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145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188074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978609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916879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811283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63513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36013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78379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6/17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6/17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7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7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7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" name="Google Shape;44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" name="Google Shape;45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" name="Google Shape;46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" name="Google Shape;48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" name="Google Shape;51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2652782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446740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1955522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11711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6372206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31328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270537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6/17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4610509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6/17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0515904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644344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48345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453738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6479413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9622913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36188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05823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72397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1327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467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055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874233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8498237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6365882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8656322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473943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50117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5824695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14057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7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84230286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6851664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Title (Logo 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1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19" y="533967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457200" indent="0">
              <a:buNone/>
              <a:defRPr b="1">
                <a:solidFill>
                  <a:srgbClr val="8C2347"/>
                </a:solidFill>
              </a:defRPr>
            </a:lvl2pPr>
            <a:lvl3pPr marL="914400" indent="0">
              <a:buNone/>
              <a:defRPr b="1">
                <a:solidFill>
                  <a:srgbClr val="8C2347"/>
                </a:solidFill>
              </a:defRPr>
            </a:lvl3pPr>
            <a:lvl4pPr marL="1371600" indent="0">
              <a:buNone/>
              <a:defRPr b="1">
                <a:solidFill>
                  <a:srgbClr val="8C2347"/>
                </a:solidFill>
              </a:defRPr>
            </a:lvl4pPr>
            <a:lvl5pPr marL="18288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3" y="5694745"/>
            <a:ext cx="2376668" cy="116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00619" y="1359436"/>
            <a:ext cx="10768892" cy="498209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/>
                <a:ea typeface="Times New Roman" charset="0"/>
                <a:cs typeface="Arial"/>
              </a:defRPr>
            </a:lvl1pPr>
            <a:lvl2pPr marL="4572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Sample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42179098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1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1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1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1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9" name="Google Shape;19;p1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0" name="Google Shape;20;p1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1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2" name="Google Shape;22;p1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" name="Google Shape;25;p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" name="Google Shape;26;p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" name="Google Shape;27;p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" name="Google Shape;28;p1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" name="Google Shape;29;p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" name="Google Shape;30;p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" name="Google Shape;31;p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oogle Shape;33;p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Google Shape;34;p1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" name="Google Shape;35;p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Google Shape;36;p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" name="Google Shape;37;p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8" name="Google Shape;38;p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" name="Google Shape;39;p1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" name="Google Shape;40;p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" name="Google Shape;41;p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" name="Google Shape;42;p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Google Shape;44;p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1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6" name="Google Shape;46;p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" name="Google Shape;47;p1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" name="Google Shape;48;p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" name="Google Shape;49;p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" name="Google Shape;50;p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" name="Google Shape;51;p1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1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" name="Google Shape;53;p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" name="Google Shape;54;p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oogle Shape;56;p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" name="Google Shape;57;p2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" name="Google Shape;58;p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" name="Google Shape;59;p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" name="Google Shape;60;p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" name="Google Shape;61;p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" name="Google Shape;62;p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" name="Google Shape;63;p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" name="Google Shape;64;p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oogle Shape;66;p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" name="Google Shape;67;p2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" name="Google Shape;68;p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" name="Google Shape;69;p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" name="Google Shape;71;p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" name="Google Shape;72;p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" name="Google Shape;73;p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" name="Google Shape;74;p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5" name="Google Shape;75;p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Google Shape;77;p2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" name="Google Shape;78;p2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2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0" name="Google Shape;80;p2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1" name="Google Shape;81;p2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2" name="Google Shape;82;p2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83;p2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" name="Google Shape;84;p2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2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" name="Google Shape;87;p2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2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" name="Google Shape;89;p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" name="Google Shape;90;p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" name="Google Shape;91;p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" name="Google Shape;92;p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" name="Google Shape;93;p2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" name="Google Shape;94;p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" name="Google Shape;95;p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7" name="Google Shape;97;p2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" name="Google Shape;99;p2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0" name="Google Shape;100;p2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" name="Google Shape;101;p2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" name="Google Shape;102;p2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3" name="Google Shape;103;p2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4" name="Google Shape;104;p2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" name="Google Shape;105;p2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Google Shape;107;p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" name="Google Shape;108;p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" name="Google Shape;109;p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" name="Google Shape;111;p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" name="Google Shape;112;p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3" name="Google Shape;113;p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" name="Google Shape;114;p2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" name="Google Shape;115;p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" name="Google Shape;116;p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" name="Google Shape;117;p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8" name="Google Shape;118;p2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0" name="Google Shape;120;p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1" name="Google Shape;121;p2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2" name="Google Shape;122;p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3" name="Google Shape;123;p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5" name="Google Shape;125;p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" name="Google Shape;126;p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" name="Google Shape;127;p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8" name="Google Shape;128;p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9" name="Google Shape;129;p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Google Shape;131;p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" name="Google Shape;132;p2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3" name="Google Shape;133;p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4" name="Google Shape;134;p2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5" name="Google Shape;135;p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6" name="Google Shape;136;p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" name="Google Shape;137;p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8" name="Google Shape;138;p2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" name="Google Shape;139;p2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0" name="Google Shape;140;p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" name="Google Shape;141;p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" name="Google Shape;143;p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4" name="Google Shape;144;p2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5" name="Google Shape;145;p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6" name="Google Shape;146;p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" name="Google Shape;147;p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8" name="Google Shape;148;p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2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0" name="Google Shape;150;p2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" name="Google Shape;151;p2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2" name="Google Shape;152;p2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" name="Google Shape;153;p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" name="Google Shape;154;p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5" name="Google Shape;155;p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2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8" name="Google Shape;158;p2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9" name="Google Shape;159;p2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60" name="Google Shape;160;p2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" name="Google Shape;161;p2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2" name="Google Shape;162;p2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63" name="Google Shape;163;p2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3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6" name="Google Shape;166;p3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" name="Google Shape;167;p3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8" name="Google Shape;168;p3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69" name="Google Shape;169;p3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0" name="Google Shape;170;p3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" name="Google Shape;171;p3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2" name="Google Shape;172;p3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" name="Google Shape;174;p3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5" name="Google Shape;175;p3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3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" name="Google Shape;177;p3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8" name="Google Shape;178;p3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9" name="Google Shape;179;p3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" name="Google Shape;180;p3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Google Shape;182;p3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3" name="Google Shape;183;p3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4" name="Google Shape;184;p3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5" name="Google Shape;185;p3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3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7" name="Google Shape;187;p3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8" name="Google Shape;188;p3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p3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1" name="Google Shape;191;p3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" name="Google Shape;192;p3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" name="Google Shape;193;p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4" name="Google Shape;194;p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5" name="Google Shape;195;p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6" name="Google Shape;196;p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7" name="Google Shape;197;p3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8" name="Google Shape;198;p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9" name="Google Shape;199;p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" name="Google Shape;200;p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1" name="Google Shape;201;p3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3" name="Google Shape;203;p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4" name="Google Shape;204;p3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5" name="Google Shape;205;p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6" name="Google Shape;206;p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7" name="Google Shape;207;p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8" name="Google Shape;208;p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9" name="Google Shape;209;p3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0" name="Google Shape;210;p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1" name="Google Shape;211;p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2" name="Google Shape;212;p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5" name="Google Shape;215;p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16" name="Google Shape;216;p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7" name="Google Shape;217;p3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8" name="Google Shape;218;p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9" name="Google Shape;219;p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" name="Google Shape;220;p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1" name="Google Shape;221;p3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2" name="Google Shape;222;p3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3" name="Google Shape;223;p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4" name="Google Shape;224;p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oogle Shape;226;p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7" name="Google Shape;227;p3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8" name="Google Shape;228;p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9" name="Google Shape;229;p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1" name="Google Shape;231;p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" name="Google Shape;232;p3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3" name="Google Shape;233;p3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4" name="Google Shape;234;p3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5" name="Google Shape;235;p3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6" name="Google Shape;236;p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7" name="Google Shape;237;p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8" name="Google Shape;238;p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0" name="Google Shape;240;p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1" name="Google Shape;241;p3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2" name="Google Shape;242;p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3" name="Google Shape;243;p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5" name="Google Shape;245;p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6" name="Google Shape;246;p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7" name="Google Shape;247;p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8" name="Google Shape;248;p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0" name="Google Shape;250;p3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51" name="Google Shape;251;p3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2" name="Google Shape;252;p3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3" name="Google Shape;253;p3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Google Shape;254;p3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5" name="Google Shape;255;p3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56" name="Google Shape;256;p3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57" name="Google Shape;257;p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p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0" name="Google Shape;260;p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1" name="Google Shape;261;p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2" name="Google Shape;262;p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3" name="Google Shape;263;p3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4" name="Google Shape;264;p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5" name="Google Shape;265;p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6" name="Google Shape;266;p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8" name="Google Shape;268;p4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69" name="Google Shape;269;p4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0" name="Google Shape;270;p4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1" name="Google Shape;271;p4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2" name="Google Shape;272;p4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3" name="Google Shape;273;p4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74" name="Google Shape;274;p4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75" name="Google Shape;275;p4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8" name="Google Shape;278;p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9" name="Google Shape;279;p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0" name="Google Shape;280;p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1" name="Google Shape;281;p4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2" name="Google Shape;282;p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3" name="Google Shape;283;p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4" name="Google Shape;284;p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Google Shape;286;p4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7" name="Google Shape;287;p4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8" name="Google Shape;288;p4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" name="Google Shape;289;p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0" name="Google Shape;290;p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1" name="Google Shape;291;p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2" name="Google Shape;292;p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3" name="Google Shape;293;p4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4" name="Google Shape;294;p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5" name="Google Shape;295;p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" name="Google Shape;296;p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7" name="Google Shape;297;p4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Google Shape;299;p4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0" name="Google Shape;300;p4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1" name="Google Shape;301;p4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02" name="Google Shape;302;p4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03" name="Google Shape;303;p4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04" name="Google Shape;304;p4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305;p4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06" name="Google Shape;306;p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8" name="Google Shape;308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9" name="Google Shape;309;p4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0" name="Google Shape;310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1" name="Google Shape;311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3" name="Google Shape;313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4" name="Google Shape;314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5" name="Google Shape;315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6" name="Google Shape;316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8" name="Google Shape;318;p4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19" name="Google Shape;319;p4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0" name="Google Shape;320;p4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1" name="Google Shape;321;p4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22" name="Google Shape;322;p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23" name="Google Shape;323;p4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4" name="Google Shape;324;p4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3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Google Shape;326;p4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27" name="Google Shape;327;p4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28" name="Google Shape;328;p4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29" name="Google Shape;329;p4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" name="Google Shape;330;p4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1" name="Google Shape;331;p4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32" name="Google Shape;332;p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5" name="Google Shape;335;p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6" name="Google Shape;336;p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7" name="Google Shape;337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8" name="Google Shape;338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9" name="Google Shape;339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0" name="Google Shape;340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1" name="Google Shape;341;p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2" name="Google Shape;342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3" name="Google Shape;343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4" name="Google Shape;344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45" name="Google Shape;345;p4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Google Shape;347;p4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8" name="Google Shape;348;p4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9" name="Google Shape;349;p4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0" name="Google Shape;350;p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1" name="Google Shape;351;p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2" name="Google Shape;352;p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53" name="Google Shape;353;p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4" name="Google Shape;354;p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5" name="Google Shape;355;p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6" name="Google Shape;356;p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7" name="Google Shape;357;p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58" name="Google Shape;358;p4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0" name="Google Shape;360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1" name="Google Shape;361;p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2" name="Google Shape;362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3" name="Google Shape;363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4" name="Google Shape;364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65" name="Google Shape;365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6" name="Google Shape;366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7" name="Google Shape;367;p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8" name="Google Shape;368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9" name="Google Shape;369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2" name="Google Shape;372;p5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73" name="Google Shape;373;p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4" name="Google Shape;374;p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5" name="Google Shape;375;p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6" name="Google Shape;376;p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7" name="Google Shape;377;p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78" name="Google Shape;378;p5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9" name="Google Shape;379;p5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0" name="Google Shape;380;p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1" name="Google Shape;381;p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3" name="Google Shape;383;p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84" name="Google Shape;384;p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5" name="Google Shape;385;p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6" name="Google Shape;386;p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7" name="Google Shape;387;p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88" name="Google Shape;388;p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" name="Google Shape;389;p5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90" name="Google Shape;390;p5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1" name="Google Shape;391;p5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92" name="Google Shape;392;p5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3" name="Google Shape;393;p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4" name="Google Shape;394;p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5" name="Google Shape;395;p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7" name="Google Shape;397;p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8" name="Google Shape;398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9" name="Google Shape;399;p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0" name="Google Shape;400;p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1" name="Google Shape;401;p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2" name="Google Shape;402;p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3" name="Google Shape;403;p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4" name="Google Shape;404;p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5" name="Google Shape;405;p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7" name="Google Shape;407;p5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08" name="Google Shape;408;p5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9" name="Google Shape;409;p5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10" name="Google Shape;410;p5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1" name="Google Shape;411;p5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2" name="Google Shape;412;p5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13" name="Google Shape;413;p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14" name="Google Shape;414;p5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" name="Google Shape;416;p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7" name="Google Shape;417;p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8" name="Google Shape;418;p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19" name="Google Shape;419;p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0" name="Google Shape;420;p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1" name="Google Shape;421;p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2" name="Google Shape;422;p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3" name="Google Shape;423;p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" name="Google Shape;425;p5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6" name="Google Shape;426;p5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7" name="Google Shape;427;p5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28" name="Google Shape;428;p5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29" name="Google Shape;429;p5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30" name="Google Shape;430;p5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1" name="Google Shape;431;p5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32" name="Google Shape;432;p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4" name="Google Shape;434;p5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35" name="Google Shape;435;p5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6" name="Google Shape;436;p5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7" name="Google Shape;437;p5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38" name="Google Shape;438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39" name="Google Shape;439;p5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0" name="Google Shape;440;p5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" name="Google Shape;442;p5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3" name="Google Shape;443;p5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4" name="Google Shape;444;p5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5" name="Google Shape;445;p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6" name="Google Shape;446;p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7" name="Google Shape;447;p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48" name="Google Shape;448;p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9" name="Google Shape;449;p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0" name="Google Shape;450;p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1" name="Google Shape;451;p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2" name="Google Shape;452;p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53" name="Google Shape;453;p5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4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5" name="Google Shape;455;p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6" name="Google Shape;456;p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7" name="Google Shape;457;p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8" name="Google Shape;458;p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" name="Google Shape;459;p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60" name="Google Shape;460;p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1" name="Google Shape;461;p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2" name="Google Shape;462;p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3" name="Google Shape;463;p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4" name="Google Shape;464;p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6" name="Google Shape;466;p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7" name="Google Shape;467;p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68" name="Google Shape;468;p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9" name="Google Shape;469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0" name="Google Shape;470;p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1" name="Google Shape;471;p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2" name="Google Shape;472;p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3" name="Google Shape;473;p5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4" name="Google Shape;474;p5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5" name="Google Shape;475;p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6" name="Google Shape;476;p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8" name="Google Shape;478;p6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9" name="Google Shape;479;p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0" name="Google Shape;480;p6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1" name="Google Shape;481;p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2" name="Google Shape;482;p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3" name="Google Shape;483;p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4" name="Google Shape;484;p6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5" name="Google Shape;485;p6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6" name="Google Shape;486;p6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7" name="Google Shape;487;p6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8" name="Google Shape;488;p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9" name="Google Shape;489;p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0" name="Google Shape;490;p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2" name="Google Shape;492;p6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93" name="Google Shape;493;p6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94" name="Google Shape;494;p6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95" name="Google Shape;495;p6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Google Shape;496;p6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97" name="Google Shape;497;p6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98" name="Google Shape;498;p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0" name="Google Shape;500;p6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01" name="Google Shape;501;p6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2" name="Google Shape;502;p6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3" name="Google Shape;503;p6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4" name="Google Shape;504;p6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5" name="Google Shape;505;p6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06" name="Google Shape;506;p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07" name="Google Shape;507;p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9" name="Google Shape;509;p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0" name="Google Shape;510;p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1" name="Google Shape;511;p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12" name="Google Shape;512;p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3" name="Google Shape;513;p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4" name="Google Shape;514;p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5" name="Google Shape;515;p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6" name="Google Shape;516;p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8" name="Google Shape;518;p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9" name="Google Shape;519;p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0" name="Google Shape;520;p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1" name="Google Shape;521;p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2" name="Google Shape;522;p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3" name="Google Shape;523;p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4" name="Google Shape;524;p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5" name="Google Shape;525;p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6" name="Google Shape;526;p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5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8" name="Google Shape;528;p6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9" name="Google Shape;529;p6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0" name="Google Shape;530;p6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31" name="Google Shape;531;p6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32" name="Google Shape;532;p6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33" name="Google Shape;533;p6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4" name="Google Shape;534;p6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35" name="Google Shape;535;p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5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7" name="Google Shape;537;p6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38" name="Google Shape;538;p6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9" name="Google Shape;539;p6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0" name="Google Shape;540;p6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41" name="Google Shape;541;p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42" name="Google Shape;542;p6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3" name="Google Shape;543;p6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5" name="Google Shape;545;p6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6" name="Google Shape;546;p6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7" name="Google Shape;547;p6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8" name="Google Shape;548;p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9" name="Google Shape;549;p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0" name="Google Shape;550;p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51" name="Google Shape;551;p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2" name="Google Shape;552;p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3" name="Google Shape;553;p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4" name="Google Shape;554;p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" name="Google Shape;555;p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56" name="Google Shape;556;p6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8" name="Google Shape;558;p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9" name="Google Shape;559;p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0" name="Google Shape;560;p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1" name="Google Shape;561;p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2" name="Google Shape;562;p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3" name="Google Shape;563;p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4" name="Google Shape;564;p6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5" name="Google Shape;565;p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6" name="Google Shape;566;p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7" name="Google Shape;567;p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9" name="Google Shape;569;p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0" name="Google Shape;570;p6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71" name="Google Shape;571;p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2" name="Google Shape;572;p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3" name="Google Shape;573;p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4" name="Google Shape;574;p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5" name="Google Shape;575;p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6" name="Google Shape;576;p6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7" name="Google Shape;577;p6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8" name="Google Shape;578;p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9" name="Google Shape;579;p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1" name="Google Shape;581;p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2" name="Google Shape;582;p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3" name="Google Shape;583;p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4" name="Google Shape;584;p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5" name="Google Shape;585;p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86" name="Google Shape;586;p7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7" name="Google Shape;587;p7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88" name="Google Shape;588;p7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9" name="Google Shape;589;p7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90" name="Google Shape;590;p7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1" name="Google Shape;591;p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2" name="Google Shape;592;p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3" name="Google Shape;593;p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5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5" name="Google Shape;595;p7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96" name="Google Shape;596;p7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97" name="Google Shape;597;p7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98" name="Google Shape;598;p7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9" name="Google Shape;599;p7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00" name="Google Shape;600;p7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01" name="Google Shape;601;p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4" name="Google Shape;604;p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" name="Google Shape;605;p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6" name="Google Shape;606;p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7" name="Google Shape;607;p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8" name="Google Shape;608;p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09" name="Google Shape;609;p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0" name="Google Shape;610;p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1" name="Google Shape;611;p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2" name="Google Shape;612;p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3" name="Google Shape;613;p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14" name="Google Shape;614;p7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6" name="Google Shape;616;p7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17" name="Google Shape;617;p7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8" name="Google Shape;618;p7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19" name="Google Shape;619;p7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0" name="Google Shape;620;p7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1" name="Google Shape;621;p7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22" name="Google Shape;622;p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23" name="Google Shape;623;p7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6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" name="Google Shape;625;p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6" name="Google Shape;626;p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7" name="Google Shape;627;p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28" name="Google Shape;628;p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9" name="Google Shape;629;p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0" name="Google Shape;630;p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1" name="Google Shape;631;p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2" name="Google Shape;632;p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4" name="Google Shape;634;p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5" name="Google Shape;635;p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6" name="Google Shape;636;p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7" name="Google Shape;637;p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8" name="Google Shape;638;p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9" name="Google Shape;639;p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0" name="Google Shape;640;p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1" name="Google Shape;641;p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2" name="Google Shape;642;p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4" name="Google Shape;644;p7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5" name="Google Shape;645;p7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6" name="Google Shape;646;p7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47" name="Google Shape;647;p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48" name="Google Shape;648;p7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49" name="Google Shape;649;p7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0" name="Google Shape;650;p7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51" name="Google Shape;651;p7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3" name="Google Shape;653;p7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54" name="Google Shape;654;p7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5" name="Google Shape;655;p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6" name="Google Shape;656;p7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57" name="Google Shape;657;p7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58" name="Google Shape;658;p7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9" name="Google Shape;659;p7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1" name="Google Shape;661;p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62" name="Google Shape;662;p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63" name="Google Shape;663;p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64" name="Google Shape;664;p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5" name="Google Shape;665;p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66" name="Google Shape;666;p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67" name="Google Shape;667;p7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Google Shape;669;p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0" name="Google Shape;670;p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1" name="Google Shape;671;p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2" name="Google Shape;672;p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3" name="Google Shape;673;p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4" name="Google Shape;674;p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75" name="Google Shape;675;p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6" name="Google Shape;676;p7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7" name="Google Shape;677;p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8" name="Google Shape;678;p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9" name="Google Shape;679;p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0" name="Google Shape;680;p7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2" name="Google Shape;682;p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3" name="Google Shape;683;p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4" name="Google Shape;684;p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5" name="Google Shape;685;p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6" name="Google Shape;686;p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7" name="Google Shape;687;p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88" name="Google Shape;688;p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9" name="Google Shape;689;p8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0" name="Google Shape;690;p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1" name="Google Shape;691;p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2" name="Google Shape;692;p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3" name="Google Shape;693;p8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5" name="Google Shape;695;p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6" name="Google Shape;696;p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97" name="Google Shape;697;p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8" name="Google Shape;698;p8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9" name="Google Shape;699;p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0" name="Google Shape;700;p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1" name="Google Shape;701;p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2" name="Google Shape;702;p8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3" name="Google Shape;703;p8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4" name="Google Shape;704;p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5" name="Google Shape;705;p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7" name="Google Shape;707;p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8" name="Google Shape;708;p8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9" name="Google Shape;709;p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0" name="Google Shape;710;p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1" name="Google Shape;711;p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2" name="Google Shape;712;p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3" name="Google Shape;713;p8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14" name="Google Shape;714;p8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5" name="Google Shape;715;p8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16" name="Google Shape;716;p8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7" name="Google Shape;717;p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8" name="Google Shape;718;p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9" name="Google Shape;719;p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1" name="Google Shape;721;p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2" name="Google Shape;722;p8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3" name="Google Shape;723;p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4" name="Google Shape;724;p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5" name="Google Shape;725;p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26" name="Google Shape;726;p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7" name="Google Shape;727;p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8" name="Google Shape;728;p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9" name="Google Shape;729;p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1" name="Google Shape;731;p8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32" name="Google Shape;732;p8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3" name="Google Shape;733;p8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34" name="Google Shape;734;p8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5" name="Google Shape;735;p8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6" name="Google Shape;736;p8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37" name="Google Shape;737;p8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38" name="Google Shape;738;p8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0" name="Google Shape;740;p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1" name="Google Shape;741;p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2" name="Google Shape;742;p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43" name="Google Shape;743;p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4" name="Google Shape;744;p8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5" name="Google Shape;745;p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6" name="Google Shape;746;p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7" name="Google Shape;747;p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7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9" name="Google Shape;749;p86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0" name="Google Shape;750;p86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751" name="Google Shape;751;p86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752" name="Google Shape;752;p86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3" name="Google Shape;753;p86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754" name="Google Shape;754;p8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56" name="Google Shape;756;p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57" name="Google Shape;757;p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8" name="Google Shape;758;p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9" name="Google Shape;759;p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60" name="Google Shape;760;p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61" name="Google Shape;761;p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2" name="Google Shape;762;p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7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4" name="Google Shape;764;p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65" name="Google Shape;765;p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66" name="Google Shape;766;p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67" name="Google Shape;767;p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8" name="Google Shape;768;p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69" name="Google Shape;769;p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70" name="Google Shape;770;p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7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2" name="Google Shape;772;p8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3" name="Google Shape;773;p8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4" name="Google Shape;774;p8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75" name="Google Shape;775;p8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76" name="Google Shape;776;p8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77" name="Google Shape;777;p8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8" name="Google Shape;778;p8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79" name="Google Shape;779;p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1" name="Google Shape;781;p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82" name="Google Shape;782;p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3" name="Google Shape;783;p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84" name="Google Shape;784;p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5" name="Google Shape;785;p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6" name="Google Shape;786;p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7" name="Google Shape;787;p9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8" name="Google Shape;788;p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9" name="Google Shape;789;p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0" name="Google Shape;790;p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2" name="Google Shape;792;p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3" name="Google Shape;793;p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94" name="Google Shape;794;p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5" name="Google Shape;795;p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6" name="Google Shape;796;p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7" name="Google Shape;797;p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8" name="Google Shape;798;p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9" name="Google Shape;799;p9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0" name="Google Shape;800;p9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1" name="Google Shape;801;p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2" name="Google Shape;802;p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8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4" name="Google Shape;804;p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5" name="Google Shape;805;p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6" name="Google Shape;806;p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7" name="Google Shape;807;p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8" name="Google Shape;808;p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09" name="Google Shape;809;p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0" name="Google Shape;810;p9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11" name="Google Shape;811;p9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2" name="Google Shape;812;p9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13" name="Google Shape;813;p9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4" name="Google Shape;814;p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5" name="Google Shape;815;p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6" name="Google Shape;816;p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8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8" name="Google Shape;818;p9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9" name="Google Shape;819;p9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0" name="Google Shape;820;p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1" name="Google Shape;821;p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2" name="Google Shape;822;p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3" name="Google Shape;823;p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24" name="Google Shape;824;p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5" name="Google Shape;825;p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6" name="Google Shape;826;p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7" name="Google Shape;827;p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8" name="Google Shape;828;p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9" name="Google Shape;829;p9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8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1" name="Google Shape;831;p9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32" name="Google Shape;832;p9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3" name="Google Shape;833;p9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4" name="Google Shape;834;p9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5" name="Google Shape;835;p9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6" name="Google Shape;836;p9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37" name="Google Shape;837;p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38" name="Google Shape;838;p9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8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0" name="Google Shape;840;p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41" name="Google Shape;841;p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2" name="Google Shape;842;p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43" name="Google Shape;843;p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4" name="Google Shape;844;p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5" name="Google Shape;845;p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6" name="Google Shape;846;p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7" name="Google Shape;847;p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8" name="Google Shape;848;p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2">
    <p:spTree>
      <p:nvGrpSpPr>
        <p:cNvPr id="1" name="Shape 8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0" name="Google Shape;850;p96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1" name="Google Shape;851;p96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852" name="Google Shape;852;p96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853" name="Google Shape;853;p96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4" name="Google Shape;854;p96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855" name="Google Shape;855;p9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7" name="Google Shape;857;p9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8" name="Google Shape;858;p9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9" name="Google Shape;859;p9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60" name="Google Shape;860;p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61" name="Google Shape;861;p9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62" name="Google Shape;862;p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3" name="Google Shape;863;p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4" name="Google Shape;864;p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8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6" name="Google Shape;866;p9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7" name="Google Shape;867;p9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8" name="Google Shape;868;p9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9" name="Google Shape;869;p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0" name="Google Shape;870;p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1" name="Google Shape;871;p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72" name="Google Shape;872;p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3" name="Google Shape;873;p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4" name="Google Shape;874;p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5" name="Google Shape;875;p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6" name="Google Shape;876;p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77" name="Google Shape;877;p9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8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9" name="Google Shape;879;p9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80" name="Google Shape;880;p9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1" name="Google Shape;881;p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2" name="Google Shape;882;p9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83" name="Google Shape;883;p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84" name="Google Shape;884;p9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5" name="Google Shape;885;p9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" name="Google Shape;887;p10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8" name="Google Shape;888;p10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89" name="Google Shape;889;p10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90" name="Google Shape;890;p1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1" name="Google Shape;891;p1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92" name="Google Shape;892;p1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93" name="Google Shape;893;p1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1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6" name="Google Shape;896;p1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7" name="Google Shape;897;p1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8" name="Google Shape;898;p1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9" name="Google Shape;899;p1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0" name="Google Shape;900;p1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01" name="Google Shape;901;p1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2" name="Google Shape;902;p1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3" name="Google Shape;903;p1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4" name="Google Shape;904;p1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5" name="Google Shape;905;p1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6" name="Google Shape;906;p10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9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8" name="Google Shape;908;p1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9" name="Google Shape;909;p1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0" name="Google Shape;910;p1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1" name="Google Shape;911;p1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2" name="Google Shape;912;p1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3" name="Google Shape;913;p1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4" name="Google Shape;914;p1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5" name="Google Shape;915;p1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6" name="Google Shape;916;p1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7" name="Google Shape;917;p1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7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10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0" name="Google Shape;920;p1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1" name="Google Shape;921;p1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2" name="Google Shape;922;p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3" name="Google Shape;923;p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4" name="Google Shape;924;p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5" name="Google Shape;925;p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6" name="Google Shape;926;p1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7" name="Google Shape;927;p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8" name="Google Shape;928;p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9" name="Google Shape;929;p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0" name="Google Shape;930;p10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9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2" name="Google Shape;932;p10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3" name="Google Shape;933;p104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4" name="Google Shape;934;p1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35" name="Google Shape;935;p104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6" name="Google Shape;936;p10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37" name="Google Shape;937;p104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8" name="Google Shape;938;p104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9" name="Google Shape;939;p104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0" name="Google Shape;940;p1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1" name="Google Shape;941;p10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42" name="Google Shape;942;p1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9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4" name="Google Shape;944;p10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5" name="Google Shape;945;p10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6" name="Google Shape;946;p10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7" name="Google Shape;947;p1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8" name="Google Shape;948;p1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9" name="Google Shape;949;p1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0" name="Google Shape;950;p1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1" name="Google Shape;951;p1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2" name="Google Shape;952;p1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3" name="Google Shape;953;p1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4" name="Google Shape;954;p1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5" name="Google Shape;955;p10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9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7" name="Google Shape;957;p1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8" name="Google Shape;958;p10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59" name="Google Shape;959;p1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0" name="Google Shape;960;p1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1" name="Google Shape;961;p1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2" name="Google Shape;962;p1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3" name="Google Shape;963;p1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64" name="Google Shape;964;p10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5" name="Google Shape;965;p10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6" name="Google Shape;966;p1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7" name="Google Shape;967;p1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9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9" name="Google Shape;969;p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0" name="Google Shape;970;p1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1" name="Google Shape;971;p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2" name="Google Shape;972;p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3" name="Google Shape;973;p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74" name="Google Shape;974;p10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5" name="Google Shape;975;p10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6" name="Google Shape;976;p10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7" name="Google Shape;977;p10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8" name="Google Shape;978;p10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9" name="Google Shape;979;p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0" name="Google Shape;980;p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1" name="Google Shape;981;p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3" name="Google Shape;983;p1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4" name="Google Shape;984;p1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5" name="Google Shape;985;p1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6" name="Google Shape;986;p1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7" name="Google Shape;987;p1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88" name="Google Shape;988;p1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9" name="Google Shape;989;p1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0" name="Google Shape;990;p1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1" name="Google Shape;991;p1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9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3" name="Google Shape;993;p10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94" name="Google Shape;994;p10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5" name="Google Shape;995;p10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96" name="Google Shape;996;p10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7" name="Google Shape;997;p10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8" name="Google Shape;998;p10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99" name="Google Shape;999;p1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00" name="Google Shape;1000;p1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10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2" name="Google Shape;1002;p1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3" name="Google Shape;1003;p1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4" name="Google Shape;1004;p1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5" name="Google Shape;1005;p1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6" name="Google Shape;1006;p1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7" name="Google Shape;1007;p1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8" name="Google Shape;1008;p1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9" name="Google Shape;1009;p1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" name="Google Shape;1011;p1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2" name="Google Shape;1012;p1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3" name="Google Shape;1013;p1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4" name="Google Shape;1014;p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5" name="Google Shape;1015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6" name="Google Shape;1016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7" name="Google Shape;1017;p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8" name="Google Shape;1018;p11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9" name="Google Shape;1019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0" name="Google Shape;1020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1" name="Google Shape;1021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22" name="Google Shape;1022;p11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10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" name="Google Shape;1024;p1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5" name="Google Shape;1025;p1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6" name="Google Shape;1026;p1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7" name="Google Shape;1027;p1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8" name="Google Shape;1028;p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9" name="Google Shape;1029;p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0" name="Google Shape;1030;p1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1" name="Google Shape;1031;p11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2" name="Google Shape;1032;p1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3" name="Google Shape;1033;p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4" name="Google Shape;1034;p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35" name="Google Shape;1035;p11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10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" name="Google Shape;1037;p11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38" name="Google Shape;1038;p11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9" name="Google Shape;1039;p11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40" name="Google Shape;1040;p11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41" name="Google Shape;1041;p11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42" name="Google Shape;1042;p11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3" name="Google Shape;1043;p11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44" name="Google Shape;1044;p1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10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6" name="Google Shape;1046;p11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47" name="Google Shape;1047;p11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8" name="Google Shape;1048;p1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9" name="Google Shape;1049;p11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50" name="Google Shape;1050;p1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51" name="Google Shape;1051;p11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2" name="Google Shape;1052;p11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10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" name="Google Shape;1054;p11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55" name="Google Shape;1055;p11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56" name="Google Shape;1056;p11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57" name="Google Shape;1057;p11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8" name="Google Shape;1058;p11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59" name="Google Shape;1059;p11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60" name="Google Shape;1060;p11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0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" name="Google Shape;1062;p11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3" name="Google Shape;1063;p11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4" name="Google Shape;1064;p11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5" name="Google Shape;1065;p1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6" name="Google Shape;1066;p1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7" name="Google Shape;1067;p1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8" name="Google Shape;1068;p1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9" name="Google Shape;1069;p1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0" name="Google Shape;1070;p1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1" name="Google Shape;1071;p1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2" name="Google Shape;1072;p1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73" name="Google Shape;1073;p11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10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5" name="Google Shape;1075;p1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6" name="Google Shape;1076;p1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7" name="Google Shape;1077;p1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8" name="Google Shape;1078;p1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9" name="Google Shape;1079;p1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80" name="Google Shape;1080;p11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1" name="Google Shape;1081;p11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2" name="Google Shape;1082;p1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3" name="Google Shape;1083;p1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4" name="Google Shape;1084;p1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" name="Google Shape;1086;p1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7" name="Google Shape;1087;p11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88" name="Google Shape;1088;p1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9" name="Google Shape;1089;p1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0" name="Google Shape;1090;p1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1" name="Google Shape;1091;p1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2" name="Google Shape;1092;p1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93" name="Google Shape;1093;p11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4" name="Google Shape;1094;p11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5" name="Google Shape;1095;p1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6" name="Google Shape;1096;p1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0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8" name="Google Shape;1098;p1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9" name="Google Shape;1099;p1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0" name="Google Shape;1100;p1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1" name="Google Shape;1101;p1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2" name="Google Shape;1102;p1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03" name="Google Shape;1103;p1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4" name="Google Shape;1104;p11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05" name="Google Shape;1105;p11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6" name="Google Shape;1106;p11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07" name="Google Shape;1107;p11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8" name="Google Shape;1108;p1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9" name="Google Shape;1109;p1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0" name="Google Shape;1110;p1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2" name="Google Shape;1112;p1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3" name="Google Shape;1113;p1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4" name="Google Shape;1114;p1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5" name="Google Shape;1115;p1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6" name="Google Shape;1116;p1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17" name="Google Shape;1117;p1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8" name="Google Shape;1118;p1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9" name="Google Shape;1119;p1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0" name="Google Shape;1120;p1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2" name="Google Shape;1122;p12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23" name="Google Shape;1123;p12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4" name="Google Shape;1124;p12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25" name="Google Shape;1125;p12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6" name="Google Shape;1126;p12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7" name="Google Shape;1127;p12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28" name="Google Shape;1128;p1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29" name="Google Shape;1129;p12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1" name="Google Shape;1131;p1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2" name="Google Shape;1132;p1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3" name="Google Shape;1133;p1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34" name="Google Shape;1134;p1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5" name="Google Shape;1135;p1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6" name="Google Shape;1136;p1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37" name="Google Shape;1137;p1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8" name="Google Shape;1138;p1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0" name="Google Shape;1140;p12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1" name="Google Shape;1141;p12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2" name="Google Shape;1142;p12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43" name="Google Shape;1143;p12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44" name="Google Shape;1144;p12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45" name="Google Shape;1145;p12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46" name="Google Shape;1146;p12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47" name="Google Shape;1147;p12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1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9" name="Google Shape;1149;p12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50" name="Google Shape;1150;p12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1" name="Google Shape;1151;p12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52" name="Google Shape;1152;p12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53" name="Google Shape;1153;p12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54" name="Google Shape;1154;p12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5" name="Google Shape;1155;p12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" name="Google Shape;1157;p12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58" name="Google Shape;1158;p12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59" name="Google Shape;1159;p12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60" name="Google Shape;1160;p12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1" name="Google Shape;1161;p12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62" name="Google Shape;1162;p12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63" name="Google Shape;1163;p12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" name="Google Shape;1165;p12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6" name="Google Shape;1166;p12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7" name="Google Shape;1167;p12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8" name="Google Shape;1168;p1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9" name="Google Shape;1169;p1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0" name="Google Shape;1170;p1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71" name="Google Shape;1171;p1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2" name="Google Shape;1172;p12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3" name="Google Shape;1173;p1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4" name="Google Shape;1174;p1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5" name="Google Shape;1175;p1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76" name="Google Shape;1176;p12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1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8" name="Google Shape;1178;p1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9" name="Google Shape;1179;p12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0" name="Google Shape;1180;p1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1" name="Google Shape;1181;p1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2" name="Google Shape;1182;p1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83" name="Google Shape;1183;p1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4" name="Google Shape;1184;p12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5" name="Google Shape;1185;p1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6" name="Google Shape;1186;p1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7" name="Google Shape;1187;p1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" name="Google Shape;1189;p1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0" name="Google Shape;1190;p12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91" name="Google Shape;1191;p1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2" name="Google Shape;1192;p12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3" name="Google Shape;1193;p1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94" name="Google Shape;1194;p1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5" name="Google Shape;1195;p1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96" name="Google Shape;1196;p12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7" name="Google Shape;1197;p12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8" name="Google Shape;1198;p1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9" name="Google Shape;1199;p1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01" name="Google Shape;1201;p1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02" name="Google Shape;1202;p12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03" name="Google Shape;1203;p1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04" name="Google Shape;1204;p1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5" name="Google Shape;1205;p1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06" name="Google Shape;1206;p1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7" name="Google Shape;1207;p12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08" name="Google Shape;1208;p12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9" name="Google Shape;1209;p12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210" name="Google Shape;1210;p12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1" name="Google Shape;1211;p1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12" name="Google Shape;1212;p1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13" name="Google Shape;1213;p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15" name="Google Shape;1215;p1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16" name="Google Shape;1216;p13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17" name="Google Shape;1217;p1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18" name="Google Shape;1218;p1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9" name="Google Shape;1219;p1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20" name="Google Shape;1220;p1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1" name="Google Shape;1221;p1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22" name="Google Shape;1222;p1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23" name="Google Shape;1223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5" name="Google Shape;1225;p13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226" name="Google Shape;1226;p13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7" name="Google Shape;1227;p13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28" name="Google Shape;1228;p13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9" name="Google Shape;1229;p13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0" name="Google Shape;1230;p13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31" name="Google Shape;1231;p13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232" name="Google Shape;1232;p13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4" name="Google Shape;1234;p1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35" name="Google Shape;1235;p1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6" name="Google Shape;1236;p1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37" name="Google Shape;1237;p1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38" name="Google Shape;1238;p13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9" name="Google Shape;1239;p1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40" name="Google Shape;1240;p1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1" name="Google Shape;1241;p1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p13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4" name="Google Shape;1244;p13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5" name="Google Shape;1245;p13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6" name="Google Shape;1246;p1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47" name="Google Shape;1247;p1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48" name="Google Shape;1248;p1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49" name="Google Shape;1249;p1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50" name="Google Shape;1250;p13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1" name="Google Shape;1251;p1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52" name="Google Shape;1252;p1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3" name="Google Shape;1253;p1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54" name="Google Shape;1254;p13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6" name="Google Shape;1256;p134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7" name="Google Shape;1257;p134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58" name="Google Shape;1258;p1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59" name="Google Shape;1259;p1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0" name="Google Shape;1260;p1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2" name="Google Shape;1262;p13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3" name="Google Shape;1263;p13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4" name="Google Shape;1264;p13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65" name="Google Shape;1265;p1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6" name="Google Shape;1266;p1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67" name="Google Shape;1267;p13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8" name="Google Shape;1268;p13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9" name="Google Shape;1269;p13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70" name="Google Shape;1270;p1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" name="Google Shape;1272;p13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3" name="Google Shape;1273;p13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4" name="Google Shape;1274;p13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5" name="Google Shape;1275;p1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6" name="Google Shape;1276;p1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77" name="Google Shape;1277;p13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8" name="Google Shape;1278;p13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9" name="Google Shape;1279;p13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80" name="Google Shape;1280;p1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2" name="Google Shape;1282;p13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3" name="Google Shape;1283;p13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4" name="Google Shape;1284;p13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5" name="Google Shape;1285;p13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86" name="Google Shape;1286;p13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8" name="Google Shape;1288;p13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89" name="Google Shape;1289;p13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90" name="Google Shape;1290;p13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1" name="Google Shape;1291;p13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2" name="Google Shape;1292;p13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4" name="Google Shape;1294;p13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5" name="Google Shape;1295;p13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6" name="Google Shape;1296;p13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7" name="Google Shape;1297;p13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8" name="Google Shape;1298;p13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99" name="Google Shape;1299;p13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1" name="Google Shape;1301;p14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2" name="Google Shape;1302;p14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3" name="Google Shape;1303;p14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04" name="Google Shape;1304;p1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5" name="Google Shape;1305;p1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06" name="Google Shape;1306;p14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7" name="Google Shape;1307;p14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8" name="Google Shape;1308;p14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09" name="Google Shape;1309;p1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1" name="Google Shape;1311;p14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2" name="Google Shape;1312;p14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3" name="Google Shape;1313;p14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4" name="Google Shape;1314;p14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15" name="Google Shape;1315;p1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3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7" name="Google Shape;1317;p14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18" name="Google Shape;1318;p1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19" name="Google Shape;1319;p14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0" name="Google Shape;1320;p14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1" name="Google Shape;1321;p14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841809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3" name="Google Shape;1323;p14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4" name="Google Shape;1324;p14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5" name="Google Shape;1325;p14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6" name="Google Shape;1326;p14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7" name="Google Shape;1327;p14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28" name="Google Shape;1328;p1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0" name="Google Shape;1330;p14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1" name="Google Shape;1331;p14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2" name="Google Shape;1332;p14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33" name="Google Shape;1333;p1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4" name="Google Shape;1334;p1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35" name="Google Shape;1335;p14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6" name="Google Shape;1336;p14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7" name="Google Shape;1337;p14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38" name="Google Shape;1338;p1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0" name="Google Shape;1340;p14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1" name="Google Shape;1341;p14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2" name="Google Shape;1342;p14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3" name="Google Shape;1343;p14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44" name="Google Shape;1344;p1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6" name="Google Shape;1346;p14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47" name="Google Shape;1347;p1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48" name="Google Shape;1348;p14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9" name="Google Shape;1349;p14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0" name="Google Shape;1350;p14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2" name="Google Shape;1352;p14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3" name="Google Shape;1353;p14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4" name="Google Shape;1354;p14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5" name="Google Shape;1355;p14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6" name="Google Shape;1356;p14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57" name="Google Shape;1357;p1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9" name="Google Shape;1359;p14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0" name="Google Shape;1360;p14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1" name="Google Shape;1361;p14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62" name="Google Shape;1362;p1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3" name="Google Shape;1363;p1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64" name="Google Shape;1364;p14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5" name="Google Shape;1365;p14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6" name="Google Shape;1366;p14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67" name="Google Shape;1367;p14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9" name="Google Shape;1369;p14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0" name="Google Shape;1370;p14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1" name="Google Shape;1371;p14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72" name="Google Shape;1372;p1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3" name="Google Shape;1373;p1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74" name="Google Shape;1374;p14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5" name="Google Shape;1375;p14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6" name="Google Shape;1376;p14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77" name="Google Shape;1377;p14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9" name="Google Shape;1379;p15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0" name="Google Shape;1380;p15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1" name="Google Shape;1381;p15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2" name="Google Shape;1382;p15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83" name="Google Shape;1383;p15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5" name="Google Shape;1385;p15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86" name="Google Shape;1386;p15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87" name="Google Shape;1387;p15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8" name="Google Shape;1388;p15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9" name="Google Shape;1389;p15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3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1" name="Google Shape;1391;p15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2" name="Google Shape;1392;p15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3" name="Google Shape;1393;p15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4" name="Google Shape;1394;p15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5" name="Google Shape;1395;p15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96" name="Google Shape;1396;p15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96633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8" name="Google Shape;1398;p15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9" name="Google Shape;1399;p15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0" name="Google Shape;1400;p15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01" name="Google Shape;1401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2" name="Google Shape;1402;p1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03" name="Google Shape;1403;p15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4" name="Google Shape;1404;p15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5" name="Google Shape;1405;p15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06" name="Google Shape;1406;p15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4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8" name="Google Shape;1408;p15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9" name="Google Shape;1409;p15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0" name="Google Shape;1410;p15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1" name="Google Shape;1411;p15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12" name="Google Shape;1412;p15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4" name="Google Shape;1414;p15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15" name="Google Shape;1415;p15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16" name="Google Shape;1416;p15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7" name="Google Shape;1417;p15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8" name="Google Shape;1418;p15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1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0" name="Google Shape;1420;p15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1" name="Google Shape;1421;p15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2" name="Google Shape;1422;p15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3" name="Google Shape;1423;p15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4" name="Google Shape;1424;p15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25" name="Google Shape;1425;p15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1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7" name="Google Shape;1427;p15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8" name="Google Shape;1428;p1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9" name="Google Shape;1429;p1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0" name="Google Shape;1430;p15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31" name="Google Shape;1431;p15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14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" name="Google Shape;1433;p15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34" name="Google Shape;1434;p15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35" name="Google Shape;1435;p15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6" name="Google Shape;1436;p15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7" name="Google Shape;1437;p15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1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9" name="Google Shape;1439;p15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0" name="Google Shape;1440;p15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1" name="Google Shape;1441;p15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2" name="Google Shape;1442;p15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3" name="Google Shape;1443;p15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44" name="Google Shape;1444;p15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6" name="Google Shape;1446;p16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7" name="Google Shape;1447;p16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8" name="Google Shape;1448;p16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49" name="Google Shape;1449;p1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50" name="Google Shape;1450;p16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51" name="Google Shape;1451;p1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2" name="Google Shape;1452;p16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53" name="Google Shape;1453;p1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14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5" name="Google Shape;1455;p16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56" name="Google Shape;1456;p16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7" name="Google Shape;1457;p16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8" name="Google Shape;1458;p16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59" name="Google Shape;1459;p1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60" name="Google Shape;1460;p16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1" name="Google Shape;1461;p16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3" name="Google Shape;1463;p16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64" name="Google Shape;1464;p16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65" name="Google Shape;1465;p16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466" name="Google Shape;1466;p16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7" name="Google Shape;1467;p16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68" name="Google Shape;1468;p16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69" name="Google Shape;1469;p1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54968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1" name="Google Shape;1471;p1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2" name="Google Shape;1472;p1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3" name="Google Shape;1473;p1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4" name="Google Shape;1474;p1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75" name="Google Shape;1475;p1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6" name="Google Shape;1476;p1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77" name="Google Shape;1477;p1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8" name="Google Shape;1478;p1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79" name="Google Shape;1479;p1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0" name="Google Shape;1480;p1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1" name="Google Shape;1481;p1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82" name="Google Shape;1482;p16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1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84" name="Google Shape;1484;p1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85" name="Google Shape;1485;p1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6" name="Google Shape;1486;p1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7" name="Google Shape;1487;p1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8" name="Google Shape;1488;p1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89" name="Google Shape;1489;p1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0" name="Google Shape;1490;p1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1" name="Google Shape;1491;p1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92" name="Google Shape;1492;p1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3" name="Google Shape;1493;p1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5" name="Google Shape;1495;p1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6" name="Google Shape;1496;p1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97" name="Google Shape;1497;p1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98" name="Google Shape;1498;p1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9" name="Google Shape;1499;p1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00" name="Google Shape;1500;p1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1" name="Google Shape;1501;p1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02" name="Google Shape;1502;p16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3" name="Google Shape;1503;p16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04" name="Google Shape;1504;p1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05" name="Google Shape;1505;p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07" name="Google Shape;1507;p1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08" name="Google Shape;1508;p1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09" name="Google Shape;1509;p1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0" name="Google Shape;1510;p1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1" name="Google Shape;1511;p1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12" name="Google Shape;1512;p1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3" name="Google Shape;1513;p16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14" name="Google Shape;1514;p16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5" name="Google Shape;1515;p16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16" name="Google Shape;1516;p16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7" name="Google Shape;1517;p1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8" name="Google Shape;1518;p1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9" name="Google Shape;1519;p1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1" name="Google Shape;1521;p1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2" name="Google Shape;1522;p1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23" name="Google Shape;1523;p1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24" name="Google Shape;1524;p1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5" name="Google Shape;1525;p1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6" name="Google Shape;1526;p1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7" name="Google Shape;1527;p1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28" name="Google Shape;1528;p1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29" name="Google Shape;1529;p1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5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1" name="Google Shape;1531;p16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32" name="Google Shape;1532;p16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3" name="Google Shape;1533;p16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34" name="Google Shape;1534;p16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35" name="Google Shape;1535;p16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6" name="Google Shape;1536;p16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37" name="Google Shape;1537;p1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38" name="Google Shape;1538;p1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5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0" name="Google Shape;1540;p1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1" name="Google Shape;1541;p1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2" name="Google Shape;1542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43" name="Google Shape;1543;p1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44" name="Google Shape;1544;p1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45" name="Google Shape;1545;p1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6" name="Google Shape;1546;p1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7" name="Google Shape;1547;p1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9" name="Google Shape;1549;p17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0" name="Google Shape;1550;p17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1" name="Google Shape;1551;p17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52" name="Google Shape;1552;p17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53" name="Google Shape;1553;p17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54" name="Google Shape;1554;p17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5" name="Google Shape;1555;p17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56" name="Google Shape;1556;p1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58" name="Google Shape;1558;p17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559" name="Google Shape;1559;p17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0" name="Google Shape;1560;p17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1" name="Google Shape;1561;p17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62" name="Google Shape;1562;p1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63" name="Google Shape;1563;p17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4" name="Google Shape;1564;p17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" name="Google Shape;1566;p17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67" name="Google Shape;1567;p17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68" name="Google Shape;1568;p17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69" name="Google Shape;1569;p17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0" name="Google Shape;1570;p17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71" name="Google Shape;1571;p17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72" name="Google Shape;1572;p1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44679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5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4" name="Google Shape;1574;p1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5" name="Google Shape;1575;p1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6" name="Google Shape;1576;p1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7" name="Google Shape;1577;p1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78" name="Google Shape;1578;p1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79" name="Google Shape;1579;p1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80" name="Google Shape;1580;p1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1" name="Google Shape;1581;p1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2" name="Google Shape;1582;p1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83" name="Google Shape;1583;p1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4" name="Google Shape;1584;p1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85" name="Google Shape;1585;p17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7" name="Google Shape;1587;p1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8" name="Google Shape;1588;p1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9" name="Google Shape;1589;p1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90" name="Google Shape;1590;p1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1" name="Google Shape;1591;p1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92" name="Google Shape;1592;p1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3" name="Google Shape;1593;p17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4" name="Google Shape;1594;p1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95" name="Google Shape;1595;p1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96" name="Google Shape;1596;p1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5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8" name="Google Shape;1598;p1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9" name="Google Shape;1599;p17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600" name="Google Shape;1600;p1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01" name="Google Shape;1601;p1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2" name="Google Shape;1602;p1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03" name="Google Shape;1603;p1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4" name="Google Shape;1604;p1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05" name="Google Shape;1605;p17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6" name="Google Shape;1606;p17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07" name="Google Shape;1607;p1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08" name="Google Shape;1608;p1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6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10" name="Google Shape;1610;p1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11" name="Google Shape;1611;p1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12" name="Google Shape;1612;p1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13" name="Google Shape;1613;p1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4" name="Google Shape;1614;p1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15" name="Google Shape;1615;p1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6" name="Google Shape;1616;p17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17" name="Google Shape;1617;p17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8" name="Google Shape;1618;p17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19" name="Google Shape;1619;p17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0" name="Google Shape;1620;p1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1" name="Google Shape;1621;p1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2" name="Google Shape;1622;p1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24" name="Google Shape;1624;p1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25" name="Google Shape;1625;p1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26" name="Google Shape;1626;p1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27" name="Google Shape;1627;p1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8" name="Google Shape;1628;p1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29" name="Google Shape;1629;p17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0" name="Google Shape;1630;p1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31" name="Google Shape;1631;p1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32" name="Google Shape;1632;p1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4" name="Google Shape;1634;p17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635" name="Google Shape;1635;p17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36" name="Google Shape;1636;p17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37" name="Google Shape;1637;p17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8" name="Google Shape;1638;p17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9" name="Google Shape;1639;p17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40" name="Google Shape;1640;p1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641" name="Google Shape;1641;p17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3" name="Google Shape;1643;p1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44" name="Google Shape;1644;p1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45" name="Google Shape;1645;p1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46" name="Google Shape;1646;p1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47" name="Google Shape;1647;p1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48" name="Google Shape;1648;p1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49" name="Google Shape;1649;p1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0" name="Google Shape;1650;p1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1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2" name="Google Shape;1652;p180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53" name="Google Shape;1653;p18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54" name="Google Shape;1654;p180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55" name="Google Shape;1655;p180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56" name="Google Shape;1656;p180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657" name="Google Shape;1657;p180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8" name="Google Shape;1658;p180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9" name="Google Shape;1659;p180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0" name="Google Shape;1660;p180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2" name="Google Shape;1662;p181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63" name="Google Shape;1663;p181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4" name="Google Shape;1664;p181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5" name="Google Shape;1665;p181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6" name="Google Shape;1666;p1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67" name="Google Shape;1667;p181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1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9" name="Google Shape;1669;p18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0" name="Google Shape;1670;p18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1" name="Google Shape;1671;p18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72" name="Google Shape;1672;p1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3" name="Google Shape;1673;p1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74" name="Google Shape;1674;p18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5" name="Google Shape;1675;p18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6" name="Google Shape;1676;p18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77" name="Google Shape;1677;p1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6376476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">
    <p:spTree>
      <p:nvGrpSpPr>
        <p:cNvPr id="1" name="Shape 16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" name="Google Shape;1679;p18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80" name="Google Shape;1680;p18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81" name="Google Shape;1681;p18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82" name="Google Shape;1682;p18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83" name="Google Shape;1683;p183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684" name="Google Shape;1684;p18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5" name="Google Shape;1685;p18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6" name="Google Shape;1686;p18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7" name="Google Shape;1687;p18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16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" name="Google Shape;1689;p184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0" name="Google Shape;1690;p184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1" name="Google Shape;1691;p184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2" name="Google Shape;1692;p184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3" name="Google Shape;1693;p1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94" name="Google Shape;1694;p184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1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6" name="Google Shape;1696;p18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7" name="Google Shape;1697;p18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8" name="Google Shape;1698;p18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99" name="Google Shape;1699;p1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0" name="Google Shape;1700;p1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01" name="Google Shape;1701;p18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2" name="Google Shape;1702;p18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3" name="Google Shape;1703;p18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04" name="Google Shape;1704;p18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1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6" name="Google Shape;1706;p18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7" name="Google Shape;1707;p18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8" name="Google Shape;1708;p18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9" name="Google Shape;1709;p18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10" name="Google Shape;1710;p18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1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2" name="Google Shape;1712;p18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713" name="Google Shape;1713;p18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714" name="Google Shape;1714;p18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5" name="Google Shape;1715;p18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6" name="Google Shape;1716;p18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17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8" name="Google Shape;1718;p18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9" name="Google Shape;1719;p18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20" name="Google Shape;1720;p18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1" name="Google Shape;1721;p18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2" name="Google Shape;1722;p18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23" name="Google Shape;1723;p18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7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5" name="Google Shape;1725;p189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6" name="Google Shape;1726;p189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727" name="Google Shape;1727;p18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28" name="Google Shape;1728;p1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9" name="Google Shape;1729;p1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p190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2" name="Google Shape;1732;p190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733" name="Google Shape;1733;p190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734" name="Google Shape;1734;p19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35" name="Google Shape;1735;p1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6" name="Google Shape;1736;p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7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8" name="Google Shape;1738;p191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39" name="Google Shape;1739;p191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40" name="Google Shape;1740;p191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1" name="Google Shape;1741;p191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42" name="Google Shape;1742;p191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3" name="Google Shape;1743;p191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44" name="Google Shape;1744;p191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5" name="Google Shape;1745;p191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46" name="Google Shape;1746;p1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8" name="Google Shape;1748;p19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49" name="Google Shape;1749;p19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0" name="Google Shape;1750;p19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1" name="Google Shape;1751;p1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52" name="Google Shape;1752;p1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53" name="Google Shape;1753;p1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54" name="Google Shape;1754;p1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55" name="Google Shape;1755;p1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56" name="Google Shape;1756;p1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57" name="Google Shape;1757;p1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8" name="Google Shape;1758;p1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59" name="Google Shape;1759;p19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43775063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17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1" name="Google Shape;1761;p19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62" name="Google Shape;1762;p19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63" name="Google Shape;1763;p19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4" name="Google Shape;1764;p19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65" name="Google Shape;1765;p19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6" name="Google Shape;1766;p19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67" name="Google Shape;1767;p193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8" name="Google Shape;1768;p19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69" name="Google Shape;1769;p19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1" name="Google Shape;1771;p19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72" name="Google Shape;1772;p19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3" name="Google Shape;1773;p19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4" name="Google Shape;1774;p19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75" name="Google Shape;1775;p19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76" name="Google Shape;1776;p19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7" name="Google Shape;1777;p19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9" name="Google Shape;1779;p19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80" name="Google Shape;1780;p19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81" name="Google Shape;1781;p19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82" name="Google Shape;1782;p19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83" name="Google Shape;1783;p19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84" name="Google Shape;1784;p19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85" name="Google Shape;1785;p19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7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7" name="Google Shape;1787;p1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8" name="Google Shape;1788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9" name="Google Shape;1789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90" name="Google Shape;1790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91" name="Google Shape;1791;p1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92" name="Google Shape;1792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93" name="Google Shape;1793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4" name="Google Shape;1794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7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6" name="Google Shape;1796;p19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97" name="Google Shape;1797;p19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8" name="Google Shape;1798;p19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9" name="Google Shape;1799;p1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00" name="Google Shape;1800;p1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1" name="Google Shape;1801;p1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02" name="Google Shape;1802;p1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03" name="Google Shape;1803;p19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04" name="Google Shape;1804;p1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05" name="Google Shape;1805;p1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6" name="Google Shape;1806;p1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07" name="Google Shape;1807;p19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8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09" name="Google Shape;1809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10" name="Google Shape;1810;p19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11" name="Google Shape;1811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12" name="Google Shape;1812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3" name="Google Shape;1813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14" name="Google Shape;1814;p1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5" name="Google Shape;1815;p19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816" name="Google Shape;1816;p19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7" name="Google Shape;1817;p19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818" name="Google Shape;1818;p19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9" name="Google Shape;1819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20" name="Google Shape;1820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21" name="Google Shape;1821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23" name="Google Shape;1823;p19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824" name="Google Shape;1824;p19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5" name="Google Shape;1825;p19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26" name="Google Shape;1826;p19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7" name="Google Shape;1827;p19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8" name="Google Shape;1828;p19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829" name="Google Shape;1829;p19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830" name="Google Shape;1830;p19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1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" name="Google Shape;1832;p20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33" name="Google Shape;1833;p20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4" name="Google Shape;1834;p20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5" name="Google Shape;1835;p2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36" name="Google Shape;1836;p2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7" name="Google Shape;1837;p2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38" name="Google Shape;1838;p2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39" name="Google Shape;1839;p20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40" name="Google Shape;1840;p2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41" name="Google Shape;1841;p2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2" name="Google Shape;1842;p2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43" name="Google Shape;1843;p20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3">
    <p:spTree>
      <p:nvGrpSpPr>
        <p:cNvPr id="1" name="Shape 1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5" name="Google Shape;1845;p201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6" name="Google Shape;1846;p201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847" name="Google Shape;1847;p201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848" name="Google Shape;1848;p201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9" name="Google Shape;1849;p201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850" name="Google Shape;1850;p20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Google Shape;1852;p20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3" name="Google Shape;1853;p20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4" name="Google Shape;1854;p20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55" name="Google Shape;1855;p20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56" name="Google Shape;1856;p20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57" name="Google Shape;1857;p20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8" name="Google Shape;1858;p20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59" name="Google Shape;1859;p20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7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4956318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1" name="Google Shape;1861;p20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62" name="Google Shape;1862;p20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3" name="Google Shape;1863;p20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4" name="Google Shape;1864;p20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65" name="Google Shape;1865;p20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66" name="Google Shape;1866;p20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7" name="Google Shape;1867;p20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9" name="Google Shape;1869;p20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70" name="Google Shape;1870;p20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71" name="Google Shape;1871;p20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72" name="Google Shape;1872;p20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3" name="Google Shape;1873;p20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74" name="Google Shape;1874;p20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75" name="Google Shape;1875;p20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7" name="Google Shape;1877;p20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8" name="Google Shape;1878;p20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9" name="Google Shape;1879;p20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0" name="Google Shape;1880;p2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81" name="Google Shape;1881;p2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82" name="Google Shape;1882;p2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83" name="Google Shape;1883;p2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84" name="Google Shape;1884;p20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85" name="Google Shape;1885;p2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86" name="Google Shape;1886;p2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7" name="Google Shape;1887;p2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88" name="Google Shape;1888;p20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1">
    <p:spTree>
      <p:nvGrpSpPr>
        <p:cNvPr id="1" name="Shape 1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0" name="Google Shape;1890;p20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1" name="Google Shape;1891;p2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2" name="Google Shape;1892;p2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3" name="Google Shape;1893;p2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94" name="Google Shape;1894;p2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95" name="Google Shape;1895;p2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96" name="Google Shape;1896;p2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97" name="Google Shape;1897;p20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98" name="Google Shape;1898;p2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99" name="Google Shape;1899;p2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0" name="Google Shape;1900;p2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01" name="Google Shape;1901;p20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9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03" name="Google Shape;1903;p2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04" name="Google Shape;1904;p20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05" name="Google Shape;1905;p2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06" name="Google Shape;1906;p2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7" name="Google Shape;1907;p2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08" name="Google Shape;1908;p20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9" name="Google Shape;1909;p20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0" name="Google Shape;1910;p2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11" name="Google Shape;1911;p2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2" name="Google Shape;1912;p2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" name="Google Shape;1914;p2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5" name="Google Shape;1915;p2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916" name="Google Shape;1916;p2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17" name="Google Shape;1917;p20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8" name="Google Shape;1918;p2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19" name="Google Shape;1919;p2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0" name="Google Shape;1920;p2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21" name="Google Shape;1921;p20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2" name="Google Shape;1922;p20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23" name="Google Shape;1923;p2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4" name="Google Shape;1924;p2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3">
    <p:spTree>
      <p:nvGrpSpPr>
        <p:cNvPr id="1" name="Shape 19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6" name="Google Shape;1926;p2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27" name="Google Shape;1927;p20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28" name="Google Shape;1928;p2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29" name="Google Shape;1929;p2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0" name="Google Shape;1930;p2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31" name="Google Shape;1931;p2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2" name="Google Shape;1932;p20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33" name="Google Shape;1933;p20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4" name="Google Shape;1934;p20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35" name="Google Shape;1935;p20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6" name="Google Shape;1936;p20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7" name="Google Shape;1937;p2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38" name="Google Shape;1938;p2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3">
    <p:spTree>
      <p:nvGrpSpPr>
        <p:cNvPr id="1" name="Shape 19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0" name="Google Shape;1940;p2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41" name="Google Shape;1941;p21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42" name="Google Shape;1942;p2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43" name="Google Shape;1943;p2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4" name="Google Shape;1944;p2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45" name="Google Shape;1945;p2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6" name="Google Shape;1946;p2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47" name="Google Shape;1947;p2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48" name="Google Shape;1948;p2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4">
    <p:spTree>
      <p:nvGrpSpPr>
        <p:cNvPr id="1" name="Shape 1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50" name="Google Shape;1950;p21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951" name="Google Shape;1951;p21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2" name="Google Shape;1952;p21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53" name="Google Shape;1953;p21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4" name="Google Shape;1954;p21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5" name="Google Shape;1955;p21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56" name="Google Shape;1956;p21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957" name="Google Shape;1957;p21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3">
    <p:spTree>
      <p:nvGrpSpPr>
        <p:cNvPr id="1" name="Shape 19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9" name="Google Shape;1959;p2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60" name="Google Shape;1960;p2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1" name="Google Shape;1961;p2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62" name="Google Shape;1962;p2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3" name="Google Shape;1963;p21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64" name="Google Shape;1964;p2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65" name="Google Shape;1965;p2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6" name="Google Shape;1966;p2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8786427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9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8" name="Google Shape;1968;p213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9" name="Google Shape;1969;p213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70" name="Google Shape;1970;p2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971" name="Google Shape;1971;p213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72" name="Google Shape;1972;p21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973" name="Google Shape;1973;p213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4" name="Google Shape;1974;p213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5" name="Google Shape;1975;p213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6" name="Google Shape;1976;p2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7" name="Google Shape;1977;p21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78" name="Google Shape;1978;p2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0" name="Google Shape;1980;p2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1" name="Google Shape;1981;p2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2" name="Google Shape;1982;p2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3" name="Google Shape;1983;p2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84" name="Google Shape;1984;p2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85" name="Google Shape;1985;p2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86" name="Google Shape;1986;p2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87" name="Google Shape;1987;p2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88" name="Google Shape;1988;p2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89" name="Google Shape;1989;p2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0" name="Google Shape;1990;p2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91" name="Google Shape;1991;p21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19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3" name="Google Shape;1993;p21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4" name="Google Shape;1994;p21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95" name="Google Shape;1995;p21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96" name="Google Shape;1996;p2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97" name="Google Shape;1997;p2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98" name="Google Shape;1998;p2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99" name="Google Shape;1999;p2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00" name="Google Shape;2000;p2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01" name="Google Shape;2001;p2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02" name="Google Shape;2002;p2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3" name="Google Shape;2003;p2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04" name="Google Shape;2004;p21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3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3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3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9" name="Google Shape;19;p3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0" name="Google Shape;20;p3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3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2" name="Google Shape;22;p3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oogle Shape;24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" name="Google Shape;25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" name="Google Shape;26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" name="Google Shape;27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" name="Google Shape;28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" name="Google Shape;29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" name="Google Shape;31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" name="Google Shape;32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" name="Google Shape;33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oogle Shape;35;p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" name="Google Shape;36;p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" name="Google Shape;37;p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" name="Google Shape;38;p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" name="Google Shape;39;p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" name="Google Shape;40;p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4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" name="Google Shape;43;p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" name="Google Shape;44;p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08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108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48" name="Google Shape;48;p108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49" name="Google Shape;49;p108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0;p108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1" name="Google Shape;51;p10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oogle Shape;53;p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" name="Google Shape;54;p4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" name="Google Shape;55;p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" name="Google Shape;56;p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" name="Google Shape;57;p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8" name="Google Shape;58;p4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4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" name="Google Shape;61;p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" name="Google Shape;62;p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6" name="Google Shape;66;p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" name="Google Shape;67;p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" name="Google Shape;68;p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" name="Google Shape;69;p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" name="Google Shape;71;p5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" name="Google Shape;72;p5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" name="Google Shape;73;p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" name="Google Shape;74;p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" name="Google Shape;85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" name="Google Shape;86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7" name="Google Shape;87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" name="Google Shape;88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" name="Google Shape;89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" name="Google Shape;90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15549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" name="Google Shape;93;p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" name="Google Shape;94;p4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" name="Google Shape;95;p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" name="Google Shape;96;p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8" name="Google Shape;98;p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" name="Google Shape;100;p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" name="Google Shape;101;p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" name="Google Shape;102;p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" name="Google Shape;105;p4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" name="Google Shape;106;p4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7" name="Google Shape;107;p4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8" name="Google Shape;108;p4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" name="Google Shape;109;p4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Google Shape;110;p4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1" name="Google Shape;111;p4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" name="Google Shape;114;p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" name="Google Shape;115;p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" name="Google Shape;117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" name="Google Shape;118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" name="Google Shape;119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0" name="Google Shape;120;p4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1" name="Google Shape;121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2" name="Google Shape;122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4" name="Google Shape;124;p4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4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" name="Google Shape;127;p4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4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" name="Google Shape;129;p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0" name="Google Shape;130;p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1" name="Google Shape;131;p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2" name="Google Shape;132;p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3" name="Google Shape;133;p4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4" name="Google Shape;134;p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5" name="Google Shape;135;p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7" name="Google Shape;137;p4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Google Shape;139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" name="Google Shape;140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1" name="Google Shape;141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2" name="Google Shape;142;p4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" name="Google Shape;143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4" name="Google Shape;144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6" name="Google Shape;146;p4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8" name="Google Shape;148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" name="Google Shape;149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1" name="Google Shape;151;p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" name="Google Shape;152;p5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" name="Google Shape;153;p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" name="Google Shape;154;p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6" name="Google Shape;156;p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" name="Google Shape;157;p5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8" name="Google Shape;158;p5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" name="Google Shape;159;p5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0" name="Google Shape;160;p5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" name="Google Shape;162;p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3" name="Google Shape;163;p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5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6" name="Google Shape;166;p5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67" name="Google Shape;167;p5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68" name="Google Shape;168;p5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169;p5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0" name="Google Shape;170;p5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1" name="Google Shape;171;p5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3" name="Google Shape;173;p5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4" name="Google Shape;174;p5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5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7" name="Google Shape;177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8" name="Google Shape;178;p5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" name="Google Shape;179;p5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5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2" name="Google Shape;182;p5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3" name="Google Shape;183;p5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4" name="Google Shape;184;p5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5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6" name="Google Shape;186;p5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7" name="Google Shape;187;p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5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" name="Google Shape;190;p5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" name="Google Shape;191;p5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" name="Google Shape;193;p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4" name="Google Shape;194;p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5" name="Google Shape;195;p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" name="Google Shape;196;p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7" name="Google Shape;197;p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8" name="Google Shape;198;p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" name="Google Shape;199;p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0" name="Google Shape;200;p5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21326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" name="Google Shape;203;p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5" name="Google Shape;205;p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6" name="Google Shape;206;p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7" name="Google Shape;207;p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08" name="Google Shape;208;p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9" name="Google Shape;209;p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0" name="Google Shape;210;p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1" name="Google Shape;211;p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13" name="Google Shape;213;p5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" name="Google Shape;215;p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6" name="Google Shape;216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7" name="Google Shape;217;p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8" name="Google Shape;218;p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0" name="Google Shape;220;p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1" name="Google Shape;221;p5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2" name="Google Shape;222;p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3" name="Google Shape;223;p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4" name="Google Shape;224;p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oogle Shape;226;p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7" name="Google Shape;227;p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8" name="Google Shape;228;p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9" name="Google Shape;229;p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1" name="Google Shape;231;p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" name="Google Shape;232;p5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3" name="Google Shape;233;p5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4" name="Google Shape;234;p5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5" name="Google Shape;235;p5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6" name="Google Shape;236;p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7" name="Google Shape;237;p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8" name="Google Shape;238;p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0" name="Google Shape;240;p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1" name="Google Shape;241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2" name="Google Shape;242;p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3" name="Google Shape;243;p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5" name="Google Shape;245;p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6" name="Google Shape;246;p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7" name="Google Shape;247;p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8" name="Google Shape;248;p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0" name="Google Shape;250;p6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51" name="Google Shape;251;p6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2" name="Google Shape;252;p6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3" name="Google Shape;253;p6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Google Shape;254;p6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5" name="Google Shape;255;p6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56" name="Google Shape;256;p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57" name="Google Shape;257;p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0" name="Google Shape;260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1" name="Google Shape;261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2" name="Google Shape;262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3" name="Google Shape;263;p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4" name="Google Shape;264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5" name="Google Shape;265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6" name="Google Shape;266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6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269;p6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" name="Google Shape;270;p6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71" name="Google Shape;271;p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72" name="Google Shape;272;p6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73" name="Google Shape;273;p6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6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75" name="Google Shape;275;p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7" name="Google Shape;277;p6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78" name="Google Shape;278;p6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6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6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81" name="Google Shape;281;p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82" name="Google Shape;282;p6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6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p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6" name="Google Shape;286;p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" name="Google Shape;287;p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8" name="Google Shape;288;p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9" name="Google Shape;289;p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0" name="Google Shape;290;p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1" name="Google Shape;291;p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2" name="Google Shape;292;p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3" name="Google Shape;293;p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4" name="Google Shape;294;p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" name="Google Shape;295;p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6" name="Google Shape;296;p6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8" name="Google Shape;298;p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9" name="Google Shape;299;p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0" name="Google Shape;300;p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1" name="Google Shape;301;p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302;p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3" name="Google Shape;303;p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4" name="Google Shape;304;p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5" name="Google Shape;305;p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6" name="Google Shape;306;p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7" name="Google Shape;307;p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Google Shape;309;p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0" name="Google Shape;310;p6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11" name="Google Shape;311;p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2" name="Google Shape;312;p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3" name="Google Shape;313;p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4" name="Google Shape;314;p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6" name="Google Shape;316;p6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7" name="Google Shape;317;p6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8" name="Google Shape;318;p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9" name="Google Shape;319;p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1" name="Google Shape;321;p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2" name="Google Shape;322;p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3" name="Google Shape;323;p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4" name="Google Shape;324;p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6" name="Google Shape;326;p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7" name="Google Shape;327;p6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28" name="Google Shape;328;p6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9" name="Google Shape;329;p6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30" name="Google Shape;330;p6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" name="Google Shape;331;p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2" name="Google Shape;332;p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3" name="Google Shape;333;p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Google Shape;335;p6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36" name="Google Shape;336;p6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37" name="Google Shape;337;p6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38" name="Google Shape;338;p6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339;p6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0" name="Google Shape;340;p6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41" name="Google Shape;341;p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3" name="Google Shape;343;p6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44" name="Google Shape;344;p6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5" name="Google Shape;345;p6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6" name="Google Shape;346;p6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7" name="Google Shape;347;p6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8" name="Google Shape;348;p6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49" name="Google Shape;349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50" name="Google Shape;350;p6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p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3" name="Google Shape;353;p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4" name="Google Shape;354;p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55" name="Google Shape;355;p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6" name="Google Shape;356;p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7" name="Google Shape;357;p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8" name="Google Shape;358;p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9" name="Google Shape;359;p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1" name="Google Shape;361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2" name="Google Shape;362;p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3" name="Google Shape;363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4" name="Google Shape;364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5" name="Google Shape;365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66" name="Google Shape;366;p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7" name="Google Shape;367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8" name="Google Shape;368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9" name="Google Shape;369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7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2" name="Google Shape;372;p7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3" name="Google Shape;373;p7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74" name="Google Shape;374;p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75" name="Google Shape;375;p7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76" name="Google Shape;376;p7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7" name="Google Shape;377;p7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78" name="Google Shape;378;p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0" name="Google Shape;380;p7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81" name="Google Shape;381;p7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2" name="Google Shape;382;p7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3" name="Google Shape;383;p7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84" name="Google Shape;384;p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85" name="Google Shape;385;p7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" name="Google Shape;386;p7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Google Shape;388;p7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" name="Google Shape;389;p7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0" name="Google Shape;390;p7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1" name="Google Shape;391;p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2" name="Google Shape;392;p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3" name="Google Shape;393;p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94" name="Google Shape;394;p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5" name="Google Shape;395;p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6" name="Google Shape;396;p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7" name="Google Shape;397;p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8" name="Google Shape;398;p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99" name="Google Shape;399;p7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1" name="Google Shape;401;p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2" name="Google Shape;402;p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3" name="Google Shape;403;p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4" name="Google Shape;404;p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5" name="Google Shape;405;p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6" name="Google Shape;406;p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7" name="Google Shape;407;p7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8" name="Google Shape;408;p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9" name="Google Shape;409;p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0" name="Google Shape;410;p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7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324019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2" name="Google Shape;412;p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3" name="Google Shape;413;p7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14" name="Google Shape;414;p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5" name="Google Shape;415;p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6" name="Google Shape;416;p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7" name="Google Shape;417;p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8" name="Google Shape;418;p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9" name="Google Shape;419;p7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0" name="Google Shape;420;p7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1" name="Google Shape;421;p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2" name="Google Shape;422;p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4" name="Google Shape;424;p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5" name="Google Shape;425;p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6" name="Google Shape;426;p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7" name="Google Shape;427;p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8" name="Google Shape;428;p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9" name="Google Shape;429;p7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0" name="Google Shape;430;p7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1" name="Google Shape;431;p7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2" name="Google Shape;432;p7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3" name="Google Shape;433;p7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4" name="Google Shape;434;p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5" name="Google Shape;435;p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6" name="Google Shape;436;p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" name="Google Shape;438;p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39" name="Google Shape;439;p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40" name="Google Shape;440;p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41" name="Google Shape;441;p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2" name="Google Shape;442;p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43" name="Google Shape;443;p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44" name="Google Shape;444;p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6" name="Google Shape;446;p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7" name="Google Shape;447;p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8" name="Google Shape;448;p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9" name="Google Shape;449;p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0" name="Google Shape;450;p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1" name="Google Shape;451;p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52" name="Google Shape;452;p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3" name="Google Shape;453;p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4" name="Google Shape;454;p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5" name="Google Shape;455;p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57" name="Google Shape;457;p7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4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9" name="Google Shape;459;p8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60" name="Google Shape;460;p8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1" name="Google Shape;461;p8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62" name="Google Shape;462;p8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3" name="Google Shape;463;p8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4" name="Google Shape;464;p8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65" name="Google Shape;465;p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66" name="Google Shape;466;p8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p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9" name="Google Shape;469;p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0" name="Google Shape;470;p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71" name="Google Shape;471;p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2" name="Google Shape;472;p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3" name="Google Shape;473;p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4" name="Google Shape;474;p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5" name="Google Shape;475;p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7" name="Google Shape;477;p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8" name="Google Shape;478;p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9" name="Google Shape;479;p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0" name="Google Shape;480;p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1" name="Google Shape;481;p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2" name="Google Shape;482;p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3" name="Google Shape;483;p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4" name="Google Shape;484;p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5" name="Google Shape;485;p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4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" name="Google Shape;487;p8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8" name="Google Shape;488;p8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9" name="Google Shape;489;p8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90" name="Google Shape;490;p8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91" name="Google Shape;491;p8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92" name="Google Shape;492;p8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8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94" name="Google Shape;494;p8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4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6" name="Google Shape;496;p8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97" name="Google Shape;497;p8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8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8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00" name="Google Shape;500;p8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01" name="Google Shape;501;p8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2" name="Google Shape;502;p8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p8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05" name="Google Shape;505;p8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06" name="Google Shape;506;p8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07" name="Google Shape;507;p8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8" name="Google Shape;508;p8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9" name="Google Shape;509;p8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10" name="Google Shape;510;p8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86679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" name="Google Shape;512;p8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3" name="Google Shape;513;p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" name="Google Shape;514;p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" name="Google Shape;515;p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6" name="Google Shape;516;p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7" name="Google Shape;517;p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18" name="Google Shape;518;p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9" name="Google Shape;519;p8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0" name="Google Shape;520;p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1" name="Google Shape;521;p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2" name="Google Shape;522;p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23" name="Google Shape;523;p8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Google Shape;525;p8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6" name="Google Shape;526;p8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7" name="Google Shape;527;p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8" name="Google Shape;528;p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9" name="Google Shape;529;p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0" name="Google Shape;530;p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31" name="Google Shape;531;p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2" name="Google Shape;532;p8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3" name="Google Shape;533;p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4" name="Google Shape;534;p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5" name="Google Shape;535;p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6" name="Google Shape;536;p8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5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" name="Google Shape;538;p8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" name="Google Shape;539;p8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40" name="Google Shape;540;p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1" name="Google Shape;541;p8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2" name="Google Shape;542;p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3" name="Google Shape;543;p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4" name="Google Shape;544;p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5" name="Google Shape;545;p8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6" name="Google Shape;546;p8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7" name="Google Shape;547;p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8" name="Google Shape;548;p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5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0" name="Google Shape;550;p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1" name="Google Shape;551;p8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2" name="Google Shape;552;p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3" name="Google Shape;553;p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" name="Google Shape;554;p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55" name="Google Shape;555;p8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6" name="Google Shape;556;p8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7" name="Google Shape;557;p8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8" name="Google Shape;558;p8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9" name="Google Shape;559;p8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0" name="Google Shape;560;p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1" name="Google Shape;561;p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2" name="Google Shape;562;p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4" name="Google Shape;564;p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5" name="Google Shape;565;p9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6" name="Google Shape;566;p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7" name="Google Shape;567;p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" name="Google Shape;568;p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9" name="Google Shape;569;p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0" name="Google Shape;570;p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1" name="Google Shape;571;p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2" name="Google Shape;572;p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5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4" name="Google Shape;574;p9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75" name="Google Shape;575;p9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6" name="Google Shape;576;p9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77" name="Google Shape;577;p9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8" name="Google Shape;578;p9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9" name="Google Shape;579;p9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80" name="Google Shape;580;p9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81" name="Google Shape;581;p9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" name="Google Shape;583;p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4" name="Google Shape;584;p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5" name="Google Shape;585;p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86" name="Google Shape;586;p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7" name="Google Shape;587;p9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8" name="Google Shape;588;p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9" name="Google Shape;589;p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0" name="Google Shape;590;p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5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2" name="Google Shape;592;p9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3" name="Google Shape;593;p9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4" name="Google Shape;594;p9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95" name="Google Shape;595;p9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96" name="Google Shape;596;p9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97" name="Google Shape;597;p9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8" name="Google Shape;598;p9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9" name="Google Shape;599;p9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Google Shape;601;p9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2" name="Google Shape;602;p9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3" name="Google Shape;603;p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4" name="Google Shape;604;p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5" name="Google Shape;605;p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6" name="Google Shape;606;p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07" name="Google Shape;607;p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8" name="Google Shape;608;p9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9" name="Google Shape;609;p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0" name="Google Shape;610;p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1" name="Google Shape;611;p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12" name="Google Shape;612;p9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4" name="Google Shape;614;p9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15" name="Google Shape;615;p9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6" name="Google Shape;616;p9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7" name="Google Shape;617;p9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18" name="Google Shape;618;p9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19" name="Google Shape;619;p9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0" name="Google Shape;620;p9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5481949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6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2" name="Google Shape;622;p9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3" name="Google Shape;623;p9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4" name="Google Shape;624;p9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5" name="Google Shape;625;p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6" name="Google Shape;626;p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7" name="Google Shape;627;p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28" name="Google Shape;628;p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9" name="Google Shape;629;p9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0" name="Google Shape;630;p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1" name="Google Shape;631;p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2" name="Google Shape;632;p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3" name="Google Shape;633;p9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5" name="Google Shape;635;p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6" name="Google Shape;636;p9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7" name="Google Shape;637;p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8" name="Google Shape;638;p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9" name="Google Shape;639;p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40" name="Google Shape;640;p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1" name="Google Shape;641;p9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2" name="Google Shape;642;p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3" name="Google Shape;643;p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4" name="Google Shape;644;p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Google Shape;646;p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7" name="Google Shape;647;p9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48" name="Google Shape;648;p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9" name="Google Shape;649;p9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0" name="Google Shape;650;p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1" name="Google Shape;651;p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2" name="Google Shape;652;p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3" name="Google Shape;653;p9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4" name="Google Shape;654;p9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5" name="Google Shape;655;p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6" name="Google Shape;656;p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8" name="Google Shape;658;p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9" name="Google Shape;659;p9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0" name="Google Shape;660;p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1" name="Google Shape;661;p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2" name="Google Shape;662;p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63" name="Google Shape;663;p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4" name="Google Shape;664;p9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65" name="Google Shape;665;p9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6" name="Google Shape;666;p9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67" name="Google Shape;667;p9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8" name="Google Shape;668;p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9" name="Google Shape;669;p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0" name="Google Shape;670;p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2" name="Google Shape;672;p10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73" name="Google Shape;673;p10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74" name="Google Shape;674;p10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75" name="Google Shape;675;p1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6" name="Google Shape;676;p1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77" name="Google Shape;677;p1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78" name="Google Shape;678;p10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0" name="Google Shape;680;p10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81" name="Google Shape;681;p10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2" name="Google Shape;682;p10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83" name="Google Shape;683;p10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4" name="Google Shape;684;p10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5" name="Google Shape;685;p10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86" name="Google Shape;686;p10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87" name="Google Shape;687;p10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6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9" name="Google Shape;689;p1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0" name="Google Shape;690;p1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1" name="Google Shape;691;p1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92" name="Google Shape;692;p1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3" name="Google Shape;693;p10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4" name="Google Shape;694;p1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5" name="Google Shape;695;p1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6" name="Google Shape;696;p1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8" name="Google Shape;698;p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9" name="Google Shape;699;p10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0" name="Google Shape;700;p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1" name="Google Shape;701;p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2" name="Google Shape;702;p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3" name="Google Shape;703;p1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4" name="Google Shape;704;p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5" name="Google Shape;705;p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6" name="Google Shape;706;p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8" name="Google Shape;708;p10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09" name="Google Shape;709;p10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0" name="Google Shape;710;p10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11" name="Google Shape;711;p10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2" name="Google Shape;712;p10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3" name="Google Shape;713;p10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14" name="Google Shape;714;p10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15" name="Google Shape;715;p1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7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" name="Google Shape;717;p1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8" name="Google Shape;718;p1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9" name="Google Shape;719;p1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20" name="Google Shape;720;p1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1" name="Google Shape;721;p10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2" name="Google Shape;722;p1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3" name="Google Shape;723;p1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4" name="Google Shape;724;p1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4801019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7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6" name="Google Shape;726;p10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7" name="Google Shape;727;p10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8" name="Google Shape;728;p10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29" name="Google Shape;729;p10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30" name="Google Shape;730;p10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31" name="Google Shape;731;p10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2" name="Google Shape;732;p10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33" name="Google Shape;733;p1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7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5" name="Google Shape;735;p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6" name="Google Shape;736;p10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7" name="Google Shape;737;p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8" name="Google Shape;738;p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9" name="Google Shape;739;p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0" name="Google Shape;740;p10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1" name="Google Shape;741;p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2" name="Google Shape;742;p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3" name="Google Shape;743;p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5" name="Google Shape;745;p10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46" name="Google Shape;746;p10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7" name="Google Shape;747;p1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8" name="Google Shape;748;p10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49" name="Google Shape;749;p1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50" name="Google Shape;750;p10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1" name="Google Shape;751;p10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3" name="Google Shape;753;p11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54" name="Google Shape;754;p11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55" name="Google Shape;755;p11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56" name="Google Shape;756;p11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7" name="Google Shape;757;p11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8" name="Google Shape;758;p11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59" name="Google Shape;759;p1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7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1" name="Google Shape;761;p11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2" name="Google Shape;762;p11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3" name="Google Shape;763;p11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64" name="Google Shape;764;p11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65" name="Google Shape;765;p11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66" name="Google Shape;766;p11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7" name="Google Shape;767;p11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68" name="Google Shape;768;p1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7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0" name="Google Shape;770;p1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1" name="Google Shape;771;p1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72" name="Google Shape;772;p1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73" name="Google Shape;773;p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4" name="Google Shape;774;p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5" name="Google Shape;775;p1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6" name="Google Shape;776;p1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7" name="Google Shape;777;p1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8" name="Google Shape;778;p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9" name="Google Shape;779;p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1" name="Google Shape;781;p1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2" name="Google Shape;782;p1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83" name="Google Shape;783;p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84" name="Google Shape;784;p1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5" name="Google Shape;785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86" name="Google Shape;786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7" name="Google Shape;787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8" name="Google Shape;788;p11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9" name="Google Shape;789;p11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0" name="Google Shape;790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1" name="Google Shape;791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7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3" name="Google Shape;793;p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4" name="Google Shape;794;p1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5" name="Google Shape;795;p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6" name="Google Shape;796;p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7" name="Google Shape;797;p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8" name="Google Shape;798;p1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9" name="Google Shape;799;p11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0" name="Google Shape;800;p11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1" name="Google Shape;801;p11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2" name="Google Shape;802;p11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3" name="Google Shape;803;p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4" name="Google Shape;804;p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5" name="Google Shape;805;p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7" name="Google Shape;807;p1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8" name="Google Shape;808;p1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9" name="Google Shape;809;p1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0" name="Google Shape;810;p1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1" name="Google Shape;811;p1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2" name="Google Shape;812;p1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3" name="Google Shape;813;p1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4" name="Google Shape;814;p1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5" name="Google Shape;815;p1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8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7" name="Google Shape;817;p11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8" name="Google Shape;818;p11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9" name="Google Shape;819;p11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0" name="Google Shape;820;p1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1" name="Google Shape;821;p1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2" name="Google Shape;822;p1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23" name="Google Shape;823;p1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4" name="Google Shape;824;p1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5" name="Google Shape;825;p1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6" name="Google Shape;826;p1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7" name="Google Shape;827;p1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8" name="Google Shape;828;p11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7914573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8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0" name="Google Shape;830;p11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31" name="Google Shape;831;p11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2" name="Google Shape;832;p11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3" name="Google Shape;833;p11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4" name="Google Shape;834;p11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5" name="Google Shape;835;p11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36" name="Google Shape;836;p1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37" name="Google Shape;837;p1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" name="Google Shape;839;p11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0" name="Google Shape;840;p11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1" name="Google Shape;841;p11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42" name="Google Shape;842;p11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43" name="Google Shape;843;p11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44" name="Google Shape;844;p1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5" name="Google Shape;845;p11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6" name="Google Shape;846;p1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8" name="Google Shape;848;p1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9" name="Google Shape;849;p1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0" name="Google Shape;850;p1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1" name="Google Shape;851;p1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2" name="Google Shape;852;p1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3" name="Google Shape;853;p1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54" name="Google Shape;854;p1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55" name="Google Shape;855;p1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6" name="Google Shape;856;p1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7" name="Google Shape;857;p1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8" name="Google Shape;858;p1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59" name="Google Shape;859;p11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1" name="Google Shape;861;p12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62" name="Google Shape;862;p12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3" name="Google Shape;863;p12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4" name="Google Shape;864;p12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5" name="Google Shape;865;p1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66" name="Google Shape;866;p12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7" name="Google Shape;867;p12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12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0" name="Google Shape;870;p12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71" name="Google Shape;871;p12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72" name="Google Shape;872;p12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3" name="Google Shape;873;p12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74" name="Google Shape;874;p12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75" name="Google Shape;875;p1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12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8" name="Google Shape;878;p12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9" name="Google Shape;879;p12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0" name="Google Shape;880;p1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1" name="Google Shape;881;p1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2" name="Google Shape;882;p1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83" name="Google Shape;883;p1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4" name="Google Shape;884;p1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5" name="Google Shape;885;p1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6" name="Google Shape;886;p1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7" name="Google Shape;887;p1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88" name="Google Shape;888;p12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" name="Google Shape;890;p12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1" name="Google Shape;891;p12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2" name="Google Shape;892;p12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3" name="Google Shape;893;p1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4" name="Google Shape;894;p1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5" name="Google Shape;895;p1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96" name="Google Shape;896;p1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7" name="Google Shape;897;p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8" name="Google Shape;898;p1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9" name="Google Shape;899;p1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0" name="Google Shape;900;p1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1" name="Google Shape;901;p12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9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3" name="Google Shape;903;p12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4" name="Google Shape;904;p124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05" name="Google Shape;905;p1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06" name="Google Shape;906;p124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07" name="Google Shape;907;p12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08" name="Google Shape;908;p124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9" name="Google Shape;909;p124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0" name="Google Shape;910;p124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1" name="Google Shape;911;p1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2" name="Google Shape;912;p12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13" name="Google Shape;913;p1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5" name="Google Shape;915;p1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6" name="Google Shape;916;p1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7" name="Google Shape;917;p1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8" name="Google Shape;918;p1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9" name="Google Shape;919;p1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0" name="Google Shape;920;p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1" name="Google Shape;921;p1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2" name="Google Shape;922;p1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3" name="Google Shape;923;p1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4" name="Google Shape;924;p1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5" name="Google Shape;925;p1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6" name="Google Shape;926;p12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9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8" name="Google Shape;928;p1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9" name="Google Shape;929;p1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30" name="Google Shape;930;p1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1" name="Google Shape;931;p1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2" name="Google Shape;932;p1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3" name="Google Shape;933;p1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4" name="Google Shape;934;p1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5" name="Google Shape;935;p12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6" name="Google Shape;936;p12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7" name="Google Shape;937;p1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8" name="Google Shape;938;p1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7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75852"/>
      </p:ext>
    </p:extLst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9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0" name="Google Shape;940;p1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1" name="Google Shape;941;p1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2" name="Google Shape;942;p1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3" name="Google Shape;943;p1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4" name="Google Shape;944;p1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45" name="Google Shape;945;p1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6" name="Google Shape;946;p12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47" name="Google Shape;947;p12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" name="Google Shape;948;p12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49" name="Google Shape;949;p12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0" name="Google Shape;950;p1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1" name="Google Shape;951;p1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2" name="Google Shape;952;p1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9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4" name="Google Shape;954;p1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5" name="Google Shape;955;p1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6" name="Google Shape;956;p1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7" name="Google Shape;957;p1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8" name="Google Shape;958;p1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59" name="Google Shape;959;p1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0" name="Google Shape;960;p1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1" name="Google Shape;961;p1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2" name="Google Shape;962;p1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4" name="Google Shape;964;p12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65" name="Google Shape;965;p12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6" name="Google Shape;966;p12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67" name="Google Shape;967;p12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8" name="Google Shape;968;p12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9" name="Google Shape;969;p12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70" name="Google Shape;970;p1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71" name="Google Shape;971;p12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9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3" name="Google Shape;973;p13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4" name="Google Shape;974;p13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5" name="Google Shape;975;p13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6" name="Google Shape;976;p1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7" name="Google Shape;977;p1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8" name="Google Shape;978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9" name="Google Shape;979;p1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0" name="Google Shape;980;p13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1" name="Google Shape;981;p1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2" name="Google Shape;982;p1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3" name="Google Shape;983;p1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84" name="Google Shape;984;p13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9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6" name="Google Shape;986;p1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7" name="Google Shape;987;p1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8" name="Google Shape;988;p1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9" name="Google Shape;989;p1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0" name="Google Shape;990;p1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1" name="Google Shape;991;p1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2" name="Google Shape;992;p1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3" name="Google Shape;993;p13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4" name="Google Shape;994;p1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5" name="Google Shape;995;p1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6" name="Google Shape;996;p1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97" name="Google Shape;997;p13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9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" name="Google Shape;999;p13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0" name="Google Shape;1000;p13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1" name="Google Shape;1001;p13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02" name="Google Shape;1002;p13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03" name="Google Shape;1003;p13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04" name="Google Shape;1004;p13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5" name="Google Shape;1005;p13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06" name="Google Shape;1006;p1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8" name="Google Shape;1008;p13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09" name="Google Shape;1009;p13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0" name="Google Shape;1010;p13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1" name="Google Shape;1011;p13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12" name="Google Shape;1012;p1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13" name="Google Shape;1013;p13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4" name="Google Shape;1014;p13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1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6" name="Google Shape;1016;p13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17" name="Google Shape;1017;p13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18" name="Google Shape;1018;p13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19" name="Google Shape;1019;p13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0" name="Google Shape;1020;p13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21" name="Google Shape;1021;p13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22" name="Google Shape;1022;p1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0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" name="Google Shape;1024;p13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5" name="Google Shape;1025;p13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6" name="Google Shape;1026;p13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7" name="Google Shape;1027;p1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8" name="Google Shape;1028;p1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9" name="Google Shape;1029;p1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0" name="Google Shape;1030;p1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1" name="Google Shape;1031;p1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2" name="Google Shape;1032;p1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3" name="Google Shape;1033;p1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4" name="Google Shape;1034;p1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35" name="Google Shape;1035;p13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10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7" name="Google Shape;1037;p1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8" name="Google Shape;1038;p1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9" name="Google Shape;1039;p1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0" name="Google Shape;1040;p1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1" name="Google Shape;1041;p1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2" name="Google Shape;1042;p1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3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4" name="Google Shape;1044;p1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5" name="Google Shape;1045;p1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6" name="Google Shape;1046;p1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7288010"/>
      </p:ext>
    </p:extLst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" name="Google Shape;1048;p1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9" name="Google Shape;1049;p13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50" name="Google Shape;1050;p1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1" name="Google Shape;1051;p1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2" name="Google Shape;1052;p1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3" name="Google Shape;1053;p1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4" name="Google Shape;1054;p1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5" name="Google Shape;1055;p13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6" name="Google Shape;1056;p13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7" name="Google Shape;1057;p1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8" name="Google Shape;1058;p1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0" name="Google Shape;1060;p1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1" name="Google Shape;1061;p1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2" name="Google Shape;1062;p1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3" name="Google Shape;1063;p1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4" name="Google Shape;1064;p1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5" name="Google Shape;1065;p1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6" name="Google Shape;1066;p13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67" name="Google Shape;1067;p13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8" name="Google Shape;1068;p13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69" name="Google Shape;1069;p13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0" name="Google Shape;1070;p1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1" name="Google Shape;1071;p1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2" name="Google Shape;1072;p1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4" name="Google Shape;1074;p1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5" name="Google Shape;1075;p1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6" name="Google Shape;1076;p1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7" name="Google Shape;1077;p1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8" name="Google Shape;1078;p1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79" name="Google Shape;1079;p1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0" name="Google Shape;1080;p1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1" name="Google Shape;1081;p1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2" name="Google Shape;1082;p1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4" name="Google Shape;1084;p14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85" name="Google Shape;1085;p14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6" name="Google Shape;1086;p14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87" name="Google Shape;1087;p14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8" name="Google Shape;1088;p14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9" name="Google Shape;1089;p14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90" name="Google Shape;1090;p1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91" name="Google Shape;1091;p14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10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3" name="Google Shape;1093;p1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4" name="Google Shape;1094;p1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5" name="Google Shape;1095;p1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96" name="Google Shape;1096;p1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7" name="Google Shape;1097;p1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8" name="Google Shape;1098;p1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9" name="Google Shape;1099;p1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0" name="Google Shape;1100;p1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2" name="Google Shape;1102;p14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3" name="Google Shape;1103;p14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4" name="Google Shape;1104;p14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05" name="Google Shape;1105;p14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06" name="Google Shape;1106;p14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07" name="Google Shape;1107;p1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8" name="Google Shape;1108;p14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9" name="Google Shape;1109;p14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1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1" name="Google Shape;1111;p14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12" name="Google Shape;1112;p14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3" name="Google Shape;1113;p14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4" name="Google Shape;1114;p14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15" name="Google Shape;1115;p14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16" name="Google Shape;1116;p14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7" name="Google Shape;1117;p14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9" name="Google Shape;1119;p14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20" name="Google Shape;1120;p14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21" name="Google Shape;1121;p14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2" name="Google Shape;1122;p14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3" name="Google Shape;1123;p14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24" name="Google Shape;1124;p14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25" name="Google Shape;1125;p14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" name="Google Shape;1127;p14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8" name="Google Shape;1128;p14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9" name="Google Shape;1129;p14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0" name="Google Shape;1130;p1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1" name="Google Shape;1131;p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2" name="Google Shape;1132;p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33" name="Google Shape;1133;p1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4" name="Google Shape;1134;p14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5" name="Google Shape;1135;p1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36" name="Google Shape;1136;p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7" name="Google Shape;1137;p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8" name="Google Shape;1138;p14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1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0" name="Google Shape;1140;p1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1" name="Google Shape;1141;p14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2" name="Google Shape;1142;p1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3" name="Google Shape;1143;p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4" name="Google Shape;1144;p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5" name="Google Shape;1145;p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6" name="Google Shape;1146;p1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7" name="Google Shape;1147;p1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8" name="Google Shape;1148;p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9" name="Google Shape;1149;p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5519462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1" name="Google Shape;1151;p1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2" name="Google Shape;1152;p14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53" name="Google Shape;1153;p1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4" name="Google Shape;1154;p14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5" name="Google Shape;1155;p1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6" name="Google Shape;1156;p1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7" name="Google Shape;1157;p1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8" name="Google Shape;1158;p14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9" name="Google Shape;1159;p14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0" name="Google Shape;1160;p1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1" name="Google Shape;1161;p1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3" name="Google Shape;1163;p1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4" name="Google Shape;1164;p14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5" name="Google Shape;1165;p1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6" name="Google Shape;1166;p1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7" name="Google Shape;1167;p1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8" name="Google Shape;1168;p1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9" name="Google Shape;1169;p14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0" name="Google Shape;1170;p14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1" name="Google Shape;1171;p14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2" name="Google Shape;1172;p14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3" name="Google Shape;1173;p1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4" name="Google Shape;1174;p1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5" name="Google Shape;1175;p1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7" name="Google Shape;1177;p1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8" name="Google Shape;1178;p14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9" name="Google Shape;1179;p1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0" name="Google Shape;1180;p1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1" name="Google Shape;1181;p1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82" name="Google Shape;1182;p1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3" name="Google Shape;1183;p1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4" name="Google Shape;1184;p1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5" name="Google Shape;1185;p1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7" name="Google Shape;1187;p15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88" name="Google Shape;1188;p15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9" name="Google Shape;1189;p15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90" name="Google Shape;1190;p15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1" name="Google Shape;1191;p15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2" name="Google Shape;1192;p15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93" name="Google Shape;1193;p15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94" name="Google Shape;1194;p1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6" name="Google Shape;1196;p1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7" name="Google Shape;1197;p1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8" name="Google Shape;1198;p1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9" name="Google Shape;1199;p1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00" name="Google Shape;1200;p15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01" name="Google Shape;1201;p1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02" name="Google Shape;1202;p1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3" name="Google Shape;1203;p1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5" name="Google Shape;1205;p15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6" name="Google Shape;1206;p15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7" name="Google Shape;1207;p15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8" name="Google Shape;1208;p1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9" name="Google Shape;1209;p1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10" name="Google Shape;1210;p1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11" name="Google Shape;1211;p1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12" name="Google Shape;1212;p15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13" name="Google Shape;1213;p1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14" name="Google Shape;1214;p1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5" name="Google Shape;1215;p1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16" name="Google Shape;1216;p15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2">
    <p:spTree>
      <p:nvGrpSpPr>
        <p:cNvPr id="1" name="Shape 1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" name="Google Shape;1218;p153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9" name="Google Shape;1219;p153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220" name="Google Shape;1220;p153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221" name="Google Shape;1221;p153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2" name="Google Shape;1222;p153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223" name="Google Shape;1223;p15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5" name="Google Shape;1225;p154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6" name="Google Shape;1226;p154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27" name="Google Shape;1227;p15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28" name="Google Shape;1228;p1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9" name="Google Shape;1229;p1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" name="Google Shape;1231;p15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2" name="Google Shape;1232;p15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3" name="Google Shape;1233;p15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34" name="Google Shape;1234;p1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5" name="Google Shape;1235;p1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36" name="Google Shape;1236;p15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7" name="Google Shape;1237;p15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8" name="Google Shape;1238;p15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39" name="Google Shape;1239;p1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1" name="Google Shape;1241;p15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2" name="Google Shape;1242;p15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3" name="Google Shape;1243;p15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44" name="Google Shape;1244;p1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5" name="Google Shape;1245;p1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46" name="Google Shape;1246;p15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7" name="Google Shape;1247;p15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8" name="Google Shape;1248;p15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49" name="Google Shape;1249;p1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032396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Google Shape;1251;p15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2" name="Google Shape;1252;p1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3" name="Google Shape;1253;p1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4" name="Google Shape;1254;p15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55" name="Google Shape;1255;p15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7" name="Google Shape;1257;p15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58" name="Google Shape;1258;p15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59" name="Google Shape;1259;p15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0" name="Google Shape;1260;p15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1" name="Google Shape;1261;p15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3" name="Google Shape;1263;p15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4" name="Google Shape;1264;p15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5" name="Google Shape;1265;p15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6" name="Google Shape;1266;p15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7" name="Google Shape;1267;p15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68" name="Google Shape;1268;p15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0" name="Google Shape;1270;p16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1" name="Google Shape;1271;p16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2" name="Google Shape;1272;p16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3" name="Google Shape;1273;p1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4" name="Google Shape;1274;p1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75" name="Google Shape;1275;p16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6" name="Google Shape;1276;p16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7" name="Google Shape;1277;p16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78" name="Google Shape;1278;p1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" name="Google Shape;1280;p16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1" name="Google Shape;1281;p16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2" name="Google Shape;1282;p16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3" name="Google Shape;1283;p16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84" name="Google Shape;1284;p1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6" name="Google Shape;1286;p16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87" name="Google Shape;1287;p1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88" name="Google Shape;1288;p16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9" name="Google Shape;1289;p16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0" name="Google Shape;1290;p16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2" name="Google Shape;1292;p16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3" name="Google Shape;1293;p16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4" name="Google Shape;1294;p16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5" name="Google Shape;1295;p16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6" name="Google Shape;1296;p16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97" name="Google Shape;1297;p1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9" name="Google Shape;1299;p16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0" name="Google Shape;1300;p16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1" name="Google Shape;1301;p16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02" name="Google Shape;1302;p1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3" name="Google Shape;1303;p1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04" name="Google Shape;1304;p16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5" name="Google Shape;1305;p16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6" name="Google Shape;1306;p16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07" name="Google Shape;1307;p1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9" name="Google Shape;1309;p16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0" name="Google Shape;1310;p16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1" name="Google Shape;1311;p16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6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13" name="Google Shape;1313;p1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" name="Google Shape;1315;p16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16" name="Google Shape;1316;p1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17" name="Google Shape;1317;p16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8" name="Google Shape;1318;p16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9" name="Google Shape;1319;p16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" name="Google Shape;1321;p16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2" name="Google Shape;1322;p16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3" name="Google Shape;1323;p16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4" name="Google Shape;1324;p16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5" name="Google Shape;1325;p16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26" name="Google Shape;1326;p1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8" name="Google Shape;1328;p16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9" name="Google Shape;1329;p16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0" name="Google Shape;1330;p16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31" name="Google Shape;1331;p1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2" name="Google Shape;1332;p1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33" name="Google Shape;1333;p16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4" name="Google Shape;1334;p16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5" name="Google Shape;1335;p16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36" name="Google Shape;1336;p16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8" name="Google Shape;1338;p16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9" name="Google Shape;1339;p16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0" name="Google Shape;1340;p16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41" name="Google Shape;1341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2" name="Google Shape;1342;p1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43" name="Google Shape;1343;p16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4" name="Google Shape;1344;p16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5" name="Google Shape;1345;p16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46" name="Google Shape;1346;p16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8" name="Google Shape;1348;p17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9" name="Google Shape;1349;p17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0" name="Google Shape;1350;p17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1" name="Google Shape;1351;p17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2" name="Google Shape;1352;p17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7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55" name="Google Shape;1355;p17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56" name="Google Shape;1356;p17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7" name="Google Shape;1357;p17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8" name="Google Shape;1358;p17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0" name="Google Shape;1360;p17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1" name="Google Shape;1361;p17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2" name="Google Shape;1362;p17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3" name="Google Shape;1363;p17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4" name="Google Shape;1364;p17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65" name="Google Shape;1365;p17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7" name="Google Shape;1367;p173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8" name="Google Shape;1368;p173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369" name="Google Shape;1369;p17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70" name="Google Shape;1370;p1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1" name="Google Shape;1371;p1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3" name="Google Shape;1373;p174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4" name="Google Shape;1374;p174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375" name="Google Shape;1375;p174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376" name="Google Shape;1376;p1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77" name="Google Shape;1377;p1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8" name="Google Shape;1378;p1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0" name="Google Shape;1380;p175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1" name="Google Shape;1381;p175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382" name="Google Shape;1382;p175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3" name="Google Shape;1383;p175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384" name="Google Shape;1384;p175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5" name="Google Shape;1385;p175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86" name="Google Shape;1386;p175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7" name="Google Shape;1387;p175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388" name="Google Shape;1388;p1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0" name="Google Shape;1390;p1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1" name="Google Shape;1391;p1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2" name="Google Shape;1392;p1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3" name="Google Shape;1393;p1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94" name="Google Shape;1394;p1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95" name="Google Shape;1395;p1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96" name="Google Shape;1396;p1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97" name="Google Shape;1397;p1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98" name="Google Shape;1398;p1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99" name="Google Shape;1399;p1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0" name="Google Shape;1400;p1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01" name="Google Shape;1401;p17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1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3" name="Google Shape;1403;p177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4" name="Google Shape;1404;p177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05" name="Google Shape;1405;p17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6" name="Google Shape;1406;p177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07" name="Google Shape;1407;p17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8" name="Google Shape;1408;p17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09" name="Google Shape;1409;p177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0" name="Google Shape;1410;p177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411" name="Google Shape;1411;p17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" name="Google Shape;1413;p17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14" name="Google Shape;1414;p17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5" name="Google Shape;1415;p17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16" name="Google Shape;1416;p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7" name="Google Shape;1417;p1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18" name="Google Shape;1418;p17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9" name="Google Shape;1419;p17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0" name="Google Shape;1420;p17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21" name="Google Shape;1421;p17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" name="Google Shape;1423;p17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4" name="Google Shape;1424;p17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5" name="Google Shape;1425;p17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6" name="Google Shape;1426;p17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27" name="Google Shape;1427;p17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4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9" name="Google Shape;1429;p18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30" name="Google Shape;1430;p18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31" name="Google Shape;1431;p18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2" name="Google Shape;1432;p18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3" name="Google Shape;1433;p18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14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5" name="Google Shape;1435;p18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6" name="Google Shape;1436;p18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7" name="Google Shape;1437;p18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8" name="Google Shape;1438;p18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9" name="Google Shape;1439;p18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40" name="Google Shape;1440;p18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1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2" name="Google Shape;1442;p18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3" name="Google Shape;1443;p18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4" name="Google Shape;1444;p18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45" name="Google Shape;1445;p1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6" name="Google Shape;1446;p1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47" name="Google Shape;1447;p18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8" name="Google Shape;1448;p18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9" name="Google Shape;1449;p18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50" name="Google Shape;1450;p18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1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2" name="Google Shape;1452;p18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3" name="Google Shape;1453;p18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4" name="Google Shape;1454;p18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5" name="Google Shape;1455;p18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56" name="Google Shape;1456;p18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14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8" name="Google Shape;1458;p18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59" name="Google Shape;1459;p18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60" name="Google Shape;1460;p18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1" name="Google Shape;1461;p18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2" name="Google Shape;1462;p18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1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" name="Google Shape;1464;p18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5" name="Google Shape;1465;p18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6" name="Google Shape;1466;p18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7" name="Google Shape;1467;p18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8" name="Google Shape;1468;p18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69" name="Google Shape;1469;p18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1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1" name="Google Shape;1471;p18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2" name="Google Shape;1472;p18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3" name="Google Shape;1473;p18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4" name="Google Shape;1474;p18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75" name="Google Shape;1475;p18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16092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1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7" name="Google Shape;1477;p18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78" name="Google Shape;1478;p18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79" name="Google Shape;1479;p18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0" name="Google Shape;1480;p18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1" name="Google Shape;1481;p18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14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3" name="Google Shape;1483;p18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4" name="Google Shape;1484;p18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5" name="Google Shape;1485;p18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6" name="Google Shape;1486;p18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7" name="Google Shape;1487;p18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88" name="Google Shape;1488;p18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0" name="Google Shape;1490;p18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1" name="Google Shape;1491;p18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2" name="Google Shape;1492;p18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93" name="Google Shape;1493;p18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94" name="Google Shape;1494;p18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95" name="Google Shape;1495;p18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6" name="Google Shape;1496;p18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7" name="Google Shape;1497;p1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14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9" name="Google Shape;1499;p19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500" name="Google Shape;1500;p19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1" name="Google Shape;1501;p1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2" name="Google Shape;1502;p19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03" name="Google Shape;1503;p1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04" name="Google Shape;1504;p19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5" name="Google Shape;1505;p19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7" name="Google Shape;1507;p19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08" name="Google Shape;1508;p19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09" name="Google Shape;1509;p19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10" name="Google Shape;1510;p19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1" name="Google Shape;1511;p19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12" name="Google Shape;1512;p19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13" name="Google Shape;1513;p1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" name="Google Shape;1515;p19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6" name="Google Shape;1516;p19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7" name="Google Shape;1517;p19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8" name="Google Shape;1518;p1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9" name="Google Shape;1519;p1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20" name="Google Shape;1520;p1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21" name="Google Shape;1521;p1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2" name="Google Shape;1522;p1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23" name="Google Shape;1523;p1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24" name="Google Shape;1524;p1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5" name="Google Shape;1525;p1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26" name="Google Shape;1526;p19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15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8" name="Google Shape;1528;p1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9" name="Google Shape;1529;p1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0" name="Google Shape;1530;p1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31" name="Google Shape;1531;p1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2" name="Google Shape;1532;p1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33" name="Google Shape;1533;p1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4" name="Google Shape;1534;p1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5" name="Google Shape;1535;p1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6" name="Google Shape;1536;p1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7" name="Google Shape;1537;p1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9" name="Google Shape;1539;p1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0" name="Google Shape;1540;p19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41" name="Google Shape;1541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42" name="Google Shape;1542;p1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43" name="Google Shape;1543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4" name="Google Shape;1544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5" name="Google Shape;1545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46" name="Google Shape;1546;p19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7" name="Google Shape;1547;p19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8" name="Google Shape;1548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9" name="Google Shape;1549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5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51" name="Google Shape;1551;p1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52" name="Google Shape;1552;p1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53" name="Google Shape;1553;p1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54" name="Google Shape;1554;p1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5" name="Google Shape;1555;p1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56" name="Google Shape;1556;p1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7" name="Google Shape;1557;p19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58" name="Google Shape;1558;p19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9" name="Google Shape;1559;p19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60" name="Google Shape;1560;p19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1" name="Google Shape;1561;p1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2" name="Google Shape;1562;p1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3" name="Google Shape;1563;p1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5" name="Google Shape;1565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6" name="Google Shape;1566;p1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7" name="Google Shape;1567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8" name="Google Shape;1568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9" name="Google Shape;1569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70" name="Google Shape;1570;p1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1" name="Google Shape;1571;p1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72" name="Google Shape;1572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73" name="Google Shape;1573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876091"/>
      </p:ext>
    </p:extLst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5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5" name="Google Shape;1575;p19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76" name="Google Shape;1576;p19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7" name="Google Shape;1577;p19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78" name="Google Shape;1578;p19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9" name="Google Shape;1579;p19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0" name="Google Shape;1580;p19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81" name="Google Shape;1581;p1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82" name="Google Shape;1582;p1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4" name="Google Shape;1584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85" name="Google Shape;1585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86" name="Google Shape;1586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87" name="Google Shape;1587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8" name="Google Shape;1588;p1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9" name="Google Shape;1589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90" name="Google Shape;1590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1" name="Google Shape;1591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3" name="Google Shape;1593;p19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4" name="Google Shape;1594;p19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5" name="Google Shape;1595;p19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96" name="Google Shape;1596;p19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97" name="Google Shape;1597;p19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98" name="Google Shape;1598;p1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9" name="Google Shape;1599;p19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00" name="Google Shape;1600;p1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2" name="Google Shape;1602;p20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603" name="Google Shape;1603;p20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4" name="Google Shape;1604;p2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5" name="Google Shape;1605;p20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06" name="Google Shape;1606;p2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07" name="Google Shape;1607;p20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8" name="Google Shape;1608;p20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6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0" name="Google Shape;1610;p20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11" name="Google Shape;1611;p20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612" name="Google Shape;1612;p20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613" name="Google Shape;1613;p20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4" name="Google Shape;1614;p20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15" name="Google Shape;1615;p20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616" name="Google Shape;1616;p2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6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8" name="Google Shape;1618;p2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9" name="Google Shape;1619;p2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0" name="Google Shape;1620;p2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1" name="Google Shape;1621;p2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2" name="Google Shape;1622;p2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3" name="Google Shape;1623;p2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24" name="Google Shape;1624;p2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25" name="Google Shape;1625;p2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26" name="Google Shape;1626;p2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27" name="Google Shape;1627;p2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8" name="Google Shape;1628;p2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29" name="Google Shape;1629;p20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1" name="Google Shape;1631;p2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32" name="Google Shape;1632;p2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33" name="Google Shape;1633;p2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34" name="Google Shape;1634;p2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5" name="Google Shape;1635;p2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36" name="Google Shape;1636;p2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7" name="Google Shape;1637;p20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8" name="Google Shape;1638;p2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39" name="Google Shape;1639;p2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40" name="Google Shape;1640;p2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2" name="Google Shape;1642;p2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3" name="Google Shape;1643;p2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644" name="Google Shape;1644;p2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45" name="Google Shape;1645;p2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46" name="Google Shape;1646;p2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47" name="Google Shape;1647;p2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8" name="Google Shape;1648;p2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49" name="Google Shape;1649;p20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0" name="Google Shape;1650;p20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51" name="Google Shape;1651;p2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52" name="Google Shape;1652;p2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54" name="Google Shape;1654;p2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55" name="Google Shape;1655;p2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56" name="Google Shape;1656;p2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57" name="Google Shape;1657;p2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8" name="Google Shape;1658;p2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59" name="Google Shape;1659;p2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0" name="Google Shape;1660;p20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61" name="Google Shape;1661;p20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2" name="Google Shape;1662;p20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63" name="Google Shape;1663;p20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4" name="Google Shape;1664;p2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5" name="Google Shape;1665;p2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66" name="Google Shape;1666;p2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68" name="Google Shape;1668;p2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69" name="Google Shape;1669;p2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70" name="Google Shape;1670;p2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71" name="Google Shape;1671;p2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2" name="Google Shape;1672;p2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73" name="Google Shape;1673;p2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4" name="Google Shape;1674;p2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75" name="Google Shape;1675;p2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6" name="Google Shape;1676;p2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15734"/>
      </p:ext>
    </p:extLst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78" name="Google Shape;1678;p2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679" name="Google Shape;1679;p2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0" name="Google Shape;1680;p2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81" name="Google Shape;1681;p2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2" name="Google Shape;1682;p2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3" name="Google Shape;1683;p2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84" name="Google Shape;1684;p2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685" name="Google Shape;1685;p2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7" name="Google Shape;1687;p2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88" name="Google Shape;1688;p2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9" name="Google Shape;1689;p2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90" name="Google Shape;1690;p2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91" name="Google Shape;1691;p2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2" name="Google Shape;1692;p2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3" name="Google Shape;1693;p2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4" name="Google Shape;1694;p2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1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6" name="Google Shape;1696;p209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97" name="Google Shape;1697;p20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98" name="Google Shape;1698;p209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99" name="Google Shape;1699;p209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00" name="Google Shape;1700;p209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701" name="Google Shape;1701;p209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2" name="Google Shape;1702;p209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3" name="Google Shape;1703;p209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4" name="Google Shape;1704;p209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6" name="Google Shape;1706;p210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7" name="Google Shape;1707;p210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8" name="Google Shape;1708;p210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9" name="Google Shape;1709;p210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0" name="Google Shape;1710;p2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11" name="Google Shape;1711;p21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1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3" name="Google Shape;1713;p21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4" name="Google Shape;1714;p21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5" name="Google Shape;1715;p21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16" name="Google Shape;1716;p2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7" name="Google Shape;1717;p2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18" name="Google Shape;1718;p21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9" name="Google Shape;1719;p21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20" name="Google Shape;1720;p21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21" name="Google Shape;1721;p2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3" name="Google Shape;1723;p212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724" name="Google Shape;1724;p21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725" name="Google Shape;1725;p212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726" name="Google Shape;1726;p212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27" name="Google Shape;1727;p212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728" name="Google Shape;1728;p212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9" name="Google Shape;1729;p212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0" name="Google Shape;1730;p212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1" name="Google Shape;1731;p212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1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3" name="Google Shape;1733;p213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34" name="Google Shape;1734;p213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5" name="Google Shape;1735;p213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6" name="Google Shape;1736;p213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7" name="Google Shape;1737;p2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38" name="Google Shape;1738;p213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0" name="Google Shape;1740;p21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41" name="Google Shape;1741;p21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2" name="Google Shape;1742;p2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3" name="Google Shape;1743;p21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44" name="Google Shape;1744;p21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45" name="Google Shape;1745;p21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6" name="Google Shape;1746;p21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8" name="Google Shape;1748;p21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49" name="Google Shape;1749;p21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50" name="Google Shape;1750;p21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51" name="Google Shape;1751;p21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2" name="Google Shape;1752;p21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53" name="Google Shape;1753;p21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54" name="Google Shape;1754;p21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6" name="Google Shape;1756;p2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57" name="Google Shape;1757;p2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58" name="Google Shape;1758;p2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59" name="Google Shape;1759;p2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0" name="Google Shape;1760;p2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1" name="Google Shape;1761;p2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2" name="Google Shape;1762;p2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3" name="Google Shape;1763;p2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3743"/>
      </p:ext>
    </p:extLst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5" name="Google Shape;1765;p2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66" name="Google Shape;1766;p2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7" name="Google Shape;1767;p2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8" name="Google Shape;1768;p2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9" name="Google Shape;1769;p2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70" name="Google Shape;1770;p2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71" name="Google Shape;1771;p2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72" name="Google Shape;1772;p21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73" name="Google Shape;1773;p2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74" name="Google Shape;1774;p2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5" name="Google Shape;1775;p2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76" name="Google Shape;1776;p21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7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8" name="Google Shape;1778;p2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9" name="Google Shape;1779;p21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80" name="Google Shape;1780;p2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1" name="Google Shape;1781;p21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2" name="Google Shape;1782;p2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3" name="Google Shape;1783;p2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4" name="Google Shape;1784;p2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85" name="Google Shape;1785;p21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6" name="Google Shape;1786;p21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7" name="Google Shape;1787;p2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8" name="Google Shape;1788;p2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7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0" name="Google Shape;1790;p2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91" name="Google Shape;1791;p21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92" name="Google Shape;1792;p2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93" name="Google Shape;1793;p2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4" name="Google Shape;1794;p2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95" name="Google Shape;1795;p2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6" name="Google Shape;1796;p21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97" name="Google Shape;1797;p21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8" name="Google Shape;1798;p21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99" name="Google Shape;1799;p21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0" name="Google Shape;1800;p2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01" name="Google Shape;1801;p2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2" name="Google Shape;1802;p2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8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04" name="Google Shape;1804;p2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05" name="Google Shape;1805;p22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06" name="Google Shape;1806;p2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07" name="Google Shape;1807;p2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8" name="Google Shape;1808;p2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09" name="Google Shape;1809;p2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0" name="Google Shape;1810;p2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1" name="Google Shape;1811;p2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2" name="Google Shape;1812;p2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14" name="Google Shape;1814;p22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815" name="Google Shape;1815;p22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6" name="Google Shape;1816;p22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17" name="Google Shape;1817;p22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18" name="Google Shape;1818;p22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9" name="Google Shape;1819;p22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820" name="Google Shape;1820;p22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821" name="Google Shape;1821;p22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3" name="Google Shape;1823;p2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24" name="Google Shape;1824;p2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25" name="Google Shape;1825;p2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26" name="Google Shape;1826;p2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27" name="Google Shape;1827;p22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28" name="Google Shape;1828;p2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29" name="Google Shape;1829;p2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0" name="Google Shape;1830;p2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1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" name="Google Shape;1832;p22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33" name="Google Shape;1833;p22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4" name="Google Shape;1834;p22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5" name="Google Shape;1835;p2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36" name="Google Shape;1836;p2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7" name="Google Shape;1837;p2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38" name="Google Shape;1838;p2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39" name="Google Shape;1839;p22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40" name="Google Shape;1840;p2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41" name="Google Shape;1841;p2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2" name="Google Shape;1842;p2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43" name="Google Shape;1843;p22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3">
    <p:spTree>
      <p:nvGrpSpPr>
        <p:cNvPr id="1" name="Shape 1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5" name="Google Shape;1845;p224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6" name="Google Shape;1846;p224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847" name="Google Shape;1847;p224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848" name="Google Shape;1848;p224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9" name="Google Shape;1849;p224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850" name="Google Shape;1850;p22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Google Shape;1852;p22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3" name="Google Shape;1853;p22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4" name="Google Shape;1854;p22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55" name="Google Shape;1855;p2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56" name="Google Shape;1856;p22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57" name="Google Shape;1857;p22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8" name="Google Shape;1858;p22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59" name="Google Shape;1859;p22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1" name="Google Shape;1861;p22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62" name="Google Shape;1862;p22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3" name="Google Shape;1863;p22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4" name="Google Shape;1864;p22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65" name="Google Shape;1865;p22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66" name="Google Shape;1866;p22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7" name="Google Shape;1867;p22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6/17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9" name="Google Shape;1869;p22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70" name="Google Shape;1870;p22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71" name="Google Shape;1871;p22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72" name="Google Shape;1872;p22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3" name="Google Shape;1873;p22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74" name="Google Shape;1874;p22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75" name="Google Shape;1875;p22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7" name="Google Shape;1877;p22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8" name="Google Shape;1878;p22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9" name="Google Shape;1879;p22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0" name="Google Shape;1880;p2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81" name="Google Shape;1881;p2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82" name="Google Shape;1882;p2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83" name="Google Shape;1883;p2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84" name="Google Shape;1884;p22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85" name="Google Shape;1885;p2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86" name="Google Shape;1886;p2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7" name="Google Shape;1887;p2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88" name="Google Shape;1888;p22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1">
    <p:spTree>
      <p:nvGrpSpPr>
        <p:cNvPr id="1" name="Shape 1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0" name="Google Shape;1890;p22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1" name="Google Shape;1891;p22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2" name="Google Shape;1892;p22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3" name="Google Shape;1893;p2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94" name="Google Shape;1894;p2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95" name="Google Shape;1895;p2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96" name="Google Shape;1896;p2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97" name="Google Shape;1897;p22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98" name="Google Shape;1898;p2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99" name="Google Shape;1899;p2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0" name="Google Shape;1900;p2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01" name="Google Shape;1901;p22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9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03" name="Google Shape;1903;p2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04" name="Google Shape;1904;p23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05" name="Google Shape;1905;p2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06" name="Google Shape;1906;p2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7" name="Google Shape;1907;p2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08" name="Google Shape;1908;p2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9" name="Google Shape;1909;p2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0" name="Google Shape;1910;p2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11" name="Google Shape;1911;p2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2" name="Google Shape;1912;p2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" name="Google Shape;1914;p2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5" name="Google Shape;1915;p23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916" name="Google Shape;1916;p2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17" name="Google Shape;1917;p23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8" name="Google Shape;1918;p2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19" name="Google Shape;1919;p2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0" name="Google Shape;1920;p2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21" name="Google Shape;1921;p23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2" name="Google Shape;1922;p23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23" name="Google Shape;1923;p2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4" name="Google Shape;1924;p2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3">
    <p:spTree>
      <p:nvGrpSpPr>
        <p:cNvPr id="1" name="Shape 19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6" name="Google Shape;1926;p2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27" name="Google Shape;1927;p23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28" name="Google Shape;1928;p2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29" name="Google Shape;1929;p2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0" name="Google Shape;1930;p2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31" name="Google Shape;1931;p2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2" name="Google Shape;1932;p23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33" name="Google Shape;1933;p23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4" name="Google Shape;1934;p23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35" name="Google Shape;1935;p23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6" name="Google Shape;1936;p2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7" name="Google Shape;1937;p2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38" name="Google Shape;1938;p2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3">
    <p:spTree>
      <p:nvGrpSpPr>
        <p:cNvPr id="1" name="Shape 19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0" name="Google Shape;1940;p2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41" name="Google Shape;1941;p23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42" name="Google Shape;1942;p2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43" name="Google Shape;1943;p2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4" name="Google Shape;1944;p2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45" name="Google Shape;1945;p2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6" name="Google Shape;1946;p2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47" name="Google Shape;1947;p2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48" name="Google Shape;1948;p2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4">
    <p:spTree>
      <p:nvGrpSpPr>
        <p:cNvPr id="1" name="Shape 1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50" name="Google Shape;1950;p23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951" name="Google Shape;1951;p23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2" name="Google Shape;1952;p23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53" name="Google Shape;1953;p23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4" name="Google Shape;1954;p23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5" name="Google Shape;1955;p23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56" name="Google Shape;1956;p23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957" name="Google Shape;1957;p23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3">
    <p:spTree>
      <p:nvGrpSpPr>
        <p:cNvPr id="1" name="Shape 19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9" name="Google Shape;1959;p2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60" name="Google Shape;1960;p2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1" name="Google Shape;1961;p2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62" name="Google Shape;1962;p2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3" name="Google Shape;1963;p23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64" name="Google Shape;1964;p2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65" name="Google Shape;1965;p2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6" name="Google Shape;1966;p2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9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8" name="Google Shape;1968;p23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9" name="Google Shape;1969;p236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70" name="Google Shape;1970;p2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971" name="Google Shape;1971;p236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72" name="Google Shape;1972;p23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973" name="Google Shape;1973;p236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4" name="Google Shape;1974;p236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5" name="Google Shape;1975;p236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6" name="Google Shape;1976;p2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7" name="Google Shape;1977;p23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78" name="Google Shape;1978;p2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538390"/>
      </p:ext>
    </p:extLst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0" name="Google Shape;1980;p23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1" name="Google Shape;1981;p23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2" name="Google Shape;1982;p2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3" name="Google Shape;1983;p2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84" name="Google Shape;1984;p2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85" name="Google Shape;1985;p2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86" name="Google Shape;1986;p2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87" name="Google Shape;1987;p2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88" name="Google Shape;1988;p2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89" name="Google Shape;1989;p2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0" name="Google Shape;1990;p2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91" name="Google Shape;1991;p23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19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3" name="Google Shape;1993;p23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4" name="Google Shape;1994;p23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95" name="Google Shape;1995;p23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96" name="Google Shape;1996;p2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97" name="Google Shape;1997;p2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98" name="Google Shape;1998;p2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99" name="Google Shape;1999;p2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00" name="Google Shape;2000;p2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01" name="Google Shape;2001;p2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02" name="Google Shape;2002;p2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3" name="Google Shape;2003;p2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04" name="Google Shape;2004;p23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673158"/>
      </p:ext>
    </p:extLst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4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9pPr>
          </a:lstStyle>
          <a:p>
            <a:endParaRPr/>
          </a:p>
        </p:txBody>
      </p:sp>
      <p:sp>
        <p:nvSpPr>
          <p:cNvPr id="30" name="Google Shape;30;p4"/>
          <p:cNvSpPr txBox="1">
            <a:spLocks noGrp="1"/>
          </p:cNvSpPr>
          <p:nvPr>
            <p:ph type="body" idx="1"/>
          </p:nvPr>
        </p:nvSpPr>
        <p:spPr>
          <a:xfrm>
            <a:off x="960000" y="1536633"/>
            <a:ext cx="10272000" cy="4555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marL="609585" lvl="0" indent="-4148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●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marL="1219170" lvl="1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○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marL="1828754" lvl="2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■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marL="2438339" lvl="3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●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marL="3047924" lvl="4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○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marL="3657509" lvl="5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■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marL="4267093" lvl="6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●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marL="4876678" lvl="7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○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marL="5486263" lvl="8" indent="-414856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Clr>
                <a:schemeClr val="accent4"/>
              </a:buClr>
              <a:buSzPts val="1300"/>
              <a:buFont typeface="Josefin Slab"/>
              <a:buChar char="■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grpSp>
        <p:nvGrpSpPr>
          <p:cNvPr id="31" name="Google Shape;31;p4"/>
          <p:cNvGrpSpPr/>
          <p:nvPr/>
        </p:nvGrpSpPr>
        <p:grpSpPr>
          <a:xfrm rot="367901">
            <a:off x="3846933" y="-1606811"/>
            <a:ext cx="9067003" cy="2372147"/>
            <a:chOff x="3270900" y="2843975"/>
            <a:chExt cx="1469475" cy="375975"/>
          </a:xfrm>
        </p:grpSpPr>
        <p:sp>
          <p:nvSpPr>
            <p:cNvPr id="32" name="Google Shape;32;p4"/>
            <p:cNvSpPr/>
            <p:nvPr/>
          </p:nvSpPr>
          <p:spPr>
            <a:xfrm>
              <a:off x="3270900" y="2843975"/>
              <a:ext cx="1469475" cy="375975"/>
            </a:xfrm>
            <a:custGeom>
              <a:avLst/>
              <a:gdLst/>
              <a:ahLst/>
              <a:cxnLst/>
              <a:rect l="l" t="t" r="r" b="b"/>
              <a:pathLst>
                <a:path w="58779" h="15039" extrusionOk="0">
                  <a:moveTo>
                    <a:pt x="40" y="251"/>
                  </a:moveTo>
                  <a:cubicBezTo>
                    <a:pt x="0" y="251"/>
                    <a:pt x="108" y="313"/>
                    <a:pt x="425" y="472"/>
                  </a:cubicBezTo>
                  <a:cubicBezTo>
                    <a:pt x="883" y="701"/>
                    <a:pt x="1509" y="808"/>
                    <a:pt x="2169" y="870"/>
                  </a:cubicBezTo>
                  <a:lnTo>
                    <a:pt x="2169" y="870"/>
                  </a:lnTo>
                  <a:cubicBezTo>
                    <a:pt x="1206" y="656"/>
                    <a:pt x="142" y="251"/>
                    <a:pt x="40" y="251"/>
                  </a:cubicBezTo>
                  <a:close/>
                  <a:moveTo>
                    <a:pt x="10025" y="1"/>
                  </a:moveTo>
                  <a:cubicBezTo>
                    <a:pt x="9252" y="1"/>
                    <a:pt x="8347" y="54"/>
                    <a:pt x="7228" y="181"/>
                  </a:cubicBezTo>
                  <a:cubicBezTo>
                    <a:pt x="5795" y="343"/>
                    <a:pt x="4856" y="538"/>
                    <a:pt x="3475" y="957"/>
                  </a:cubicBezTo>
                  <a:lnTo>
                    <a:pt x="3475" y="957"/>
                  </a:lnTo>
                  <a:cubicBezTo>
                    <a:pt x="3050" y="932"/>
                    <a:pt x="2602" y="911"/>
                    <a:pt x="2169" y="870"/>
                  </a:cubicBezTo>
                  <a:lnTo>
                    <a:pt x="2169" y="870"/>
                  </a:lnTo>
                  <a:cubicBezTo>
                    <a:pt x="2516" y="947"/>
                    <a:pt x="2850" y="1000"/>
                    <a:pt x="3121" y="1000"/>
                  </a:cubicBezTo>
                  <a:cubicBezTo>
                    <a:pt x="3256" y="1000"/>
                    <a:pt x="3376" y="987"/>
                    <a:pt x="3474" y="957"/>
                  </a:cubicBezTo>
                  <a:cubicBezTo>
                    <a:pt x="3474" y="957"/>
                    <a:pt x="3475" y="957"/>
                    <a:pt x="3475" y="957"/>
                  </a:cubicBezTo>
                  <a:lnTo>
                    <a:pt x="3475" y="957"/>
                  </a:lnTo>
                  <a:cubicBezTo>
                    <a:pt x="3921" y="982"/>
                    <a:pt x="4343" y="1010"/>
                    <a:pt x="4696" y="1067"/>
                  </a:cubicBezTo>
                  <a:cubicBezTo>
                    <a:pt x="6111" y="1291"/>
                    <a:pt x="7522" y="1547"/>
                    <a:pt x="8918" y="1867"/>
                  </a:cubicBezTo>
                  <a:cubicBezTo>
                    <a:pt x="11944" y="2558"/>
                    <a:pt x="14923" y="3538"/>
                    <a:pt x="17647" y="5046"/>
                  </a:cubicBezTo>
                  <a:cubicBezTo>
                    <a:pt x="21049" y="6930"/>
                    <a:pt x="23627" y="7708"/>
                    <a:pt x="26956" y="9717"/>
                  </a:cubicBezTo>
                  <a:cubicBezTo>
                    <a:pt x="33431" y="13626"/>
                    <a:pt x="41225" y="15038"/>
                    <a:pt x="48933" y="15038"/>
                  </a:cubicBezTo>
                  <a:cubicBezTo>
                    <a:pt x="51669" y="15038"/>
                    <a:pt x="54395" y="14860"/>
                    <a:pt x="57046" y="14552"/>
                  </a:cubicBezTo>
                  <a:cubicBezTo>
                    <a:pt x="57853" y="14459"/>
                    <a:pt x="58778" y="13851"/>
                    <a:pt x="58687" y="13045"/>
                  </a:cubicBezTo>
                  <a:cubicBezTo>
                    <a:pt x="58643" y="12668"/>
                    <a:pt x="58365" y="12363"/>
                    <a:pt x="58068" y="12126"/>
                  </a:cubicBezTo>
                  <a:cubicBezTo>
                    <a:pt x="56243" y="10673"/>
                    <a:pt x="53649" y="10981"/>
                    <a:pt x="51319" y="10871"/>
                  </a:cubicBezTo>
                  <a:cubicBezTo>
                    <a:pt x="49167" y="10768"/>
                    <a:pt x="47138" y="9869"/>
                    <a:pt x="44999" y="9606"/>
                  </a:cubicBezTo>
                  <a:cubicBezTo>
                    <a:pt x="33862" y="8232"/>
                    <a:pt x="26530" y="2093"/>
                    <a:pt x="18708" y="1371"/>
                  </a:cubicBezTo>
                  <a:cubicBezTo>
                    <a:pt x="14172" y="953"/>
                    <a:pt x="13284" y="1"/>
                    <a:pt x="1002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" name="Google Shape;33;p4"/>
            <p:cNvSpPr/>
            <p:nvPr/>
          </p:nvSpPr>
          <p:spPr>
            <a:xfrm>
              <a:off x="3845125" y="2930600"/>
              <a:ext cx="13800" cy="4825"/>
            </a:xfrm>
            <a:custGeom>
              <a:avLst/>
              <a:gdLst/>
              <a:ahLst/>
              <a:cxnLst/>
              <a:rect l="l" t="t" r="r" b="b"/>
              <a:pathLst>
                <a:path w="552" h="193" extrusionOk="0">
                  <a:moveTo>
                    <a:pt x="480" y="0"/>
                  </a:moveTo>
                  <a:cubicBezTo>
                    <a:pt x="344" y="6"/>
                    <a:pt x="210" y="27"/>
                    <a:pt x="75" y="42"/>
                  </a:cubicBezTo>
                  <a:cubicBezTo>
                    <a:pt x="55" y="43"/>
                    <a:pt x="36" y="51"/>
                    <a:pt x="23" y="64"/>
                  </a:cubicBezTo>
                  <a:cubicBezTo>
                    <a:pt x="9" y="78"/>
                    <a:pt x="0" y="97"/>
                    <a:pt x="0" y="117"/>
                  </a:cubicBezTo>
                  <a:cubicBezTo>
                    <a:pt x="2" y="152"/>
                    <a:pt x="31" y="192"/>
                    <a:pt x="70" y="192"/>
                  </a:cubicBezTo>
                  <a:cubicBezTo>
                    <a:pt x="71" y="192"/>
                    <a:pt x="73" y="192"/>
                    <a:pt x="75" y="192"/>
                  </a:cubicBezTo>
                  <a:cubicBezTo>
                    <a:pt x="218" y="178"/>
                    <a:pt x="359" y="168"/>
                    <a:pt x="499" y="144"/>
                  </a:cubicBezTo>
                  <a:cubicBezTo>
                    <a:pt x="533" y="137"/>
                    <a:pt x="550" y="103"/>
                    <a:pt x="552" y="73"/>
                  </a:cubicBezTo>
                  <a:cubicBezTo>
                    <a:pt x="552" y="67"/>
                    <a:pt x="552" y="60"/>
                    <a:pt x="550" y="54"/>
                  </a:cubicBezTo>
                  <a:cubicBezTo>
                    <a:pt x="540" y="22"/>
                    <a:pt x="512" y="1"/>
                    <a:pt x="48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4" name="Google Shape;34;p4"/>
            <p:cNvSpPr/>
            <p:nvPr/>
          </p:nvSpPr>
          <p:spPr>
            <a:xfrm>
              <a:off x="3855900" y="2919575"/>
              <a:ext cx="10825" cy="5700"/>
            </a:xfrm>
            <a:custGeom>
              <a:avLst/>
              <a:gdLst/>
              <a:ahLst/>
              <a:cxnLst/>
              <a:rect l="l" t="t" r="r" b="b"/>
              <a:pathLst>
                <a:path w="433" h="228" extrusionOk="0">
                  <a:moveTo>
                    <a:pt x="128" y="203"/>
                  </a:moveTo>
                  <a:cubicBezTo>
                    <a:pt x="126" y="204"/>
                    <a:pt x="126" y="204"/>
                    <a:pt x="126" y="204"/>
                  </a:cubicBezTo>
                  <a:cubicBezTo>
                    <a:pt x="126" y="204"/>
                    <a:pt x="127" y="204"/>
                    <a:pt x="128" y="203"/>
                  </a:cubicBezTo>
                  <a:close/>
                  <a:moveTo>
                    <a:pt x="302" y="0"/>
                  </a:moveTo>
                  <a:cubicBezTo>
                    <a:pt x="267" y="3"/>
                    <a:pt x="235" y="8"/>
                    <a:pt x="202" y="17"/>
                  </a:cubicBezTo>
                  <a:cubicBezTo>
                    <a:pt x="138" y="36"/>
                    <a:pt x="79" y="68"/>
                    <a:pt x="28" y="111"/>
                  </a:cubicBezTo>
                  <a:cubicBezTo>
                    <a:pt x="1" y="134"/>
                    <a:pt x="3" y="184"/>
                    <a:pt x="28" y="208"/>
                  </a:cubicBezTo>
                  <a:cubicBezTo>
                    <a:pt x="41" y="221"/>
                    <a:pt x="58" y="227"/>
                    <a:pt x="76" y="227"/>
                  </a:cubicBezTo>
                  <a:cubicBezTo>
                    <a:pt x="93" y="227"/>
                    <a:pt x="110" y="221"/>
                    <a:pt x="124" y="208"/>
                  </a:cubicBezTo>
                  <a:lnTo>
                    <a:pt x="123" y="206"/>
                  </a:lnTo>
                  <a:cubicBezTo>
                    <a:pt x="126" y="204"/>
                    <a:pt x="128" y="202"/>
                    <a:pt x="131" y="200"/>
                  </a:cubicBezTo>
                  <a:lnTo>
                    <a:pt x="131" y="200"/>
                  </a:lnTo>
                  <a:cubicBezTo>
                    <a:pt x="131" y="200"/>
                    <a:pt x="129" y="202"/>
                    <a:pt x="128" y="203"/>
                  </a:cubicBezTo>
                  <a:lnTo>
                    <a:pt x="128" y="203"/>
                  </a:lnTo>
                  <a:cubicBezTo>
                    <a:pt x="128" y="203"/>
                    <a:pt x="129" y="202"/>
                    <a:pt x="129" y="202"/>
                  </a:cubicBezTo>
                  <a:cubicBezTo>
                    <a:pt x="135" y="198"/>
                    <a:pt x="140" y="194"/>
                    <a:pt x="145" y="190"/>
                  </a:cubicBezTo>
                  <a:cubicBezTo>
                    <a:pt x="156" y="183"/>
                    <a:pt x="167" y="177"/>
                    <a:pt x="179" y="170"/>
                  </a:cubicBezTo>
                  <a:cubicBezTo>
                    <a:pt x="184" y="167"/>
                    <a:pt x="190" y="165"/>
                    <a:pt x="197" y="162"/>
                  </a:cubicBezTo>
                  <a:cubicBezTo>
                    <a:pt x="197" y="161"/>
                    <a:pt x="198" y="161"/>
                    <a:pt x="199" y="161"/>
                  </a:cubicBezTo>
                  <a:lnTo>
                    <a:pt x="199" y="161"/>
                  </a:lnTo>
                  <a:cubicBezTo>
                    <a:pt x="199" y="161"/>
                    <a:pt x="199" y="161"/>
                    <a:pt x="199" y="161"/>
                  </a:cubicBezTo>
                  <a:cubicBezTo>
                    <a:pt x="200" y="161"/>
                    <a:pt x="201" y="160"/>
                    <a:pt x="203" y="159"/>
                  </a:cubicBezTo>
                  <a:lnTo>
                    <a:pt x="203" y="159"/>
                  </a:lnTo>
                  <a:cubicBezTo>
                    <a:pt x="202" y="160"/>
                    <a:pt x="200" y="160"/>
                    <a:pt x="199" y="161"/>
                  </a:cubicBezTo>
                  <a:lnTo>
                    <a:pt x="199" y="161"/>
                  </a:lnTo>
                  <a:cubicBezTo>
                    <a:pt x="199" y="161"/>
                    <a:pt x="200" y="160"/>
                    <a:pt x="203" y="159"/>
                  </a:cubicBezTo>
                  <a:cubicBezTo>
                    <a:pt x="204" y="158"/>
                    <a:pt x="204" y="158"/>
                    <a:pt x="205" y="158"/>
                  </a:cubicBezTo>
                  <a:lnTo>
                    <a:pt x="205" y="158"/>
                  </a:lnTo>
                  <a:cubicBezTo>
                    <a:pt x="205" y="158"/>
                    <a:pt x="204" y="159"/>
                    <a:pt x="203" y="159"/>
                  </a:cubicBezTo>
                  <a:lnTo>
                    <a:pt x="203" y="159"/>
                  </a:lnTo>
                  <a:cubicBezTo>
                    <a:pt x="204" y="159"/>
                    <a:pt x="205" y="158"/>
                    <a:pt x="205" y="158"/>
                  </a:cubicBezTo>
                  <a:lnTo>
                    <a:pt x="205" y="158"/>
                  </a:lnTo>
                  <a:cubicBezTo>
                    <a:pt x="217" y="153"/>
                    <a:pt x="230" y="149"/>
                    <a:pt x="242" y="146"/>
                  </a:cubicBezTo>
                  <a:cubicBezTo>
                    <a:pt x="256" y="142"/>
                    <a:pt x="267" y="140"/>
                    <a:pt x="280" y="136"/>
                  </a:cubicBezTo>
                  <a:lnTo>
                    <a:pt x="300" y="133"/>
                  </a:lnTo>
                  <a:lnTo>
                    <a:pt x="303" y="133"/>
                  </a:lnTo>
                  <a:cubicBezTo>
                    <a:pt x="300" y="134"/>
                    <a:pt x="299" y="134"/>
                    <a:pt x="299" y="134"/>
                  </a:cubicBezTo>
                  <a:cubicBezTo>
                    <a:pt x="299" y="134"/>
                    <a:pt x="305" y="133"/>
                    <a:pt x="306" y="133"/>
                  </a:cubicBezTo>
                  <a:cubicBezTo>
                    <a:pt x="319" y="132"/>
                    <a:pt x="333" y="131"/>
                    <a:pt x="345" y="131"/>
                  </a:cubicBezTo>
                  <a:cubicBezTo>
                    <a:pt x="348" y="131"/>
                    <a:pt x="350" y="131"/>
                    <a:pt x="352" y="131"/>
                  </a:cubicBezTo>
                  <a:cubicBezTo>
                    <a:pt x="362" y="131"/>
                    <a:pt x="373" y="129"/>
                    <a:pt x="382" y="126"/>
                  </a:cubicBezTo>
                  <a:cubicBezTo>
                    <a:pt x="391" y="123"/>
                    <a:pt x="398" y="120"/>
                    <a:pt x="405" y="116"/>
                  </a:cubicBezTo>
                  <a:cubicBezTo>
                    <a:pt x="422" y="106"/>
                    <a:pt x="433" y="88"/>
                    <a:pt x="432" y="69"/>
                  </a:cubicBezTo>
                  <a:cubicBezTo>
                    <a:pt x="432" y="49"/>
                    <a:pt x="421" y="32"/>
                    <a:pt x="405" y="22"/>
                  </a:cubicBezTo>
                  <a:cubicBezTo>
                    <a:pt x="398" y="16"/>
                    <a:pt x="391" y="11"/>
                    <a:pt x="382" y="8"/>
                  </a:cubicBezTo>
                  <a:cubicBezTo>
                    <a:pt x="370" y="4"/>
                    <a:pt x="357" y="0"/>
                    <a:pt x="34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5" name="Google Shape;35;p4"/>
            <p:cNvSpPr/>
            <p:nvPr/>
          </p:nvSpPr>
          <p:spPr>
            <a:xfrm>
              <a:off x="4065050" y="3127375"/>
              <a:ext cx="26350" cy="6400"/>
            </a:xfrm>
            <a:custGeom>
              <a:avLst/>
              <a:gdLst/>
              <a:ahLst/>
              <a:cxnLst/>
              <a:rect l="l" t="t" r="r" b="b"/>
              <a:pathLst>
                <a:path w="1054" h="256" extrusionOk="0">
                  <a:moveTo>
                    <a:pt x="893" y="3"/>
                  </a:moveTo>
                  <a:cubicBezTo>
                    <a:pt x="864" y="4"/>
                    <a:pt x="836" y="6"/>
                    <a:pt x="807" y="9"/>
                  </a:cubicBezTo>
                  <a:cubicBezTo>
                    <a:pt x="750" y="14"/>
                    <a:pt x="694" y="20"/>
                    <a:pt x="637" y="26"/>
                  </a:cubicBezTo>
                  <a:lnTo>
                    <a:pt x="295" y="63"/>
                  </a:lnTo>
                  <a:cubicBezTo>
                    <a:pt x="258" y="67"/>
                    <a:pt x="220" y="70"/>
                    <a:pt x="183" y="77"/>
                  </a:cubicBezTo>
                  <a:cubicBezTo>
                    <a:pt x="150" y="83"/>
                    <a:pt x="119" y="90"/>
                    <a:pt x="88" y="100"/>
                  </a:cubicBezTo>
                  <a:cubicBezTo>
                    <a:pt x="1" y="124"/>
                    <a:pt x="19" y="253"/>
                    <a:pt x="109" y="253"/>
                  </a:cubicBezTo>
                  <a:lnTo>
                    <a:pt x="128" y="254"/>
                  </a:lnTo>
                  <a:lnTo>
                    <a:pt x="143" y="254"/>
                  </a:lnTo>
                  <a:cubicBezTo>
                    <a:pt x="125" y="254"/>
                    <a:pt x="162" y="256"/>
                    <a:pt x="161" y="256"/>
                  </a:cubicBezTo>
                  <a:lnTo>
                    <a:pt x="194" y="256"/>
                  </a:lnTo>
                  <a:cubicBezTo>
                    <a:pt x="222" y="256"/>
                    <a:pt x="251" y="251"/>
                    <a:pt x="279" y="247"/>
                  </a:cubicBezTo>
                  <a:lnTo>
                    <a:pt x="449" y="230"/>
                  </a:lnTo>
                  <a:cubicBezTo>
                    <a:pt x="563" y="217"/>
                    <a:pt x="678" y="205"/>
                    <a:pt x="791" y="191"/>
                  </a:cubicBezTo>
                  <a:cubicBezTo>
                    <a:pt x="828" y="186"/>
                    <a:pt x="866" y="184"/>
                    <a:pt x="902" y="177"/>
                  </a:cubicBezTo>
                  <a:cubicBezTo>
                    <a:pt x="918" y="174"/>
                    <a:pt x="932" y="169"/>
                    <a:pt x="946" y="166"/>
                  </a:cubicBezTo>
                  <a:cubicBezTo>
                    <a:pt x="955" y="164"/>
                    <a:pt x="963" y="162"/>
                    <a:pt x="972" y="160"/>
                  </a:cubicBezTo>
                  <a:cubicBezTo>
                    <a:pt x="989" y="155"/>
                    <a:pt x="1004" y="146"/>
                    <a:pt x="1017" y="135"/>
                  </a:cubicBezTo>
                  <a:cubicBezTo>
                    <a:pt x="1054" y="106"/>
                    <a:pt x="1042" y="38"/>
                    <a:pt x="1002" y="18"/>
                  </a:cubicBezTo>
                  <a:cubicBezTo>
                    <a:pt x="967" y="1"/>
                    <a:pt x="930" y="4"/>
                    <a:pt x="893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6" name="Google Shape;36;p4"/>
            <p:cNvSpPr/>
            <p:nvPr/>
          </p:nvSpPr>
          <p:spPr>
            <a:xfrm>
              <a:off x="4439100" y="3121250"/>
              <a:ext cx="21650" cy="7400"/>
            </a:xfrm>
            <a:custGeom>
              <a:avLst/>
              <a:gdLst/>
              <a:ahLst/>
              <a:cxnLst/>
              <a:rect l="l" t="t" r="r" b="b"/>
              <a:pathLst>
                <a:path w="866" h="296" extrusionOk="0">
                  <a:moveTo>
                    <a:pt x="770" y="0"/>
                  </a:moveTo>
                  <a:cubicBezTo>
                    <a:pt x="750" y="1"/>
                    <a:pt x="730" y="4"/>
                    <a:pt x="711" y="10"/>
                  </a:cubicBezTo>
                  <a:lnTo>
                    <a:pt x="622" y="30"/>
                  </a:lnTo>
                  <a:lnTo>
                    <a:pt x="434" y="72"/>
                  </a:lnTo>
                  <a:lnTo>
                    <a:pt x="61" y="154"/>
                  </a:lnTo>
                  <a:cubicBezTo>
                    <a:pt x="23" y="166"/>
                    <a:pt x="1" y="205"/>
                    <a:pt x="11" y="243"/>
                  </a:cubicBezTo>
                  <a:cubicBezTo>
                    <a:pt x="20" y="275"/>
                    <a:pt x="49" y="295"/>
                    <a:pt x="81" y="295"/>
                  </a:cubicBezTo>
                  <a:cubicBezTo>
                    <a:pt x="87" y="295"/>
                    <a:pt x="93" y="295"/>
                    <a:pt x="99" y="293"/>
                  </a:cubicBezTo>
                  <a:lnTo>
                    <a:pt x="100" y="293"/>
                  </a:lnTo>
                  <a:lnTo>
                    <a:pt x="474" y="215"/>
                  </a:lnTo>
                  <a:lnTo>
                    <a:pt x="659" y="176"/>
                  </a:lnTo>
                  <a:lnTo>
                    <a:pt x="752" y="157"/>
                  </a:lnTo>
                  <a:cubicBezTo>
                    <a:pt x="771" y="154"/>
                    <a:pt x="790" y="149"/>
                    <a:pt x="807" y="139"/>
                  </a:cubicBezTo>
                  <a:cubicBezTo>
                    <a:pt x="826" y="128"/>
                    <a:pt x="841" y="111"/>
                    <a:pt x="851" y="92"/>
                  </a:cubicBezTo>
                  <a:cubicBezTo>
                    <a:pt x="865" y="69"/>
                    <a:pt x="857" y="38"/>
                    <a:pt x="833" y="23"/>
                  </a:cubicBezTo>
                  <a:cubicBezTo>
                    <a:pt x="814" y="10"/>
                    <a:pt x="793" y="2"/>
                    <a:pt x="7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7" name="Google Shape;37;p4"/>
            <p:cNvSpPr/>
            <p:nvPr/>
          </p:nvSpPr>
          <p:spPr>
            <a:xfrm>
              <a:off x="4463250" y="3129575"/>
              <a:ext cx="22075" cy="7975"/>
            </a:xfrm>
            <a:custGeom>
              <a:avLst/>
              <a:gdLst/>
              <a:ahLst/>
              <a:cxnLst/>
              <a:rect l="l" t="t" r="r" b="b"/>
              <a:pathLst>
                <a:path w="883" h="319" extrusionOk="0">
                  <a:moveTo>
                    <a:pt x="794" y="1"/>
                  </a:moveTo>
                  <a:cubicBezTo>
                    <a:pt x="768" y="1"/>
                    <a:pt x="742" y="8"/>
                    <a:pt x="717" y="14"/>
                  </a:cubicBezTo>
                  <a:cubicBezTo>
                    <a:pt x="685" y="21"/>
                    <a:pt x="653" y="31"/>
                    <a:pt x="622" y="39"/>
                  </a:cubicBezTo>
                  <a:cubicBezTo>
                    <a:pt x="561" y="56"/>
                    <a:pt x="500" y="73"/>
                    <a:pt x="439" y="91"/>
                  </a:cubicBezTo>
                  <a:cubicBezTo>
                    <a:pt x="379" y="108"/>
                    <a:pt x="318" y="125"/>
                    <a:pt x="258" y="145"/>
                  </a:cubicBezTo>
                  <a:lnTo>
                    <a:pt x="70" y="206"/>
                  </a:lnTo>
                  <a:cubicBezTo>
                    <a:pt x="0" y="222"/>
                    <a:pt x="20" y="319"/>
                    <a:pt x="81" y="319"/>
                  </a:cubicBezTo>
                  <a:cubicBezTo>
                    <a:pt x="87" y="319"/>
                    <a:pt x="93" y="318"/>
                    <a:pt x="100" y="316"/>
                  </a:cubicBezTo>
                  <a:lnTo>
                    <a:pt x="100" y="317"/>
                  </a:lnTo>
                  <a:lnTo>
                    <a:pt x="293" y="276"/>
                  </a:lnTo>
                  <a:cubicBezTo>
                    <a:pt x="356" y="264"/>
                    <a:pt x="417" y="248"/>
                    <a:pt x="478" y="233"/>
                  </a:cubicBezTo>
                  <a:cubicBezTo>
                    <a:pt x="539" y="219"/>
                    <a:pt x="601" y="204"/>
                    <a:pt x="662" y="188"/>
                  </a:cubicBezTo>
                  <a:cubicBezTo>
                    <a:pt x="694" y="179"/>
                    <a:pt x="727" y="172"/>
                    <a:pt x="757" y="163"/>
                  </a:cubicBezTo>
                  <a:cubicBezTo>
                    <a:pt x="798" y="150"/>
                    <a:pt x="847" y="140"/>
                    <a:pt x="867" y="99"/>
                  </a:cubicBezTo>
                  <a:cubicBezTo>
                    <a:pt x="883" y="70"/>
                    <a:pt x="873" y="33"/>
                    <a:pt x="845" y="15"/>
                  </a:cubicBezTo>
                  <a:cubicBezTo>
                    <a:pt x="829" y="4"/>
                    <a:pt x="812" y="1"/>
                    <a:pt x="79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8" name="Google Shape;38;p4"/>
            <p:cNvSpPr/>
            <p:nvPr/>
          </p:nvSpPr>
          <p:spPr>
            <a:xfrm>
              <a:off x="4088575" y="3140300"/>
              <a:ext cx="15225" cy="3725"/>
            </a:xfrm>
            <a:custGeom>
              <a:avLst/>
              <a:gdLst/>
              <a:ahLst/>
              <a:cxnLst/>
              <a:rect l="l" t="t" r="r" b="b"/>
              <a:pathLst>
                <a:path w="609" h="149" extrusionOk="0">
                  <a:moveTo>
                    <a:pt x="574" y="1"/>
                  </a:moveTo>
                  <a:cubicBezTo>
                    <a:pt x="553" y="1"/>
                    <a:pt x="534" y="8"/>
                    <a:pt x="514" y="14"/>
                  </a:cubicBezTo>
                  <a:cubicBezTo>
                    <a:pt x="492" y="19"/>
                    <a:pt x="471" y="25"/>
                    <a:pt x="449" y="31"/>
                  </a:cubicBezTo>
                  <a:cubicBezTo>
                    <a:pt x="406" y="44"/>
                    <a:pt x="362" y="54"/>
                    <a:pt x="316" y="62"/>
                  </a:cubicBezTo>
                  <a:cubicBezTo>
                    <a:pt x="250" y="73"/>
                    <a:pt x="184" y="78"/>
                    <a:pt x="117" y="78"/>
                  </a:cubicBezTo>
                  <a:cubicBezTo>
                    <a:pt x="94" y="78"/>
                    <a:pt x="71" y="78"/>
                    <a:pt x="49" y="76"/>
                  </a:cubicBezTo>
                  <a:cubicBezTo>
                    <a:pt x="48" y="76"/>
                    <a:pt x="47" y="76"/>
                    <a:pt x="46" y="76"/>
                  </a:cubicBezTo>
                  <a:cubicBezTo>
                    <a:pt x="0" y="76"/>
                    <a:pt x="0" y="146"/>
                    <a:pt x="46" y="146"/>
                  </a:cubicBezTo>
                  <a:cubicBezTo>
                    <a:pt x="47" y="146"/>
                    <a:pt x="48" y="146"/>
                    <a:pt x="49" y="146"/>
                  </a:cubicBezTo>
                  <a:cubicBezTo>
                    <a:pt x="77" y="148"/>
                    <a:pt x="106" y="149"/>
                    <a:pt x="135" y="149"/>
                  </a:cubicBezTo>
                  <a:cubicBezTo>
                    <a:pt x="200" y="149"/>
                    <a:pt x="266" y="144"/>
                    <a:pt x="330" y="134"/>
                  </a:cubicBezTo>
                  <a:cubicBezTo>
                    <a:pt x="377" y="127"/>
                    <a:pt x="422" y="118"/>
                    <a:pt x="467" y="106"/>
                  </a:cubicBezTo>
                  <a:cubicBezTo>
                    <a:pt x="488" y="99"/>
                    <a:pt x="509" y="92"/>
                    <a:pt x="530" y="84"/>
                  </a:cubicBezTo>
                  <a:cubicBezTo>
                    <a:pt x="553" y="75"/>
                    <a:pt x="582" y="68"/>
                    <a:pt x="597" y="48"/>
                  </a:cubicBezTo>
                  <a:cubicBezTo>
                    <a:pt x="608" y="34"/>
                    <a:pt x="608" y="6"/>
                    <a:pt x="585" y="1"/>
                  </a:cubicBezTo>
                  <a:cubicBezTo>
                    <a:pt x="582" y="1"/>
                    <a:pt x="578" y="1"/>
                    <a:pt x="57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  <p:extLst>
      <p:ext uri="{BB962C8B-B14F-4D97-AF65-F5344CB8AC3E}">
        <p14:creationId xmlns:p14="http://schemas.microsoft.com/office/powerpoint/2010/main" val="3037638234"/>
      </p:ext>
    </p:extLst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 2">
  <p:cSld name="CUSTOM_14_1"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14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9pPr>
          </a:lstStyle>
          <a:p>
            <a:endParaRPr/>
          </a:p>
        </p:txBody>
      </p:sp>
      <p:sp>
        <p:nvSpPr>
          <p:cNvPr id="138" name="Google Shape;138;p14"/>
          <p:cNvSpPr txBox="1">
            <a:spLocks noGrp="1"/>
          </p:cNvSpPr>
          <p:nvPr>
            <p:ph type="title" idx="2"/>
          </p:nvPr>
        </p:nvSpPr>
        <p:spPr>
          <a:xfrm>
            <a:off x="5036524" y="2872779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39" name="Google Shape;139;p14"/>
          <p:cNvSpPr txBox="1">
            <a:spLocks noGrp="1"/>
          </p:cNvSpPr>
          <p:nvPr>
            <p:ph type="title" idx="3"/>
          </p:nvPr>
        </p:nvSpPr>
        <p:spPr>
          <a:xfrm>
            <a:off x="1380557" y="4926000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40" name="Google Shape;140;p14"/>
          <p:cNvSpPr txBox="1">
            <a:spLocks noGrp="1"/>
          </p:cNvSpPr>
          <p:nvPr>
            <p:ph type="title" idx="4"/>
          </p:nvPr>
        </p:nvSpPr>
        <p:spPr>
          <a:xfrm>
            <a:off x="5036524" y="2562879"/>
            <a:ext cx="2147200" cy="513200"/>
          </a:xfrm>
          <a:prstGeom prst="rect">
            <a:avLst/>
          </a:prstGeom>
        </p:spPr>
        <p:txBody>
          <a:bodyPr spcFirstLastPara="1" wrap="square" lIns="91425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41" name="Google Shape;141;p14"/>
          <p:cNvSpPr txBox="1">
            <a:spLocks noGrp="1"/>
          </p:cNvSpPr>
          <p:nvPr>
            <p:ph type="title" idx="5"/>
          </p:nvPr>
        </p:nvSpPr>
        <p:spPr>
          <a:xfrm>
            <a:off x="1380557" y="4615999"/>
            <a:ext cx="2147200" cy="51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42" name="Google Shape;142;p14"/>
          <p:cNvSpPr txBox="1">
            <a:spLocks noGrp="1"/>
          </p:cNvSpPr>
          <p:nvPr>
            <p:ph type="title" idx="6"/>
          </p:nvPr>
        </p:nvSpPr>
        <p:spPr>
          <a:xfrm>
            <a:off x="5036549" y="4926000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43" name="Google Shape;143;p14"/>
          <p:cNvSpPr txBox="1">
            <a:spLocks noGrp="1"/>
          </p:cNvSpPr>
          <p:nvPr>
            <p:ph type="title" idx="7"/>
          </p:nvPr>
        </p:nvSpPr>
        <p:spPr>
          <a:xfrm>
            <a:off x="5036549" y="4615999"/>
            <a:ext cx="2147200" cy="51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44" name="Google Shape;144;p14"/>
          <p:cNvSpPr txBox="1">
            <a:spLocks noGrp="1"/>
          </p:cNvSpPr>
          <p:nvPr>
            <p:ph type="title" idx="8"/>
          </p:nvPr>
        </p:nvSpPr>
        <p:spPr>
          <a:xfrm>
            <a:off x="1380533" y="2872779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45" name="Google Shape;145;p14"/>
          <p:cNvSpPr txBox="1">
            <a:spLocks noGrp="1"/>
          </p:cNvSpPr>
          <p:nvPr>
            <p:ph type="title" idx="9"/>
          </p:nvPr>
        </p:nvSpPr>
        <p:spPr>
          <a:xfrm>
            <a:off x="1380533" y="2562879"/>
            <a:ext cx="2147200" cy="51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46" name="Google Shape;146;p14"/>
          <p:cNvSpPr txBox="1">
            <a:spLocks noGrp="1"/>
          </p:cNvSpPr>
          <p:nvPr>
            <p:ph type="title" idx="13" hasCustomPrompt="1"/>
          </p:nvPr>
        </p:nvSpPr>
        <p:spPr>
          <a:xfrm>
            <a:off x="1380581" y="1494367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47" name="Google Shape;147;p14"/>
          <p:cNvSpPr txBox="1">
            <a:spLocks noGrp="1"/>
          </p:cNvSpPr>
          <p:nvPr>
            <p:ph type="title" idx="14" hasCustomPrompt="1"/>
          </p:nvPr>
        </p:nvSpPr>
        <p:spPr>
          <a:xfrm>
            <a:off x="5036525" y="1494367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48" name="Google Shape;148;p14"/>
          <p:cNvSpPr txBox="1">
            <a:spLocks noGrp="1"/>
          </p:cNvSpPr>
          <p:nvPr>
            <p:ph type="title" idx="15" hasCustomPrompt="1"/>
          </p:nvPr>
        </p:nvSpPr>
        <p:spPr>
          <a:xfrm>
            <a:off x="1380599" y="3547588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49" name="Google Shape;149;p14"/>
          <p:cNvSpPr txBox="1">
            <a:spLocks noGrp="1"/>
          </p:cNvSpPr>
          <p:nvPr>
            <p:ph type="title" idx="16" hasCustomPrompt="1"/>
          </p:nvPr>
        </p:nvSpPr>
        <p:spPr>
          <a:xfrm>
            <a:off x="5036544" y="3547588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50" name="Google Shape;150;p14"/>
          <p:cNvSpPr txBox="1">
            <a:spLocks noGrp="1"/>
          </p:cNvSpPr>
          <p:nvPr>
            <p:ph type="title" idx="17"/>
          </p:nvPr>
        </p:nvSpPr>
        <p:spPr>
          <a:xfrm>
            <a:off x="8692515" y="2872779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51" name="Google Shape;151;p14"/>
          <p:cNvSpPr txBox="1">
            <a:spLocks noGrp="1"/>
          </p:cNvSpPr>
          <p:nvPr>
            <p:ph type="title" idx="18"/>
          </p:nvPr>
        </p:nvSpPr>
        <p:spPr>
          <a:xfrm>
            <a:off x="8692515" y="2562879"/>
            <a:ext cx="2147200" cy="513200"/>
          </a:xfrm>
          <a:prstGeom prst="rect">
            <a:avLst/>
          </a:prstGeom>
        </p:spPr>
        <p:txBody>
          <a:bodyPr spcFirstLastPara="1" wrap="square" lIns="91425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52" name="Google Shape;152;p14"/>
          <p:cNvSpPr txBox="1">
            <a:spLocks noGrp="1"/>
          </p:cNvSpPr>
          <p:nvPr>
            <p:ph type="title" idx="19"/>
          </p:nvPr>
        </p:nvSpPr>
        <p:spPr>
          <a:xfrm>
            <a:off x="8692515" y="4926000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53" name="Google Shape;153;p14"/>
          <p:cNvSpPr txBox="1">
            <a:spLocks noGrp="1"/>
          </p:cNvSpPr>
          <p:nvPr>
            <p:ph type="title" idx="20"/>
          </p:nvPr>
        </p:nvSpPr>
        <p:spPr>
          <a:xfrm>
            <a:off x="8692515" y="4615999"/>
            <a:ext cx="2147200" cy="51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54" name="Google Shape;154;p14"/>
          <p:cNvSpPr txBox="1">
            <a:spLocks noGrp="1"/>
          </p:cNvSpPr>
          <p:nvPr>
            <p:ph type="title" idx="21" hasCustomPrompt="1"/>
          </p:nvPr>
        </p:nvSpPr>
        <p:spPr>
          <a:xfrm>
            <a:off x="8692515" y="1494367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55" name="Google Shape;155;p14"/>
          <p:cNvSpPr txBox="1">
            <a:spLocks noGrp="1"/>
          </p:cNvSpPr>
          <p:nvPr>
            <p:ph type="title" idx="22" hasCustomPrompt="1"/>
          </p:nvPr>
        </p:nvSpPr>
        <p:spPr>
          <a:xfrm>
            <a:off x="8692515" y="3547588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grpSp>
        <p:nvGrpSpPr>
          <p:cNvPr id="156" name="Google Shape;156;p14"/>
          <p:cNvGrpSpPr/>
          <p:nvPr/>
        </p:nvGrpSpPr>
        <p:grpSpPr>
          <a:xfrm>
            <a:off x="5729194" y="-2356691"/>
            <a:ext cx="6616353" cy="4906852"/>
            <a:chOff x="4822800" y="2395325"/>
            <a:chExt cx="807450" cy="598825"/>
          </a:xfrm>
        </p:grpSpPr>
        <p:sp>
          <p:nvSpPr>
            <p:cNvPr id="157" name="Google Shape;157;p14"/>
            <p:cNvSpPr/>
            <p:nvPr/>
          </p:nvSpPr>
          <p:spPr>
            <a:xfrm>
              <a:off x="5094575" y="2654525"/>
              <a:ext cx="12650" cy="3625"/>
            </a:xfrm>
            <a:custGeom>
              <a:avLst/>
              <a:gdLst/>
              <a:ahLst/>
              <a:cxnLst/>
              <a:rect l="l" t="t" r="r" b="b"/>
              <a:pathLst>
                <a:path w="506" h="145" extrusionOk="0">
                  <a:moveTo>
                    <a:pt x="70" y="0"/>
                  </a:moveTo>
                  <a:cubicBezTo>
                    <a:pt x="34" y="0"/>
                    <a:pt x="0" y="37"/>
                    <a:pt x="2" y="72"/>
                  </a:cubicBezTo>
                  <a:cubicBezTo>
                    <a:pt x="3" y="107"/>
                    <a:pt x="32" y="145"/>
                    <a:pt x="70" y="145"/>
                  </a:cubicBezTo>
                  <a:cubicBezTo>
                    <a:pt x="71" y="145"/>
                    <a:pt x="73" y="145"/>
                    <a:pt x="74" y="145"/>
                  </a:cubicBezTo>
                  <a:cubicBezTo>
                    <a:pt x="143" y="138"/>
                    <a:pt x="210" y="133"/>
                    <a:pt x="279" y="127"/>
                  </a:cubicBezTo>
                  <a:cubicBezTo>
                    <a:pt x="312" y="124"/>
                    <a:pt x="346" y="121"/>
                    <a:pt x="379" y="118"/>
                  </a:cubicBezTo>
                  <a:cubicBezTo>
                    <a:pt x="398" y="116"/>
                    <a:pt x="416" y="112"/>
                    <a:pt x="435" y="109"/>
                  </a:cubicBezTo>
                  <a:cubicBezTo>
                    <a:pt x="452" y="107"/>
                    <a:pt x="467" y="102"/>
                    <a:pt x="483" y="97"/>
                  </a:cubicBezTo>
                  <a:cubicBezTo>
                    <a:pt x="505" y="88"/>
                    <a:pt x="505" y="56"/>
                    <a:pt x="483" y="48"/>
                  </a:cubicBezTo>
                  <a:cubicBezTo>
                    <a:pt x="467" y="42"/>
                    <a:pt x="452" y="38"/>
                    <a:pt x="435" y="36"/>
                  </a:cubicBezTo>
                  <a:cubicBezTo>
                    <a:pt x="416" y="33"/>
                    <a:pt x="398" y="29"/>
                    <a:pt x="379" y="27"/>
                  </a:cubicBezTo>
                  <a:cubicBezTo>
                    <a:pt x="346" y="22"/>
                    <a:pt x="312" y="21"/>
                    <a:pt x="279" y="18"/>
                  </a:cubicBezTo>
                  <a:cubicBezTo>
                    <a:pt x="210" y="11"/>
                    <a:pt x="143" y="7"/>
                    <a:pt x="74" y="0"/>
                  </a:cubicBezTo>
                  <a:cubicBezTo>
                    <a:pt x="73" y="0"/>
                    <a:pt x="71" y="0"/>
                    <a:pt x="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58" name="Google Shape;158;p14"/>
            <p:cNvSpPr/>
            <p:nvPr/>
          </p:nvSpPr>
          <p:spPr>
            <a:xfrm>
              <a:off x="5106150" y="2668325"/>
              <a:ext cx="8925" cy="3875"/>
            </a:xfrm>
            <a:custGeom>
              <a:avLst/>
              <a:gdLst/>
              <a:ahLst/>
              <a:cxnLst/>
              <a:rect l="l" t="t" r="r" b="b"/>
              <a:pathLst>
                <a:path w="357" h="155" extrusionOk="0">
                  <a:moveTo>
                    <a:pt x="154" y="1"/>
                  </a:moveTo>
                  <a:cubicBezTo>
                    <a:pt x="128" y="1"/>
                    <a:pt x="101" y="2"/>
                    <a:pt x="75" y="3"/>
                  </a:cubicBezTo>
                  <a:cubicBezTo>
                    <a:pt x="34" y="3"/>
                    <a:pt x="1" y="36"/>
                    <a:pt x="0" y="78"/>
                  </a:cubicBezTo>
                  <a:cubicBezTo>
                    <a:pt x="1" y="119"/>
                    <a:pt x="34" y="151"/>
                    <a:pt x="75" y="152"/>
                  </a:cubicBezTo>
                  <a:cubicBezTo>
                    <a:pt x="104" y="152"/>
                    <a:pt x="133" y="154"/>
                    <a:pt x="161" y="154"/>
                  </a:cubicBezTo>
                  <a:cubicBezTo>
                    <a:pt x="171" y="154"/>
                    <a:pt x="180" y="154"/>
                    <a:pt x="190" y="154"/>
                  </a:cubicBezTo>
                  <a:lnTo>
                    <a:pt x="245" y="150"/>
                  </a:lnTo>
                  <a:cubicBezTo>
                    <a:pt x="255" y="150"/>
                    <a:pt x="265" y="149"/>
                    <a:pt x="275" y="148"/>
                  </a:cubicBezTo>
                  <a:cubicBezTo>
                    <a:pt x="298" y="147"/>
                    <a:pt x="320" y="137"/>
                    <a:pt x="333" y="120"/>
                  </a:cubicBezTo>
                  <a:cubicBezTo>
                    <a:pt x="357" y="96"/>
                    <a:pt x="357" y="59"/>
                    <a:pt x="333" y="35"/>
                  </a:cubicBezTo>
                  <a:cubicBezTo>
                    <a:pt x="320" y="18"/>
                    <a:pt x="298" y="7"/>
                    <a:pt x="275" y="6"/>
                  </a:cubicBezTo>
                  <a:cubicBezTo>
                    <a:pt x="265" y="5"/>
                    <a:pt x="255" y="5"/>
                    <a:pt x="245" y="5"/>
                  </a:cubicBezTo>
                  <a:lnTo>
                    <a:pt x="190" y="2"/>
                  </a:lnTo>
                  <a:cubicBezTo>
                    <a:pt x="178" y="1"/>
                    <a:pt x="166" y="1"/>
                    <a:pt x="15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59" name="Google Shape;159;p14"/>
            <p:cNvSpPr/>
            <p:nvPr/>
          </p:nvSpPr>
          <p:spPr>
            <a:xfrm>
              <a:off x="4822800" y="2395325"/>
              <a:ext cx="807450" cy="598825"/>
            </a:xfrm>
            <a:custGeom>
              <a:avLst/>
              <a:gdLst/>
              <a:ahLst/>
              <a:cxnLst/>
              <a:rect l="l" t="t" r="r" b="b"/>
              <a:pathLst>
                <a:path w="32298" h="23953" extrusionOk="0">
                  <a:moveTo>
                    <a:pt x="5555" y="1"/>
                  </a:moveTo>
                  <a:cubicBezTo>
                    <a:pt x="3688" y="1"/>
                    <a:pt x="1707" y="413"/>
                    <a:pt x="0" y="571"/>
                  </a:cubicBezTo>
                  <a:cubicBezTo>
                    <a:pt x="2931" y="938"/>
                    <a:pt x="4272" y="2206"/>
                    <a:pt x="6023" y="3779"/>
                  </a:cubicBezTo>
                  <a:cubicBezTo>
                    <a:pt x="7865" y="5435"/>
                    <a:pt x="9279" y="7799"/>
                    <a:pt x="10017" y="10455"/>
                  </a:cubicBezTo>
                  <a:cubicBezTo>
                    <a:pt x="10241" y="11259"/>
                    <a:pt x="10409" y="12099"/>
                    <a:pt x="10773" y="12822"/>
                  </a:cubicBezTo>
                  <a:cubicBezTo>
                    <a:pt x="11147" y="13561"/>
                    <a:pt x="11706" y="14129"/>
                    <a:pt x="12295" y="14611"/>
                  </a:cubicBezTo>
                  <a:cubicBezTo>
                    <a:pt x="15119" y="16922"/>
                    <a:pt x="18633" y="17424"/>
                    <a:pt x="21910" y="18507"/>
                  </a:cubicBezTo>
                  <a:cubicBezTo>
                    <a:pt x="22992" y="18864"/>
                    <a:pt x="24051" y="19287"/>
                    <a:pt x="25081" y="19772"/>
                  </a:cubicBezTo>
                  <a:cubicBezTo>
                    <a:pt x="26833" y="20595"/>
                    <a:pt x="28937" y="21544"/>
                    <a:pt x="30375" y="23061"/>
                  </a:cubicBezTo>
                  <a:cubicBezTo>
                    <a:pt x="30682" y="23384"/>
                    <a:pt x="31130" y="23952"/>
                    <a:pt x="31503" y="23952"/>
                  </a:cubicBezTo>
                  <a:cubicBezTo>
                    <a:pt x="31688" y="23952"/>
                    <a:pt x="31855" y="23813"/>
                    <a:pt x="31977" y="23437"/>
                  </a:cubicBezTo>
                  <a:cubicBezTo>
                    <a:pt x="32297" y="22448"/>
                    <a:pt x="32268" y="20901"/>
                    <a:pt x="31982" y="19913"/>
                  </a:cubicBezTo>
                  <a:cubicBezTo>
                    <a:pt x="31609" y="18622"/>
                    <a:pt x="30656" y="17722"/>
                    <a:pt x="29677" y="17069"/>
                  </a:cubicBezTo>
                  <a:cubicBezTo>
                    <a:pt x="27475" y="15600"/>
                    <a:pt x="24964" y="15023"/>
                    <a:pt x="22573" y="14102"/>
                  </a:cubicBezTo>
                  <a:cubicBezTo>
                    <a:pt x="20181" y="13180"/>
                    <a:pt x="17756" y="11773"/>
                    <a:pt x="16373" y="9204"/>
                  </a:cubicBezTo>
                  <a:cubicBezTo>
                    <a:pt x="15763" y="8075"/>
                    <a:pt x="15389" y="6778"/>
                    <a:pt x="14833" y="5608"/>
                  </a:cubicBezTo>
                  <a:cubicBezTo>
                    <a:pt x="13503" y="2812"/>
                    <a:pt x="10931" y="1449"/>
                    <a:pt x="8419" y="466"/>
                  </a:cubicBezTo>
                  <a:cubicBezTo>
                    <a:pt x="7538" y="121"/>
                    <a:pt x="6563" y="1"/>
                    <a:pt x="555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0" name="Google Shape;160;p14"/>
            <p:cNvSpPr/>
            <p:nvPr/>
          </p:nvSpPr>
          <p:spPr>
            <a:xfrm>
              <a:off x="4999325" y="2416675"/>
              <a:ext cx="14800" cy="4675"/>
            </a:xfrm>
            <a:custGeom>
              <a:avLst/>
              <a:gdLst/>
              <a:ahLst/>
              <a:cxnLst/>
              <a:rect l="l" t="t" r="r" b="b"/>
              <a:pathLst>
                <a:path w="592" h="187" extrusionOk="0">
                  <a:moveTo>
                    <a:pt x="227" y="1"/>
                  </a:moveTo>
                  <a:cubicBezTo>
                    <a:pt x="221" y="1"/>
                    <a:pt x="215" y="1"/>
                    <a:pt x="209" y="1"/>
                  </a:cubicBezTo>
                  <a:cubicBezTo>
                    <a:pt x="169" y="1"/>
                    <a:pt x="129" y="4"/>
                    <a:pt x="89" y="9"/>
                  </a:cubicBezTo>
                  <a:cubicBezTo>
                    <a:pt x="65" y="9"/>
                    <a:pt x="43" y="19"/>
                    <a:pt x="26" y="36"/>
                  </a:cubicBezTo>
                  <a:cubicBezTo>
                    <a:pt x="10" y="52"/>
                    <a:pt x="0" y="74"/>
                    <a:pt x="0" y="98"/>
                  </a:cubicBezTo>
                  <a:cubicBezTo>
                    <a:pt x="0" y="121"/>
                    <a:pt x="10" y="143"/>
                    <a:pt x="26" y="160"/>
                  </a:cubicBezTo>
                  <a:cubicBezTo>
                    <a:pt x="41" y="173"/>
                    <a:pt x="62" y="187"/>
                    <a:pt x="84" y="187"/>
                  </a:cubicBezTo>
                  <a:cubicBezTo>
                    <a:pt x="86" y="187"/>
                    <a:pt x="87" y="187"/>
                    <a:pt x="89" y="187"/>
                  </a:cubicBezTo>
                  <a:lnTo>
                    <a:pt x="89" y="186"/>
                  </a:lnTo>
                  <a:cubicBezTo>
                    <a:pt x="127" y="180"/>
                    <a:pt x="165" y="178"/>
                    <a:pt x="204" y="176"/>
                  </a:cubicBezTo>
                  <a:cubicBezTo>
                    <a:pt x="216" y="176"/>
                    <a:pt x="229" y="177"/>
                    <a:pt x="243" y="177"/>
                  </a:cubicBezTo>
                  <a:cubicBezTo>
                    <a:pt x="249" y="177"/>
                    <a:pt x="256" y="176"/>
                    <a:pt x="263" y="176"/>
                  </a:cubicBezTo>
                  <a:lnTo>
                    <a:pt x="278" y="174"/>
                  </a:lnTo>
                  <a:lnTo>
                    <a:pt x="278" y="174"/>
                  </a:lnTo>
                  <a:cubicBezTo>
                    <a:pt x="280" y="174"/>
                    <a:pt x="282" y="175"/>
                    <a:pt x="284" y="175"/>
                  </a:cubicBezTo>
                  <a:cubicBezTo>
                    <a:pt x="286" y="175"/>
                    <a:pt x="288" y="174"/>
                    <a:pt x="290" y="174"/>
                  </a:cubicBezTo>
                  <a:lnTo>
                    <a:pt x="322" y="174"/>
                  </a:lnTo>
                  <a:cubicBezTo>
                    <a:pt x="332" y="174"/>
                    <a:pt x="342" y="175"/>
                    <a:pt x="351" y="175"/>
                  </a:cubicBezTo>
                  <a:cubicBezTo>
                    <a:pt x="365" y="175"/>
                    <a:pt x="379" y="174"/>
                    <a:pt x="392" y="169"/>
                  </a:cubicBezTo>
                  <a:lnTo>
                    <a:pt x="404" y="169"/>
                  </a:lnTo>
                  <a:cubicBezTo>
                    <a:pt x="414" y="169"/>
                    <a:pt x="425" y="169"/>
                    <a:pt x="434" y="170"/>
                  </a:cubicBezTo>
                  <a:cubicBezTo>
                    <a:pt x="453" y="171"/>
                    <a:pt x="471" y="172"/>
                    <a:pt x="489" y="174"/>
                  </a:cubicBezTo>
                  <a:cubicBezTo>
                    <a:pt x="497" y="175"/>
                    <a:pt x="504" y="175"/>
                    <a:pt x="512" y="175"/>
                  </a:cubicBezTo>
                  <a:cubicBezTo>
                    <a:pt x="526" y="175"/>
                    <a:pt x="540" y="174"/>
                    <a:pt x="554" y="172"/>
                  </a:cubicBezTo>
                  <a:cubicBezTo>
                    <a:pt x="583" y="168"/>
                    <a:pt x="592" y="124"/>
                    <a:pt x="571" y="105"/>
                  </a:cubicBezTo>
                  <a:cubicBezTo>
                    <a:pt x="539" y="77"/>
                    <a:pt x="498" y="63"/>
                    <a:pt x="458" y="50"/>
                  </a:cubicBezTo>
                  <a:lnTo>
                    <a:pt x="428" y="39"/>
                  </a:lnTo>
                  <a:lnTo>
                    <a:pt x="413" y="35"/>
                  </a:lnTo>
                  <a:lnTo>
                    <a:pt x="411" y="34"/>
                  </a:lnTo>
                  <a:lnTo>
                    <a:pt x="411" y="34"/>
                  </a:lnTo>
                  <a:cubicBezTo>
                    <a:pt x="408" y="32"/>
                    <a:pt x="404" y="29"/>
                    <a:pt x="401" y="27"/>
                  </a:cubicBezTo>
                  <a:cubicBezTo>
                    <a:pt x="392" y="22"/>
                    <a:pt x="383" y="19"/>
                    <a:pt x="373" y="17"/>
                  </a:cubicBezTo>
                  <a:cubicBezTo>
                    <a:pt x="363" y="15"/>
                    <a:pt x="352" y="14"/>
                    <a:pt x="343" y="13"/>
                  </a:cubicBezTo>
                  <a:cubicBezTo>
                    <a:pt x="328" y="11"/>
                    <a:pt x="313" y="8"/>
                    <a:pt x="298" y="6"/>
                  </a:cubicBezTo>
                  <a:cubicBezTo>
                    <a:pt x="295" y="6"/>
                    <a:pt x="289" y="5"/>
                    <a:pt x="285" y="5"/>
                  </a:cubicBezTo>
                  <a:lnTo>
                    <a:pt x="285" y="5"/>
                  </a:lnTo>
                  <a:cubicBezTo>
                    <a:pt x="285" y="5"/>
                    <a:pt x="285" y="5"/>
                    <a:pt x="285" y="5"/>
                  </a:cubicBezTo>
                  <a:cubicBezTo>
                    <a:pt x="265" y="2"/>
                    <a:pt x="246" y="1"/>
                    <a:pt x="22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1" name="Google Shape;161;p14"/>
            <p:cNvSpPr/>
            <p:nvPr/>
          </p:nvSpPr>
          <p:spPr>
            <a:xfrm>
              <a:off x="4999025" y="2416600"/>
              <a:ext cx="5025" cy="4925"/>
            </a:xfrm>
            <a:custGeom>
              <a:avLst/>
              <a:gdLst/>
              <a:ahLst/>
              <a:cxnLst/>
              <a:rect l="l" t="t" r="r" b="b"/>
              <a:pathLst>
                <a:path w="201" h="197" extrusionOk="0">
                  <a:moveTo>
                    <a:pt x="101" y="1"/>
                  </a:moveTo>
                  <a:cubicBezTo>
                    <a:pt x="49" y="1"/>
                    <a:pt x="0" y="46"/>
                    <a:pt x="3" y="99"/>
                  </a:cubicBezTo>
                  <a:cubicBezTo>
                    <a:pt x="4" y="153"/>
                    <a:pt x="47" y="197"/>
                    <a:pt x="101" y="197"/>
                  </a:cubicBezTo>
                  <a:cubicBezTo>
                    <a:pt x="152" y="197"/>
                    <a:pt x="201" y="153"/>
                    <a:pt x="199" y="99"/>
                  </a:cubicBezTo>
                  <a:cubicBezTo>
                    <a:pt x="198" y="45"/>
                    <a:pt x="154" y="2"/>
                    <a:pt x="1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2" name="Google Shape;162;p14"/>
            <p:cNvSpPr/>
            <p:nvPr/>
          </p:nvSpPr>
          <p:spPr>
            <a:xfrm>
              <a:off x="5016350" y="2430825"/>
              <a:ext cx="14400" cy="4225"/>
            </a:xfrm>
            <a:custGeom>
              <a:avLst/>
              <a:gdLst/>
              <a:ahLst/>
              <a:cxnLst/>
              <a:rect l="l" t="t" r="r" b="b"/>
              <a:pathLst>
                <a:path w="576" h="169" extrusionOk="0">
                  <a:moveTo>
                    <a:pt x="414" y="0"/>
                  </a:moveTo>
                  <a:cubicBezTo>
                    <a:pt x="375" y="0"/>
                    <a:pt x="335" y="2"/>
                    <a:pt x="296" y="5"/>
                  </a:cubicBezTo>
                  <a:cubicBezTo>
                    <a:pt x="214" y="13"/>
                    <a:pt x="132" y="28"/>
                    <a:pt x="52" y="49"/>
                  </a:cubicBezTo>
                  <a:cubicBezTo>
                    <a:pt x="19" y="57"/>
                    <a:pt x="0" y="91"/>
                    <a:pt x="9" y="125"/>
                  </a:cubicBezTo>
                  <a:cubicBezTo>
                    <a:pt x="17" y="151"/>
                    <a:pt x="42" y="169"/>
                    <a:pt x="69" y="169"/>
                  </a:cubicBezTo>
                  <a:cubicBezTo>
                    <a:pt x="74" y="169"/>
                    <a:pt x="79" y="168"/>
                    <a:pt x="84" y="167"/>
                  </a:cubicBezTo>
                  <a:cubicBezTo>
                    <a:pt x="120" y="158"/>
                    <a:pt x="157" y="150"/>
                    <a:pt x="195" y="144"/>
                  </a:cubicBezTo>
                  <a:lnTo>
                    <a:pt x="223" y="139"/>
                  </a:lnTo>
                  <a:lnTo>
                    <a:pt x="238" y="137"/>
                  </a:lnTo>
                  <a:lnTo>
                    <a:pt x="241" y="137"/>
                  </a:lnTo>
                  <a:cubicBezTo>
                    <a:pt x="259" y="135"/>
                    <a:pt x="280" y="133"/>
                    <a:pt x="300" y="131"/>
                  </a:cubicBezTo>
                  <a:cubicBezTo>
                    <a:pt x="336" y="128"/>
                    <a:pt x="374" y="127"/>
                    <a:pt x="412" y="126"/>
                  </a:cubicBezTo>
                  <a:lnTo>
                    <a:pt x="468" y="126"/>
                  </a:lnTo>
                  <a:cubicBezTo>
                    <a:pt x="471" y="126"/>
                    <a:pt x="474" y="126"/>
                    <a:pt x="477" y="126"/>
                  </a:cubicBezTo>
                  <a:cubicBezTo>
                    <a:pt x="497" y="126"/>
                    <a:pt x="516" y="123"/>
                    <a:pt x="536" y="116"/>
                  </a:cubicBezTo>
                  <a:cubicBezTo>
                    <a:pt x="555" y="111"/>
                    <a:pt x="569" y="94"/>
                    <a:pt x="573" y="73"/>
                  </a:cubicBezTo>
                  <a:cubicBezTo>
                    <a:pt x="576" y="53"/>
                    <a:pt x="565" y="32"/>
                    <a:pt x="547" y="22"/>
                  </a:cubicBezTo>
                  <a:cubicBezTo>
                    <a:pt x="537" y="16"/>
                    <a:pt x="525" y="11"/>
                    <a:pt x="513" y="6"/>
                  </a:cubicBezTo>
                  <a:cubicBezTo>
                    <a:pt x="500" y="3"/>
                    <a:pt x="487" y="2"/>
                    <a:pt x="475" y="2"/>
                  </a:cubicBezTo>
                  <a:cubicBezTo>
                    <a:pt x="455" y="1"/>
                    <a:pt x="436" y="0"/>
                    <a:pt x="41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3" name="Google Shape;163;p14"/>
            <p:cNvSpPr/>
            <p:nvPr/>
          </p:nvSpPr>
          <p:spPr>
            <a:xfrm>
              <a:off x="5136400" y="2735125"/>
              <a:ext cx="10200" cy="3250"/>
            </a:xfrm>
            <a:custGeom>
              <a:avLst/>
              <a:gdLst/>
              <a:ahLst/>
              <a:cxnLst/>
              <a:rect l="l" t="t" r="r" b="b"/>
              <a:pathLst>
                <a:path w="408" h="130" extrusionOk="0">
                  <a:moveTo>
                    <a:pt x="131" y="0"/>
                  </a:moveTo>
                  <a:cubicBezTo>
                    <a:pt x="102" y="1"/>
                    <a:pt x="72" y="5"/>
                    <a:pt x="43" y="10"/>
                  </a:cubicBezTo>
                  <a:cubicBezTo>
                    <a:pt x="18" y="17"/>
                    <a:pt x="1" y="39"/>
                    <a:pt x="1" y="65"/>
                  </a:cubicBezTo>
                  <a:cubicBezTo>
                    <a:pt x="2" y="88"/>
                    <a:pt x="17" y="116"/>
                    <a:pt x="43" y="120"/>
                  </a:cubicBezTo>
                  <a:lnTo>
                    <a:pt x="43" y="119"/>
                  </a:lnTo>
                  <a:cubicBezTo>
                    <a:pt x="72" y="126"/>
                    <a:pt x="102" y="129"/>
                    <a:pt x="131" y="130"/>
                  </a:cubicBezTo>
                  <a:lnTo>
                    <a:pt x="205" y="130"/>
                  </a:lnTo>
                  <a:cubicBezTo>
                    <a:pt x="229" y="130"/>
                    <a:pt x="255" y="130"/>
                    <a:pt x="279" y="129"/>
                  </a:cubicBezTo>
                  <a:cubicBezTo>
                    <a:pt x="292" y="129"/>
                    <a:pt x="305" y="128"/>
                    <a:pt x="318" y="127"/>
                  </a:cubicBezTo>
                  <a:cubicBezTo>
                    <a:pt x="327" y="127"/>
                    <a:pt x="337" y="126"/>
                    <a:pt x="346" y="124"/>
                  </a:cubicBezTo>
                  <a:cubicBezTo>
                    <a:pt x="356" y="120"/>
                    <a:pt x="365" y="116"/>
                    <a:pt x="373" y="110"/>
                  </a:cubicBezTo>
                  <a:cubicBezTo>
                    <a:pt x="408" y="90"/>
                    <a:pt x="408" y="39"/>
                    <a:pt x="373" y="19"/>
                  </a:cubicBezTo>
                  <a:cubicBezTo>
                    <a:pt x="365" y="13"/>
                    <a:pt x="356" y="9"/>
                    <a:pt x="346" y="6"/>
                  </a:cubicBezTo>
                  <a:cubicBezTo>
                    <a:pt x="337" y="3"/>
                    <a:pt x="327" y="2"/>
                    <a:pt x="319" y="2"/>
                  </a:cubicBezTo>
                  <a:cubicBezTo>
                    <a:pt x="305" y="2"/>
                    <a:pt x="293" y="1"/>
                    <a:pt x="279" y="1"/>
                  </a:cubicBezTo>
                  <a:cubicBezTo>
                    <a:pt x="255" y="0"/>
                    <a:pt x="230" y="0"/>
                    <a:pt x="20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4" name="Google Shape;164;p14"/>
            <p:cNvSpPr/>
            <p:nvPr/>
          </p:nvSpPr>
          <p:spPr>
            <a:xfrm>
              <a:off x="5140125" y="2750750"/>
              <a:ext cx="19950" cy="2875"/>
            </a:xfrm>
            <a:custGeom>
              <a:avLst/>
              <a:gdLst/>
              <a:ahLst/>
              <a:cxnLst/>
              <a:rect l="l" t="t" r="r" b="b"/>
              <a:pathLst>
                <a:path w="798" h="115" extrusionOk="0">
                  <a:moveTo>
                    <a:pt x="407" y="1"/>
                  </a:moveTo>
                  <a:lnTo>
                    <a:pt x="53" y="4"/>
                  </a:lnTo>
                  <a:cubicBezTo>
                    <a:pt x="24" y="4"/>
                    <a:pt x="1" y="27"/>
                    <a:pt x="0" y="56"/>
                  </a:cubicBezTo>
                  <a:cubicBezTo>
                    <a:pt x="1" y="85"/>
                    <a:pt x="24" y="108"/>
                    <a:pt x="53" y="109"/>
                  </a:cubicBezTo>
                  <a:lnTo>
                    <a:pt x="53" y="112"/>
                  </a:lnTo>
                  <a:lnTo>
                    <a:pt x="407" y="114"/>
                  </a:lnTo>
                  <a:lnTo>
                    <a:pt x="538" y="114"/>
                  </a:lnTo>
                  <a:cubicBezTo>
                    <a:pt x="554" y="113"/>
                    <a:pt x="571" y="109"/>
                    <a:pt x="584" y="108"/>
                  </a:cubicBezTo>
                  <a:lnTo>
                    <a:pt x="670" y="103"/>
                  </a:lnTo>
                  <a:cubicBezTo>
                    <a:pt x="701" y="103"/>
                    <a:pt x="733" y="99"/>
                    <a:pt x="764" y="90"/>
                  </a:cubicBezTo>
                  <a:cubicBezTo>
                    <a:pt x="797" y="81"/>
                    <a:pt x="797" y="34"/>
                    <a:pt x="764" y="25"/>
                  </a:cubicBezTo>
                  <a:cubicBezTo>
                    <a:pt x="733" y="16"/>
                    <a:pt x="701" y="12"/>
                    <a:pt x="670" y="12"/>
                  </a:cubicBezTo>
                  <a:lnTo>
                    <a:pt x="584" y="7"/>
                  </a:lnTo>
                  <a:cubicBezTo>
                    <a:pt x="571" y="6"/>
                    <a:pt x="555" y="2"/>
                    <a:pt x="53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5" name="Google Shape;165;p14"/>
            <p:cNvSpPr/>
            <p:nvPr/>
          </p:nvSpPr>
          <p:spPr>
            <a:xfrm>
              <a:off x="5574550" y="2840650"/>
              <a:ext cx="12700" cy="3500"/>
            </a:xfrm>
            <a:custGeom>
              <a:avLst/>
              <a:gdLst/>
              <a:ahLst/>
              <a:cxnLst/>
              <a:rect l="l" t="t" r="r" b="b"/>
              <a:pathLst>
                <a:path w="508" h="140" extrusionOk="0">
                  <a:moveTo>
                    <a:pt x="54" y="1"/>
                  </a:moveTo>
                  <a:cubicBezTo>
                    <a:pt x="26" y="1"/>
                    <a:pt x="1" y="31"/>
                    <a:pt x="3" y="58"/>
                  </a:cubicBezTo>
                  <a:cubicBezTo>
                    <a:pt x="3" y="88"/>
                    <a:pt x="28" y="113"/>
                    <a:pt x="59" y="114"/>
                  </a:cubicBezTo>
                  <a:lnTo>
                    <a:pt x="275" y="136"/>
                  </a:lnTo>
                  <a:cubicBezTo>
                    <a:pt x="309" y="139"/>
                    <a:pt x="344" y="140"/>
                    <a:pt x="379" y="140"/>
                  </a:cubicBezTo>
                  <a:lnTo>
                    <a:pt x="435" y="140"/>
                  </a:lnTo>
                  <a:cubicBezTo>
                    <a:pt x="437" y="140"/>
                    <a:pt x="440" y="140"/>
                    <a:pt x="442" y="140"/>
                  </a:cubicBezTo>
                  <a:cubicBezTo>
                    <a:pt x="461" y="140"/>
                    <a:pt x="482" y="139"/>
                    <a:pt x="495" y="124"/>
                  </a:cubicBezTo>
                  <a:cubicBezTo>
                    <a:pt x="506" y="113"/>
                    <a:pt x="508" y="96"/>
                    <a:pt x="500" y="83"/>
                  </a:cubicBezTo>
                  <a:cubicBezTo>
                    <a:pt x="490" y="62"/>
                    <a:pt x="468" y="58"/>
                    <a:pt x="447" y="54"/>
                  </a:cubicBezTo>
                  <a:lnTo>
                    <a:pt x="396" y="43"/>
                  </a:lnTo>
                  <a:cubicBezTo>
                    <a:pt x="357" y="36"/>
                    <a:pt x="318" y="28"/>
                    <a:pt x="278" y="24"/>
                  </a:cubicBezTo>
                  <a:lnTo>
                    <a:pt x="59" y="1"/>
                  </a:lnTo>
                  <a:cubicBezTo>
                    <a:pt x="57" y="1"/>
                    <a:pt x="56" y="1"/>
                    <a:pt x="5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6" name="Google Shape;166;p14"/>
            <p:cNvSpPr/>
            <p:nvPr/>
          </p:nvSpPr>
          <p:spPr>
            <a:xfrm>
              <a:off x="5569225" y="2853800"/>
              <a:ext cx="12600" cy="3100"/>
            </a:xfrm>
            <a:custGeom>
              <a:avLst/>
              <a:gdLst/>
              <a:ahLst/>
              <a:cxnLst/>
              <a:rect l="l" t="t" r="r" b="b"/>
              <a:pathLst>
                <a:path w="504" h="124" extrusionOk="0">
                  <a:moveTo>
                    <a:pt x="180" y="1"/>
                  </a:moveTo>
                  <a:cubicBezTo>
                    <a:pt x="148" y="1"/>
                    <a:pt x="117" y="1"/>
                    <a:pt x="85" y="1"/>
                  </a:cubicBezTo>
                  <a:cubicBezTo>
                    <a:pt x="84" y="1"/>
                    <a:pt x="82" y="1"/>
                    <a:pt x="81" y="1"/>
                  </a:cubicBezTo>
                  <a:cubicBezTo>
                    <a:pt x="1" y="1"/>
                    <a:pt x="1" y="123"/>
                    <a:pt x="81" y="123"/>
                  </a:cubicBezTo>
                  <a:cubicBezTo>
                    <a:pt x="82" y="123"/>
                    <a:pt x="84" y="123"/>
                    <a:pt x="85" y="123"/>
                  </a:cubicBezTo>
                  <a:lnTo>
                    <a:pt x="86" y="123"/>
                  </a:lnTo>
                  <a:cubicBezTo>
                    <a:pt x="122" y="123"/>
                    <a:pt x="157" y="124"/>
                    <a:pt x="193" y="124"/>
                  </a:cubicBezTo>
                  <a:cubicBezTo>
                    <a:pt x="220" y="124"/>
                    <a:pt x="248" y="124"/>
                    <a:pt x="275" y="122"/>
                  </a:cubicBezTo>
                  <a:lnTo>
                    <a:pt x="365" y="119"/>
                  </a:lnTo>
                  <a:cubicBezTo>
                    <a:pt x="383" y="119"/>
                    <a:pt x="401" y="117"/>
                    <a:pt x="418" y="113"/>
                  </a:cubicBezTo>
                  <a:cubicBezTo>
                    <a:pt x="430" y="110"/>
                    <a:pt x="433" y="105"/>
                    <a:pt x="442" y="104"/>
                  </a:cubicBezTo>
                  <a:cubicBezTo>
                    <a:pt x="452" y="103"/>
                    <a:pt x="458" y="101"/>
                    <a:pt x="467" y="99"/>
                  </a:cubicBezTo>
                  <a:cubicBezTo>
                    <a:pt x="503" y="93"/>
                    <a:pt x="503" y="33"/>
                    <a:pt x="467" y="25"/>
                  </a:cubicBezTo>
                  <a:cubicBezTo>
                    <a:pt x="458" y="23"/>
                    <a:pt x="450" y="21"/>
                    <a:pt x="442" y="20"/>
                  </a:cubicBezTo>
                  <a:cubicBezTo>
                    <a:pt x="436" y="19"/>
                    <a:pt x="430" y="17"/>
                    <a:pt x="424" y="14"/>
                  </a:cubicBezTo>
                  <a:cubicBezTo>
                    <a:pt x="408" y="8"/>
                    <a:pt x="392" y="6"/>
                    <a:pt x="375" y="6"/>
                  </a:cubicBezTo>
                  <a:cubicBezTo>
                    <a:pt x="372" y="6"/>
                    <a:pt x="369" y="6"/>
                    <a:pt x="365" y="6"/>
                  </a:cubicBezTo>
                  <a:lnTo>
                    <a:pt x="274" y="2"/>
                  </a:lnTo>
                  <a:cubicBezTo>
                    <a:pt x="243" y="1"/>
                    <a:pt x="211" y="1"/>
                    <a:pt x="18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7" name="Google Shape;167;p14"/>
            <p:cNvSpPr/>
            <p:nvPr/>
          </p:nvSpPr>
          <p:spPr>
            <a:xfrm>
              <a:off x="5394250" y="2848825"/>
              <a:ext cx="14175" cy="2750"/>
            </a:xfrm>
            <a:custGeom>
              <a:avLst/>
              <a:gdLst/>
              <a:ahLst/>
              <a:cxnLst/>
              <a:rect l="l" t="t" r="r" b="b"/>
              <a:pathLst>
                <a:path w="567" h="110" extrusionOk="0">
                  <a:moveTo>
                    <a:pt x="102" y="1"/>
                  </a:moveTo>
                  <a:cubicBezTo>
                    <a:pt x="92" y="1"/>
                    <a:pt x="82" y="1"/>
                    <a:pt x="72" y="2"/>
                  </a:cubicBezTo>
                  <a:cubicBezTo>
                    <a:pt x="1" y="2"/>
                    <a:pt x="1" y="108"/>
                    <a:pt x="72" y="108"/>
                  </a:cubicBezTo>
                  <a:cubicBezTo>
                    <a:pt x="84" y="108"/>
                    <a:pt x="97" y="109"/>
                    <a:pt x="110" y="109"/>
                  </a:cubicBezTo>
                  <a:cubicBezTo>
                    <a:pt x="116" y="109"/>
                    <a:pt x="122" y="109"/>
                    <a:pt x="129" y="108"/>
                  </a:cubicBezTo>
                  <a:cubicBezTo>
                    <a:pt x="146" y="107"/>
                    <a:pt x="168" y="104"/>
                    <a:pt x="188" y="104"/>
                  </a:cubicBezTo>
                  <a:lnTo>
                    <a:pt x="303" y="100"/>
                  </a:lnTo>
                  <a:cubicBezTo>
                    <a:pt x="379" y="98"/>
                    <a:pt x="459" y="100"/>
                    <a:pt x="534" y="87"/>
                  </a:cubicBezTo>
                  <a:cubicBezTo>
                    <a:pt x="566" y="82"/>
                    <a:pt x="566" y="28"/>
                    <a:pt x="534" y="23"/>
                  </a:cubicBezTo>
                  <a:cubicBezTo>
                    <a:pt x="459" y="10"/>
                    <a:pt x="379" y="12"/>
                    <a:pt x="303" y="10"/>
                  </a:cubicBezTo>
                  <a:lnTo>
                    <a:pt x="191" y="6"/>
                  </a:lnTo>
                  <a:cubicBezTo>
                    <a:pt x="171" y="6"/>
                    <a:pt x="151" y="4"/>
                    <a:pt x="132" y="2"/>
                  </a:cubicBezTo>
                  <a:cubicBezTo>
                    <a:pt x="122" y="1"/>
                    <a:pt x="112" y="1"/>
                    <a:pt x="10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8" name="Google Shape;168;p14"/>
            <p:cNvSpPr/>
            <p:nvPr/>
          </p:nvSpPr>
          <p:spPr>
            <a:xfrm>
              <a:off x="5178525" y="2618350"/>
              <a:ext cx="15000" cy="3650"/>
            </a:xfrm>
            <a:custGeom>
              <a:avLst/>
              <a:gdLst/>
              <a:ahLst/>
              <a:cxnLst/>
              <a:rect l="l" t="t" r="r" b="b"/>
              <a:pathLst>
                <a:path w="600" h="146" extrusionOk="0">
                  <a:moveTo>
                    <a:pt x="240" y="1"/>
                  </a:moveTo>
                  <a:cubicBezTo>
                    <a:pt x="222" y="1"/>
                    <a:pt x="204" y="1"/>
                    <a:pt x="186" y="3"/>
                  </a:cubicBezTo>
                  <a:cubicBezTo>
                    <a:pt x="137" y="3"/>
                    <a:pt x="90" y="9"/>
                    <a:pt x="44" y="24"/>
                  </a:cubicBezTo>
                  <a:cubicBezTo>
                    <a:pt x="17" y="31"/>
                    <a:pt x="0" y="57"/>
                    <a:pt x="4" y="84"/>
                  </a:cubicBezTo>
                  <a:cubicBezTo>
                    <a:pt x="8" y="111"/>
                    <a:pt x="31" y="132"/>
                    <a:pt x="58" y="132"/>
                  </a:cubicBezTo>
                  <a:cubicBezTo>
                    <a:pt x="69" y="133"/>
                    <a:pt x="79" y="134"/>
                    <a:pt x="89" y="134"/>
                  </a:cubicBezTo>
                  <a:cubicBezTo>
                    <a:pt x="100" y="134"/>
                    <a:pt x="110" y="133"/>
                    <a:pt x="121" y="132"/>
                  </a:cubicBezTo>
                  <a:cubicBezTo>
                    <a:pt x="142" y="131"/>
                    <a:pt x="163" y="130"/>
                    <a:pt x="183" y="130"/>
                  </a:cubicBezTo>
                  <a:cubicBezTo>
                    <a:pt x="195" y="130"/>
                    <a:pt x="208" y="130"/>
                    <a:pt x="221" y="130"/>
                  </a:cubicBezTo>
                  <a:cubicBezTo>
                    <a:pt x="251" y="130"/>
                    <a:pt x="281" y="131"/>
                    <a:pt x="311" y="131"/>
                  </a:cubicBezTo>
                  <a:cubicBezTo>
                    <a:pt x="355" y="133"/>
                    <a:pt x="395" y="137"/>
                    <a:pt x="436" y="141"/>
                  </a:cubicBezTo>
                  <a:cubicBezTo>
                    <a:pt x="459" y="143"/>
                    <a:pt x="485" y="145"/>
                    <a:pt x="510" y="145"/>
                  </a:cubicBezTo>
                  <a:cubicBezTo>
                    <a:pt x="529" y="145"/>
                    <a:pt x="547" y="144"/>
                    <a:pt x="564" y="140"/>
                  </a:cubicBezTo>
                  <a:cubicBezTo>
                    <a:pt x="591" y="132"/>
                    <a:pt x="599" y="100"/>
                    <a:pt x="580" y="81"/>
                  </a:cubicBezTo>
                  <a:cubicBezTo>
                    <a:pt x="548" y="51"/>
                    <a:pt x="497" y="35"/>
                    <a:pt x="455" y="25"/>
                  </a:cubicBezTo>
                  <a:cubicBezTo>
                    <a:pt x="408" y="14"/>
                    <a:pt x="362" y="7"/>
                    <a:pt x="315" y="4"/>
                  </a:cubicBezTo>
                  <a:cubicBezTo>
                    <a:pt x="289" y="2"/>
                    <a:pt x="265" y="1"/>
                    <a:pt x="24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grpSp>
        <p:nvGrpSpPr>
          <p:cNvPr id="169" name="Google Shape;169;p14"/>
          <p:cNvGrpSpPr/>
          <p:nvPr/>
        </p:nvGrpSpPr>
        <p:grpSpPr>
          <a:xfrm flipH="1">
            <a:off x="8093941" y="5917719"/>
            <a:ext cx="4251604" cy="1156044"/>
            <a:chOff x="1296625" y="5272425"/>
            <a:chExt cx="751450" cy="204325"/>
          </a:xfrm>
        </p:grpSpPr>
        <p:sp>
          <p:nvSpPr>
            <p:cNvPr id="170" name="Google Shape;170;p14"/>
            <p:cNvSpPr/>
            <p:nvPr/>
          </p:nvSpPr>
          <p:spPr>
            <a:xfrm>
              <a:off x="1296625" y="5272425"/>
              <a:ext cx="751450" cy="204325"/>
            </a:xfrm>
            <a:custGeom>
              <a:avLst/>
              <a:gdLst/>
              <a:ahLst/>
              <a:cxnLst/>
              <a:rect l="l" t="t" r="r" b="b"/>
              <a:pathLst>
                <a:path w="30058" h="8173" extrusionOk="0">
                  <a:moveTo>
                    <a:pt x="1831" y="0"/>
                  </a:moveTo>
                  <a:cubicBezTo>
                    <a:pt x="1359" y="0"/>
                    <a:pt x="921" y="261"/>
                    <a:pt x="576" y="977"/>
                  </a:cubicBezTo>
                  <a:cubicBezTo>
                    <a:pt x="0" y="2170"/>
                    <a:pt x="458" y="4179"/>
                    <a:pt x="1209" y="5205"/>
                  </a:cubicBezTo>
                  <a:cubicBezTo>
                    <a:pt x="2352" y="6765"/>
                    <a:pt x="4549" y="7016"/>
                    <a:pt x="6482" y="7078"/>
                  </a:cubicBezTo>
                  <a:cubicBezTo>
                    <a:pt x="12255" y="7267"/>
                    <a:pt x="18061" y="6994"/>
                    <a:pt x="23788" y="7750"/>
                  </a:cubicBezTo>
                  <a:cubicBezTo>
                    <a:pt x="25169" y="7932"/>
                    <a:pt x="26573" y="8173"/>
                    <a:pt x="27959" y="8173"/>
                  </a:cubicBezTo>
                  <a:cubicBezTo>
                    <a:pt x="28665" y="8173"/>
                    <a:pt x="29367" y="8110"/>
                    <a:pt x="30058" y="7945"/>
                  </a:cubicBezTo>
                  <a:cubicBezTo>
                    <a:pt x="26482" y="6211"/>
                    <a:pt x="22600" y="5194"/>
                    <a:pt x="18632" y="4954"/>
                  </a:cubicBezTo>
                  <a:cubicBezTo>
                    <a:pt x="16764" y="4841"/>
                    <a:pt x="14885" y="4902"/>
                    <a:pt x="13025" y="4685"/>
                  </a:cubicBezTo>
                  <a:cubicBezTo>
                    <a:pt x="9662" y="4293"/>
                    <a:pt x="6423" y="2958"/>
                    <a:pt x="3732" y="908"/>
                  </a:cubicBezTo>
                  <a:cubicBezTo>
                    <a:pt x="3126" y="447"/>
                    <a:pt x="2449" y="0"/>
                    <a:pt x="183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71" name="Google Shape;171;p14"/>
            <p:cNvSpPr/>
            <p:nvPr/>
          </p:nvSpPr>
          <p:spPr>
            <a:xfrm>
              <a:off x="1429850" y="5340900"/>
              <a:ext cx="17250" cy="14500"/>
            </a:xfrm>
            <a:custGeom>
              <a:avLst/>
              <a:gdLst/>
              <a:ahLst/>
              <a:cxnLst/>
              <a:rect l="l" t="t" r="r" b="b"/>
              <a:pathLst>
                <a:path w="690" h="580" extrusionOk="0">
                  <a:moveTo>
                    <a:pt x="217" y="194"/>
                  </a:moveTo>
                  <a:cubicBezTo>
                    <a:pt x="217" y="194"/>
                    <a:pt x="218" y="195"/>
                    <a:pt x="219" y="196"/>
                  </a:cubicBezTo>
                  <a:lnTo>
                    <a:pt x="219" y="196"/>
                  </a:lnTo>
                  <a:lnTo>
                    <a:pt x="218" y="196"/>
                  </a:lnTo>
                  <a:cubicBezTo>
                    <a:pt x="217" y="194"/>
                    <a:pt x="217" y="194"/>
                    <a:pt x="217" y="194"/>
                  </a:cubicBezTo>
                  <a:close/>
                  <a:moveTo>
                    <a:pt x="364" y="341"/>
                  </a:moveTo>
                  <a:cubicBezTo>
                    <a:pt x="365" y="342"/>
                    <a:pt x="365" y="342"/>
                    <a:pt x="366" y="342"/>
                  </a:cubicBezTo>
                  <a:lnTo>
                    <a:pt x="364" y="341"/>
                  </a:lnTo>
                  <a:close/>
                  <a:moveTo>
                    <a:pt x="68" y="0"/>
                  </a:moveTo>
                  <a:cubicBezTo>
                    <a:pt x="56" y="0"/>
                    <a:pt x="46" y="3"/>
                    <a:pt x="37" y="8"/>
                  </a:cubicBezTo>
                  <a:cubicBezTo>
                    <a:pt x="6" y="28"/>
                    <a:pt x="1" y="61"/>
                    <a:pt x="15" y="94"/>
                  </a:cubicBezTo>
                  <a:cubicBezTo>
                    <a:pt x="59" y="194"/>
                    <a:pt x="122" y="285"/>
                    <a:pt x="199" y="363"/>
                  </a:cubicBezTo>
                  <a:cubicBezTo>
                    <a:pt x="239" y="403"/>
                    <a:pt x="282" y="438"/>
                    <a:pt x="328" y="471"/>
                  </a:cubicBezTo>
                  <a:cubicBezTo>
                    <a:pt x="374" y="503"/>
                    <a:pt x="425" y="528"/>
                    <a:pt x="478" y="545"/>
                  </a:cubicBezTo>
                  <a:cubicBezTo>
                    <a:pt x="506" y="554"/>
                    <a:pt x="534" y="563"/>
                    <a:pt x="563" y="569"/>
                  </a:cubicBezTo>
                  <a:cubicBezTo>
                    <a:pt x="585" y="576"/>
                    <a:pt x="608" y="579"/>
                    <a:pt x="631" y="579"/>
                  </a:cubicBezTo>
                  <a:cubicBezTo>
                    <a:pt x="641" y="579"/>
                    <a:pt x="650" y="579"/>
                    <a:pt x="660" y="578"/>
                  </a:cubicBezTo>
                  <a:cubicBezTo>
                    <a:pt x="689" y="573"/>
                    <a:pt x="686" y="535"/>
                    <a:pt x="667" y="522"/>
                  </a:cubicBezTo>
                  <a:cubicBezTo>
                    <a:pt x="647" y="508"/>
                    <a:pt x="625" y="497"/>
                    <a:pt x="602" y="489"/>
                  </a:cubicBezTo>
                  <a:cubicBezTo>
                    <a:pt x="579" y="479"/>
                    <a:pt x="557" y="468"/>
                    <a:pt x="534" y="455"/>
                  </a:cubicBezTo>
                  <a:cubicBezTo>
                    <a:pt x="491" y="431"/>
                    <a:pt x="450" y="400"/>
                    <a:pt x="408" y="373"/>
                  </a:cubicBezTo>
                  <a:cubicBezTo>
                    <a:pt x="397" y="367"/>
                    <a:pt x="388" y="359"/>
                    <a:pt x="377" y="352"/>
                  </a:cubicBezTo>
                  <a:lnTo>
                    <a:pt x="365" y="341"/>
                  </a:lnTo>
                  <a:cubicBezTo>
                    <a:pt x="364" y="341"/>
                    <a:pt x="363" y="340"/>
                    <a:pt x="363" y="340"/>
                  </a:cubicBezTo>
                  <a:lnTo>
                    <a:pt x="363" y="340"/>
                  </a:lnTo>
                  <a:lnTo>
                    <a:pt x="356" y="335"/>
                  </a:lnTo>
                  <a:cubicBezTo>
                    <a:pt x="336" y="319"/>
                    <a:pt x="317" y="302"/>
                    <a:pt x="299" y="284"/>
                  </a:cubicBezTo>
                  <a:cubicBezTo>
                    <a:pt x="281" y="268"/>
                    <a:pt x="263" y="249"/>
                    <a:pt x="247" y="230"/>
                  </a:cubicBezTo>
                  <a:cubicBezTo>
                    <a:pt x="238" y="221"/>
                    <a:pt x="231" y="212"/>
                    <a:pt x="223" y="201"/>
                  </a:cubicBezTo>
                  <a:lnTo>
                    <a:pt x="219" y="197"/>
                  </a:lnTo>
                  <a:cubicBezTo>
                    <a:pt x="214" y="190"/>
                    <a:pt x="211" y="185"/>
                    <a:pt x="206" y="179"/>
                  </a:cubicBezTo>
                  <a:cubicBezTo>
                    <a:pt x="173" y="133"/>
                    <a:pt x="144" y="83"/>
                    <a:pt x="121" y="30"/>
                  </a:cubicBezTo>
                  <a:cubicBezTo>
                    <a:pt x="113" y="11"/>
                    <a:pt x="90" y="0"/>
                    <a:pt x="6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72" name="Google Shape;172;p14"/>
            <p:cNvSpPr/>
            <p:nvPr/>
          </p:nvSpPr>
          <p:spPr>
            <a:xfrm>
              <a:off x="1436300" y="5366700"/>
              <a:ext cx="19050" cy="9500"/>
            </a:xfrm>
            <a:custGeom>
              <a:avLst/>
              <a:gdLst/>
              <a:ahLst/>
              <a:cxnLst/>
              <a:rect l="l" t="t" r="r" b="b"/>
              <a:pathLst>
                <a:path w="762" h="380" extrusionOk="0">
                  <a:moveTo>
                    <a:pt x="556" y="240"/>
                  </a:moveTo>
                  <a:lnTo>
                    <a:pt x="556" y="240"/>
                  </a:lnTo>
                  <a:cubicBezTo>
                    <a:pt x="558" y="240"/>
                    <a:pt x="560" y="240"/>
                    <a:pt x="562" y="240"/>
                  </a:cubicBezTo>
                  <a:cubicBezTo>
                    <a:pt x="562" y="240"/>
                    <a:pt x="558" y="240"/>
                    <a:pt x="556" y="240"/>
                  </a:cubicBezTo>
                  <a:close/>
                  <a:moveTo>
                    <a:pt x="65" y="0"/>
                  </a:moveTo>
                  <a:cubicBezTo>
                    <a:pt x="50" y="0"/>
                    <a:pt x="35" y="6"/>
                    <a:pt x="23" y="18"/>
                  </a:cubicBezTo>
                  <a:cubicBezTo>
                    <a:pt x="0" y="41"/>
                    <a:pt x="0" y="78"/>
                    <a:pt x="23" y="102"/>
                  </a:cubicBezTo>
                  <a:cubicBezTo>
                    <a:pt x="169" y="252"/>
                    <a:pt x="361" y="348"/>
                    <a:pt x="567" y="375"/>
                  </a:cubicBezTo>
                  <a:cubicBezTo>
                    <a:pt x="584" y="378"/>
                    <a:pt x="600" y="380"/>
                    <a:pt x="617" y="380"/>
                  </a:cubicBezTo>
                  <a:cubicBezTo>
                    <a:pt x="656" y="380"/>
                    <a:pt x="695" y="372"/>
                    <a:pt x="731" y="356"/>
                  </a:cubicBezTo>
                  <a:cubicBezTo>
                    <a:pt x="749" y="350"/>
                    <a:pt x="760" y="333"/>
                    <a:pt x="761" y="313"/>
                  </a:cubicBezTo>
                  <a:cubicBezTo>
                    <a:pt x="761" y="290"/>
                    <a:pt x="742" y="275"/>
                    <a:pt x="722" y="269"/>
                  </a:cubicBezTo>
                  <a:cubicBezTo>
                    <a:pt x="700" y="261"/>
                    <a:pt x="677" y="255"/>
                    <a:pt x="653" y="252"/>
                  </a:cubicBezTo>
                  <a:cubicBezTo>
                    <a:pt x="638" y="249"/>
                    <a:pt x="622" y="248"/>
                    <a:pt x="607" y="246"/>
                  </a:cubicBezTo>
                  <a:cubicBezTo>
                    <a:pt x="603" y="246"/>
                    <a:pt x="600" y="245"/>
                    <a:pt x="597" y="245"/>
                  </a:cubicBezTo>
                  <a:cubicBezTo>
                    <a:pt x="598" y="245"/>
                    <a:pt x="599" y="245"/>
                    <a:pt x="600" y="245"/>
                  </a:cubicBezTo>
                  <a:lnTo>
                    <a:pt x="600" y="245"/>
                  </a:lnTo>
                  <a:cubicBezTo>
                    <a:pt x="599" y="245"/>
                    <a:pt x="597" y="245"/>
                    <a:pt x="595" y="245"/>
                  </a:cubicBezTo>
                  <a:cubicBezTo>
                    <a:pt x="586" y="243"/>
                    <a:pt x="577" y="242"/>
                    <a:pt x="568" y="241"/>
                  </a:cubicBezTo>
                  <a:lnTo>
                    <a:pt x="560" y="240"/>
                  </a:lnTo>
                  <a:cubicBezTo>
                    <a:pt x="556" y="240"/>
                    <a:pt x="554" y="240"/>
                    <a:pt x="555" y="240"/>
                  </a:cubicBezTo>
                  <a:cubicBezTo>
                    <a:pt x="555" y="240"/>
                    <a:pt x="555" y="240"/>
                    <a:pt x="556" y="240"/>
                  </a:cubicBezTo>
                  <a:lnTo>
                    <a:pt x="556" y="240"/>
                  </a:lnTo>
                  <a:cubicBezTo>
                    <a:pt x="553" y="240"/>
                    <a:pt x="550" y="239"/>
                    <a:pt x="546" y="238"/>
                  </a:cubicBezTo>
                  <a:cubicBezTo>
                    <a:pt x="534" y="236"/>
                    <a:pt x="520" y="234"/>
                    <a:pt x="508" y="231"/>
                  </a:cubicBezTo>
                  <a:cubicBezTo>
                    <a:pt x="460" y="220"/>
                    <a:pt x="412" y="207"/>
                    <a:pt x="367" y="189"/>
                  </a:cubicBezTo>
                  <a:lnTo>
                    <a:pt x="358" y="184"/>
                  </a:lnTo>
                  <a:lnTo>
                    <a:pt x="339" y="176"/>
                  </a:lnTo>
                  <a:cubicBezTo>
                    <a:pt x="325" y="171"/>
                    <a:pt x="313" y="164"/>
                    <a:pt x="301" y="158"/>
                  </a:cubicBezTo>
                  <a:cubicBezTo>
                    <a:pt x="276" y="145"/>
                    <a:pt x="253" y="132"/>
                    <a:pt x="230" y="117"/>
                  </a:cubicBezTo>
                  <a:cubicBezTo>
                    <a:pt x="218" y="110"/>
                    <a:pt x="207" y="101"/>
                    <a:pt x="195" y="93"/>
                  </a:cubicBezTo>
                  <a:lnTo>
                    <a:pt x="178" y="81"/>
                  </a:lnTo>
                  <a:lnTo>
                    <a:pt x="176" y="79"/>
                  </a:lnTo>
                  <a:lnTo>
                    <a:pt x="170" y="74"/>
                  </a:lnTo>
                  <a:cubicBezTo>
                    <a:pt x="148" y="57"/>
                    <a:pt x="127" y="38"/>
                    <a:pt x="107" y="18"/>
                  </a:cubicBezTo>
                  <a:cubicBezTo>
                    <a:pt x="95" y="6"/>
                    <a:pt x="80" y="0"/>
                    <a:pt x="6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  <p:extLst>
      <p:ext uri="{BB962C8B-B14F-4D97-AF65-F5344CB8AC3E}">
        <p14:creationId xmlns:p14="http://schemas.microsoft.com/office/powerpoint/2010/main" val="1934916602"/>
      </p:ext>
    </p:extLst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subTitle" idx="1"/>
          </p:nvPr>
        </p:nvSpPr>
        <p:spPr>
          <a:xfrm>
            <a:off x="7445800" y="3188132"/>
            <a:ext cx="2783200" cy="894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 sz="2133">
                <a:solidFill>
                  <a:schemeClr val="accent4"/>
                </a:solidFill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 sz="2133">
                <a:solidFill>
                  <a:schemeClr val="accent4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 sz="2133">
                <a:solidFill>
                  <a:schemeClr val="accent4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 sz="2133">
                <a:solidFill>
                  <a:schemeClr val="accent4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 sz="2133">
                <a:solidFill>
                  <a:schemeClr val="accent4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 sz="2133">
                <a:solidFill>
                  <a:schemeClr val="accent4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 sz="2133">
                <a:solidFill>
                  <a:schemeClr val="accent4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 sz="2133">
                <a:solidFill>
                  <a:schemeClr val="accent4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 sz="2133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grpSp>
        <p:nvGrpSpPr>
          <p:cNvPr id="10" name="Google Shape;10;p2"/>
          <p:cNvGrpSpPr/>
          <p:nvPr/>
        </p:nvGrpSpPr>
        <p:grpSpPr>
          <a:xfrm>
            <a:off x="-991766" y="2284285"/>
            <a:ext cx="9563833" cy="5159167"/>
            <a:chOff x="202750" y="921725"/>
            <a:chExt cx="7172875" cy="3869375"/>
          </a:xfrm>
        </p:grpSpPr>
        <p:sp>
          <p:nvSpPr>
            <p:cNvPr id="11" name="Google Shape;11;p2"/>
            <p:cNvSpPr/>
            <p:nvPr/>
          </p:nvSpPr>
          <p:spPr>
            <a:xfrm>
              <a:off x="202750" y="921725"/>
              <a:ext cx="7172875" cy="3869375"/>
            </a:xfrm>
            <a:custGeom>
              <a:avLst/>
              <a:gdLst/>
              <a:ahLst/>
              <a:cxnLst/>
              <a:rect l="l" t="t" r="r" b="b"/>
              <a:pathLst>
                <a:path w="286915" h="154775" extrusionOk="0">
                  <a:moveTo>
                    <a:pt x="11987" y="1"/>
                  </a:moveTo>
                  <a:cubicBezTo>
                    <a:pt x="10286" y="1"/>
                    <a:pt x="8605" y="288"/>
                    <a:pt x="7013" y="946"/>
                  </a:cubicBezTo>
                  <a:cubicBezTo>
                    <a:pt x="4719" y="1891"/>
                    <a:pt x="2688" y="3658"/>
                    <a:pt x="1852" y="5985"/>
                  </a:cubicBezTo>
                  <a:cubicBezTo>
                    <a:pt x="1" y="11146"/>
                    <a:pt x="4372" y="16301"/>
                    <a:pt x="8460" y="19946"/>
                  </a:cubicBezTo>
                  <a:cubicBezTo>
                    <a:pt x="23320" y="33206"/>
                    <a:pt x="40302" y="46479"/>
                    <a:pt x="58119" y="56281"/>
                  </a:cubicBezTo>
                  <a:cubicBezTo>
                    <a:pt x="61391" y="58080"/>
                    <a:pt x="64688" y="59752"/>
                    <a:pt x="68011" y="61307"/>
                  </a:cubicBezTo>
                  <a:cubicBezTo>
                    <a:pt x="79143" y="66475"/>
                    <a:pt x="91279" y="68930"/>
                    <a:pt x="102688" y="73494"/>
                  </a:cubicBezTo>
                  <a:cubicBezTo>
                    <a:pt x="113467" y="77807"/>
                    <a:pt x="124393" y="83212"/>
                    <a:pt x="131277" y="92558"/>
                  </a:cubicBezTo>
                  <a:cubicBezTo>
                    <a:pt x="140327" y="104834"/>
                    <a:pt x="141112" y="122195"/>
                    <a:pt x="151698" y="133173"/>
                  </a:cubicBezTo>
                  <a:cubicBezTo>
                    <a:pt x="159160" y="140912"/>
                    <a:pt x="169778" y="143663"/>
                    <a:pt x="180063" y="145270"/>
                  </a:cubicBezTo>
                  <a:cubicBezTo>
                    <a:pt x="185262" y="146080"/>
                    <a:pt x="191189" y="145926"/>
                    <a:pt x="196196" y="147545"/>
                  </a:cubicBezTo>
                  <a:cubicBezTo>
                    <a:pt x="201126" y="149139"/>
                    <a:pt x="205664" y="150714"/>
                    <a:pt x="210889" y="151646"/>
                  </a:cubicBezTo>
                  <a:cubicBezTo>
                    <a:pt x="222571" y="153732"/>
                    <a:pt x="234410" y="154775"/>
                    <a:pt x="246276" y="154775"/>
                  </a:cubicBezTo>
                  <a:cubicBezTo>
                    <a:pt x="247318" y="154775"/>
                    <a:pt x="248361" y="154767"/>
                    <a:pt x="249403" y="154751"/>
                  </a:cubicBezTo>
                  <a:cubicBezTo>
                    <a:pt x="255998" y="154648"/>
                    <a:pt x="262580" y="154224"/>
                    <a:pt x="269149" y="153478"/>
                  </a:cubicBezTo>
                  <a:cubicBezTo>
                    <a:pt x="270733" y="153295"/>
                    <a:pt x="284030" y="150559"/>
                    <a:pt x="286520" y="150559"/>
                  </a:cubicBezTo>
                  <a:cubicBezTo>
                    <a:pt x="286747" y="150559"/>
                    <a:pt x="286884" y="150581"/>
                    <a:pt x="286914" y="150631"/>
                  </a:cubicBezTo>
                  <a:cubicBezTo>
                    <a:pt x="281155" y="141336"/>
                    <a:pt x="271983" y="134510"/>
                    <a:pt x="262014" y="130024"/>
                  </a:cubicBezTo>
                  <a:cubicBezTo>
                    <a:pt x="252045" y="125538"/>
                    <a:pt x="241240" y="123217"/>
                    <a:pt x="230461" y="121392"/>
                  </a:cubicBezTo>
                  <a:cubicBezTo>
                    <a:pt x="219926" y="119605"/>
                    <a:pt x="209231" y="118242"/>
                    <a:pt x="199159" y="114681"/>
                  </a:cubicBezTo>
                  <a:cubicBezTo>
                    <a:pt x="189993" y="111442"/>
                    <a:pt x="181869" y="106293"/>
                    <a:pt x="175775" y="98670"/>
                  </a:cubicBezTo>
                  <a:cubicBezTo>
                    <a:pt x="169676" y="91047"/>
                    <a:pt x="171328" y="80178"/>
                    <a:pt x="165466" y="72311"/>
                  </a:cubicBezTo>
                  <a:cubicBezTo>
                    <a:pt x="162059" y="67735"/>
                    <a:pt x="156731" y="65048"/>
                    <a:pt x="151486" y="62798"/>
                  </a:cubicBezTo>
                  <a:cubicBezTo>
                    <a:pt x="128739" y="53041"/>
                    <a:pt x="110542" y="48992"/>
                    <a:pt x="104108" y="43348"/>
                  </a:cubicBezTo>
                  <a:cubicBezTo>
                    <a:pt x="100264" y="39980"/>
                    <a:pt x="94313" y="38354"/>
                    <a:pt x="89685" y="36407"/>
                  </a:cubicBezTo>
                  <a:cubicBezTo>
                    <a:pt x="83713" y="33887"/>
                    <a:pt x="79060" y="30738"/>
                    <a:pt x="73552" y="27479"/>
                  </a:cubicBezTo>
                  <a:cubicBezTo>
                    <a:pt x="61108" y="20119"/>
                    <a:pt x="46157" y="18422"/>
                    <a:pt x="33855" y="10741"/>
                  </a:cubicBezTo>
                  <a:cubicBezTo>
                    <a:pt x="29632" y="8106"/>
                    <a:pt x="25820" y="4809"/>
                    <a:pt x="21392" y="2527"/>
                  </a:cubicBezTo>
                  <a:cubicBezTo>
                    <a:pt x="18499" y="1030"/>
                    <a:pt x="15206" y="1"/>
                    <a:pt x="11987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2" name="Google Shape;12;p2"/>
            <p:cNvSpPr/>
            <p:nvPr/>
          </p:nvSpPr>
          <p:spPr>
            <a:xfrm>
              <a:off x="1688500" y="1911650"/>
              <a:ext cx="93700" cy="27125"/>
            </a:xfrm>
            <a:custGeom>
              <a:avLst/>
              <a:gdLst/>
              <a:ahLst/>
              <a:cxnLst/>
              <a:rect l="l" t="t" r="r" b="b"/>
              <a:pathLst>
                <a:path w="3748" h="1085" extrusionOk="0">
                  <a:moveTo>
                    <a:pt x="3314" y="1"/>
                  </a:moveTo>
                  <a:cubicBezTo>
                    <a:pt x="3298" y="1"/>
                    <a:pt x="3282" y="2"/>
                    <a:pt x="3265" y="4"/>
                  </a:cubicBezTo>
                  <a:cubicBezTo>
                    <a:pt x="2683" y="81"/>
                    <a:pt x="2099" y="120"/>
                    <a:pt x="1513" y="120"/>
                  </a:cubicBezTo>
                  <a:cubicBezTo>
                    <a:pt x="1174" y="120"/>
                    <a:pt x="834" y="107"/>
                    <a:pt x="495" y="81"/>
                  </a:cubicBezTo>
                  <a:cubicBezTo>
                    <a:pt x="489" y="81"/>
                    <a:pt x="483" y="81"/>
                    <a:pt x="477" y="81"/>
                  </a:cubicBezTo>
                  <a:cubicBezTo>
                    <a:pt x="232" y="81"/>
                    <a:pt x="0" y="325"/>
                    <a:pt x="13" y="563"/>
                  </a:cubicBezTo>
                  <a:cubicBezTo>
                    <a:pt x="19" y="827"/>
                    <a:pt x="232" y="1039"/>
                    <a:pt x="495" y="1045"/>
                  </a:cubicBezTo>
                  <a:cubicBezTo>
                    <a:pt x="834" y="1071"/>
                    <a:pt x="1174" y="1084"/>
                    <a:pt x="1513" y="1084"/>
                  </a:cubicBezTo>
                  <a:cubicBezTo>
                    <a:pt x="2099" y="1084"/>
                    <a:pt x="2683" y="1046"/>
                    <a:pt x="3265" y="968"/>
                  </a:cubicBezTo>
                  <a:cubicBezTo>
                    <a:pt x="3394" y="962"/>
                    <a:pt x="3516" y="910"/>
                    <a:pt x="3606" y="827"/>
                  </a:cubicBezTo>
                  <a:cubicBezTo>
                    <a:pt x="3696" y="737"/>
                    <a:pt x="3747" y="615"/>
                    <a:pt x="3747" y="486"/>
                  </a:cubicBezTo>
                  <a:cubicBezTo>
                    <a:pt x="3741" y="269"/>
                    <a:pt x="3560" y="1"/>
                    <a:pt x="331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3" name="Google Shape;13;p2"/>
            <p:cNvSpPr/>
            <p:nvPr/>
          </p:nvSpPr>
          <p:spPr>
            <a:xfrm>
              <a:off x="1513025" y="1985975"/>
              <a:ext cx="100125" cy="27350"/>
            </a:xfrm>
            <a:custGeom>
              <a:avLst/>
              <a:gdLst/>
              <a:ahLst/>
              <a:cxnLst/>
              <a:rect l="l" t="t" r="r" b="b"/>
              <a:pathLst>
                <a:path w="4005" h="1094" extrusionOk="0">
                  <a:moveTo>
                    <a:pt x="3531" y="0"/>
                  </a:moveTo>
                  <a:cubicBezTo>
                    <a:pt x="3524" y="0"/>
                    <a:pt x="3517" y="0"/>
                    <a:pt x="3510" y="1"/>
                  </a:cubicBezTo>
                  <a:lnTo>
                    <a:pt x="495" y="129"/>
                  </a:lnTo>
                  <a:cubicBezTo>
                    <a:pt x="245" y="142"/>
                    <a:pt x="0" y="348"/>
                    <a:pt x="13" y="611"/>
                  </a:cubicBezTo>
                  <a:cubicBezTo>
                    <a:pt x="26" y="862"/>
                    <a:pt x="215" y="1094"/>
                    <a:pt x="474" y="1094"/>
                  </a:cubicBezTo>
                  <a:cubicBezTo>
                    <a:pt x="481" y="1094"/>
                    <a:pt x="488" y="1094"/>
                    <a:pt x="495" y="1093"/>
                  </a:cubicBezTo>
                  <a:lnTo>
                    <a:pt x="3510" y="965"/>
                  </a:lnTo>
                  <a:cubicBezTo>
                    <a:pt x="3767" y="952"/>
                    <a:pt x="4005" y="746"/>
                    <a:pt x="3992" y="483"/>
                  </a:cubicBezTo>
                  <a:cubicBezTo>
                    <a:pt x="3986" y="232"/>
                    <a:pt x="3790" y="0"/>
                    <a:pt x="353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4" name="Google Shape;14;p2"/>
            <p:cNvSpPr/>
            <p:nvPr/>
          </p:nvSpPr>
          <p:spPr>
            <a:xfrm>
              <a:off x="2806725" y="2659650"/>
              <a:ext cx="74275" cy="27175"/>
            </a:xfrm>
            <a:custGeom>
              <a:avLst/>
              <a:gdLst/>
              <a:ahLst/>
              <a:cxnLst/>
              <a:rect l="l" t="t" r="r" b="b"/>
              <a:pathLst>
                <a:path w="2971" h="1087" extrusionOk="0">
                  <a:moveTo>
                    <a:pt x="483" y="0"/>
                  </a:moveTo>
                  <a:cubicBezTo>
                    <a:pt x="213" y="0"/>
                    <a:pt x="1" y="212"/>
                    <a:pt x="1" y="482"/>
                  </a:cubicBezTo>
                  <a:cubicBezTo>
                    <a:pt x="7" y="746"/>
                    <a:pt x="219" y="958"/>
                    <a:pt x="483" y="965"/>
                  </a:cubicBezTo>
                  <a:lnTo>
                    <a:pt x="2488" y="1087"/>
                  </a:lnTo>
                  <a:cubicBezTo>
                    <a:pt x="2752" y="1087"/>
                    <a:pt x="2970" y="868"/>
                    <a:pt x="2970" y="605"/>
                  </a:cubicBezTo>
                  <a:cubicBezTo>
                    <a:pt x="2964" y="341"/>
                    <a:pt x="2752" y="129"/>
                    <a:pt x="2488" y="123"/>
                  </a:cubicBezTo>
                  <a:lnTo>
                    <a:pt x="48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5" name="Google Shape;15;p2"/>
            <p:cNvSpPr/>
            <p:nvPr/>
          </p:nvSpPr>
          <p:spPr>
            <a:xfrm>
              <a:off x="3140000" y="2747150"/>
              <a:ext cx="61875" cy="24150"/>
            </a:xfrm>
            <a:custGeom>
              <a:avLst/>
              <a:gdLst/>
              <a:ahLst/>
              <a:cxnLst/>
              <a:rect l="l" t="t" r="r" b="b"/>
              <a:pathLst>
                <a:path w="2475" h="966" extrusionOk="0">
                  <a:moveTo>
                    <a:pt x="482" y="1"/>
                  </a:moveTo>
                  <a:cubicBezTo>
                    <a:pt x="219" y="1"/>
                    <a:pt x="0" y="220"/>
                    <a:pt x="0" y="483"/>
                  </a:cubicBezTo>
                  <a:cubicBezTo>
                    <a:pt x="0" y="753"/>
                    <a:pt x="219" y="965"/>
                    <a:pt x="482" y="965"/>
                  </a:cubicBezTo>
                  <a:lnTo>
                    <a:pt x="1993" y="965"/>
                  </a:lnTo>
                  <a:cubicBezTo>
                    <a:pt x="2256" y="965"/>
                    <a:pt x="2475" y="753"/>
                    <a:pt x="2475" y="483"/>
                  </a:cubicBezTo>
                  <a:cubicBezTo>
                    <a:pt x="2475" y="220"/>
                    <a:pt x="2256" y="1"/>
                    <a:pt x="199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16" name="Google Shape;16;p2"/>
          <p:cNvSpPr txBox="1">
            <a:spLocks noGrp="1"/>
          </p:cNvSpPr>
          <p:nvPr>
            <p:ph type="ctrTitle"/>
          </p:nvPr>
        </p:nvSpPr>
        <p:spPr>
          <a:xfrm>
            <a:off x="3821000" y="545233"/>
            <a:ext cx="6408000" cy="251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500"/>
              <a:buNone/>
              <a:defRPr sz="7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5500"/>
              <a:buNone/>
              <a:defRPr sz="7333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5500"/>
              <a:buNone/>
              <a:defRPr sz="7333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5500"/>
              <a:buNone/>
              <a:defRPr sz="7333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5500"/>
              <a:buNone/>
              <a:defRPr sz="7333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5500"/>
              <a:buNone/>
              <a:defRPr sz="7333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5500"/>
              <a:buNone/>
              <a:defRPr sz="7333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5500"/>
              <a:buNone/>
              <a:defRPr sz="7333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5500"/>
              <a:buNone/>
              <a:defRPr sz="7333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oogle Shape;18;p3"/>
          <p:cNvGrpSpPr/>
          <p:nvPr/>
        </p:nvGrpSpPr>
        <p:grpSpPr>
          <a:xfrm>
            <a:off x="1243234" y="-304799"/>
            <a:ext cx="12677996" cy="5633129"/>
            <a:chOff x="932425" y="-228600"/>
            <a:chExt cx="9508497" cy="4224847"/>
          </a:xfrm>
        </p:grpSpPr>
        <p:sp>
          <p:nvSpPr>
            <p:cNvPr id="19" name="Google Shape;19;p3"/>
            <p:cNvSpPr/>
            <p:nvPr/>
          </p:nvSpPr>
          <p:spPr>
            <a:xfrm>
              <a:off x="932425" y="-228600"/>
              <a:ext cx="9508497" cy="4224847"/>
            </a:xfrm>
            <a:custGeom>
              <a:avLst/>
              <a:gdLst/>
              <a:ahLst/>
              <a:cxnLst/>
              <a:rect l="l" t="t" r="r" b="b"/>
              <a:pathLst>
                <a:path w="60555" h="26906" extrusionOk="0">
                  <a:moveTo>
                    <a:pt x="30368" y="1"/>
                  </a:moveTo>
                  <a:cubicBezTo>
                    <a:pt x="29859" y="1"/>
                    <a:pt x="29289" y="93"/>
                    <a:pt x="28992" y="105"/>
                  </a:cubicBezTo>
                  <a:lnTo>
                    <a:pt x="25316" y="255"/>
                  </a:lnTo>
                  <a:cubicBezTo>
                    <a:pt x="24289" y="297"/>
                    <a:pt x="23262" y="343"/>
                    <a:pt x="22235" y="382"/>
                  </a:cubicBezTo>
                  <a:cubicBezTo>
                    <a:pt x="21241" y="420"/>
                    <a:pt x="20858" y="575"/>
                    <a:pt x="19992" y="1085"/>
                  </a:cubicBezTo>
                  <a:cubicBezTo>
                    <a:pt x="18442" y="1998"/>
                    <a:pt x="16834" y="2805"/>
                    <a:pt x="15216" y="3589"/>
                  </a:cubicBezTo>
                  <a:cubicBezTo>
                    <a:pt x="10132" y="6050"/>
                    <a:pt x="3799" y="8371"/>
                    <a:pt x="918" y="13609"/>
                  </a:cubicBezTo>
                  <a:cubicBezTo>
                    <a:pt x="1" y="15277"/>
                    <a:pt x="44" y="16824"/>
                    <a:pt x="912" y="18515"/>
                  </a:cubicBezTo>
                  <a:cubicBezTo>
                    <a:pt x="3962" y="24466"/>
                    <a:pt x="10965" y="25739"/>
                    <a:pt x="17006" y="26454"/>
                  </a:cubicBezTo>
                  <a:cubicBezTo>
                    <a:pt x="17872" y="26557"/>
                    <a:pt x="18795" y="26736"/>
                    <a:pt x="19683" y="26736"/>
                  </a:cubicBezTo>
                  <a:cubicBezTo>
                    <a:pt x="19821" y="26736"/>
                    <a:pt x="19959" y="26731"/>
                    <a:pt x="20095" y="26722"/>
                  </a:cubicBezTo>
                  <a:cubicBezTo>
                    <a:pt x="20696" y="26679"/>
                    <a:pt x="21227" y="26546"/>
                    <a:pt x="21817" y="26546"/>
                  </a:cubicBezTo>
                  <a:cubicBezTo>
                    <a:pt x="21917" y="26546"/>
                    <a:pt x="22020" y="26549"/>
                    <a:pt x="22125" y="26558"/>
                  </a:cubicBezTo>
                  <a:lnTo>
                    <a:pt x="22310" y="26574"/>
                  </a:lnTo>
                  <a:cubicBezTo>
                    <a:pt x="24357" y="26746"/>
                    <a:pt x="26382" y="26905"/>
                    <a:pt x="28439" y="26905"/>
                  </a:cubicBezTo>
                  <a:cubicBezTo>
                    <a:pt x="28546" y="26905"/>
                    <a:pt x="28654" y="26905"/>
                    <a:pt x="28762" y="26904"/>
                  </a:cubicBezTo>
                  <a:cubicBezTo>
                    <a:pt x="31570" y="26880"/>
                    <a:pt x="34392" y="26703"/>
                    <a:pt x="37183" y="26397"/>
                  </a:cubicBezTo>
                  <a:cubicBezTo>
                    <a:pt x="40909" y="25991"/>
                    <a:pt x="44586" y="25231"/>
                    <a:pt x="48222" y="24336"/>
                  </a:cubicBezTo>
                  <a:cubicBezTo>
                    <a:pt x="51765" y="23463"/>
                    <a:pt x="55234" y="22562"/>
                    <a:pt x="58428" y="20736"/>
                  </a:cubicBezTo>
                  <a:cubicBezTo>
                    <a:pt x="59364" y="20201"/>
                    <a:pt x="60356" y="19457"/>
                    <a:pt x="60455" y="18383"/>
                  </a:cubicBezTo>
                  <a:cubicBezTo>
                    <a:pt x="60555" y="17316"/>
                    <a:pt x="59658" y="16354"/>
                    <a:pt x="58636" y="16034"/>
                  </a:cubicBezTo>
                  <a:cubicBezTo>
                    <a:pt x="58242" y="15911"/>
                    <a:pt x="57836" y="15862"/>
                    <a:pt x="57425" y="15862"/>
                  </a:cubicBezTo>
                  <a:cubicBezTo>
                    <a:pt x="56769" y="15862"/>
                    <a:pt x="56103" y="15987"/>
                    <a:pt x="55461" y="16136"/>
                  </a:cubicBezTo>
                  <a:cubicBezTo>
                    <a:pt x="52270" y="16878"/>
                    <a:pt x="49222" y="18146"/>
                    <a:pt x="46130" y="19209"/>
                  </a:cubicBezTo>
                  <a:cubicBezTo>
                    <a:pt x="42962" y="20297"/>
                    <a:pt x="39753" y="21288"/>
                    <a:pt x="36473" y="21983"/>
                  </a:cubicBezTo>
                  <a:cubicBezTo>
                    <a:pt x="33633" y="22584"/>
                    <a:pt x="30836" y="22859"/>
                    <a:pt x="28061" y="22859"/>
                  </a:cubicBezTo>
                  <a:cubicBezTo>
                    <a:pt x="23194" y="22859"/>
                    <a:pt x="18394" y="22011"/>
                    <a:pt x="13550" y="20582"/>
                  </a:cubicBezTo>
                  <a:cubicBezTo>
                    <a:pt x="12514" y="20277"/>
                    <a:pt x="11473" y="19930"/>
                    <a:pt x="10585" y="19315"/>
                  </a:cubicBezTo>
                  <a:cubicBezTo>
                    <a:pt x="9696" y="18702"/>
                    <a:pt x="8969" y="17781"/>
                    <a:pt x="8814" y="16713"/>
                  </a:cubicBezTo>
                  <a:cubicBezTo>
                    <a:pt x="8634" y="15469"/>
                    <a:pt x="9239" y="14249"/>
                    <a:pt x="9947" y="13211"/>
                  </a:cubicBezTo>
                  <a:cubicBezTo>
                    <a:pt x="11915" y="10335"/>
                    <a:pt x="15499" y="7337"/>
                    <a:pt x="19073" y="6824"/>
                  </a:cubicBezTo>
                  <a:cubicBezTo>
                    <a:pt x="23152" y="6237"/>
                    <a:pt x="27106" y="4191"/>
                    <a:pt x="30457" y="1792"/>
                  </a:cubicBezTo>
                  <a:cubicBezTo>
                    <a:pt x="30759" y="1575"/>
                    <a:pt x="31069" y="1342"/>
                    <a:pt x="31241" y="1011"/>
                  </a:cubicBezTo>
                  <a:cubicBezTo>
                    <a:pt x="31675" y="181"/>
                    <a:pt x="31080" y="1"/>
                    <a:pt x="30368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0" name="Google Shape;20;p3"/>
            <p:cNvSpPr/>
            <p:nvPr/>
          </p:nvSpPr>
          <p:spPr>
            <a:xfrm>
              <a:off x="2168661" y="1664453"/>
              <a:ext cx="176022" cy="45380"/>
            </a:xfrm>
            <a:custGeom>
              <a:avLst/>
              <a:gdLst/>
              <a:ahLst/>
              <a:cxnLst/>
              <a:rect l="l" t="t" r="r" b="b"/>
              <a:pathLst>
                <a:path w="1121" h="289" extrusionOk="0">
                  <a:moveTo>
                    <a:pt x="135" y="215"/>
                  </a:moveTo>
                  <a:lnTo>
                    <a:pt x="135" y="215"/>
                  </a:lnTo>
                  <a:cubicBezTo>
                    <a:pt x="133" y="215"/>
                    <a:pt x="131" y="215"/>
                    <a:pt x="129" y="215"/>
                  </a:cubicBezTo>
                  <a:lnTo>
                    <a:pt x="129" y="215"/>
                  </a:lnTo>
                  <a:lnTo>
                    <a:pt x="129" y="215"/>
                  </a:lnTo>
                  <a:lnTo>
                    <a:pt x="135" y="215"/>
                  </a:lnTo>
                  <a:close/>
                  <a:moveTo>
                    <a:pt x="403" y="1"/>
                  </a:moveTo>
                  <a:cubicBezTo>
                    <a:pt x="369" y="1"/>
                    <a:pt x="334" y="2"/>
                    <a:pt x="300" y="3"/>
                  </a:cubicBezTo>
                  <a:cubicBezTo>
                    <a:pt x="225" y="6"/>
                    <a:pt x="150" y="15"/>
                    <a:pt x="76" y="25"/>
                  </a:cubicBezTo>
                  <a:cubicBezTo>
                    <a:pt x="53" y="29"/>
                    <a:pt x="28" y="52"/>
                    <a:pt x="17" y="71"/>
                  </a:cubicBezTo>
                  <a:cubicBezTo>
                    <a:pt x="4" y="94"/>
                    <a:pt x="0" y="121"/>
                    <a:pt x="7" y="147"/>
                  </a:cubicBezTo>
                  <a:cubicBezTo>
                    <a:pt x="14" y="172"/>
                    <a:pt x="30" y="193"/>
                    <a:pt x="52" y="206"/>
                  </a:cubicBezTo>
                  <a:cubicBezTo>
                    <a:pt x="69" y="214"/>
                    <a:pt x="87" y="219"/>
                    <a:pt x="105" y="219"/>
                  </a:cubicBezTo>
                  <a:cubicBezTo>
                    <a:pt x="113" y="219"/>
                    <a:pt x="121" y="218"/>
                    <a:pt x="129" y="216"/>
                  </a:cubicBezTo>
                  <a:lnTo>
                    <a:pt x="129" y="216"/>
                  </a:lnTo>
                  <a:lnTo>
                    <a:pt x="129" y="216"/>
                  </a:lnTo>
                  <a:lnTo>
                    <a:pt x="114" y="217"/>
                  </a:lnTo>
                  <a:cubicBezTo>
                    <a:pt x="119" y="217"/>
                    <a:pt x="124" y="216"/>
                    <a:pt x="129" y="215"/>
                  </a:cubicBezTo>
                  <a:lnTo>
                    <a:pt x="129" y="215"/>
                  </a:lnTo>
                  <a:lnTo>
                    <a:pt x="129" y="216"/>
                  </a:lnTo>
                  <a:lnTo>
                    <a:pt x="129" y="216"/>
                  </a:lnTo>
                  <a:lnTo>
                    <a:pt x="141" y="214"/>
                  </a:lnTo>
                  <a:lnTo>
                    <a:pt x="135" y="215"/>
                  </a:lnTo>
                  <a:lnTo>
                    <a:pt x="135" y="215"/>
                  </a:lnTo>
                  <a:cubicBezTo>
                    <a:pt x="223" y="204"/>
                    <a:pt x="311" y="198"/>
                    <a:pt x="399" y="198"/>
                  </a:cubicBezTo>
                  <a:cubicBezTo>
                    <a:pt x="495" y="198"/>
                    <a:pt x="590" y="205"/>
                    <a:pt x="685" y="217"/>
                  </a:cubicBezTo>
                  <a:lnTo>
                    <a:pt x="658" y="214"/>
                  </a:lnTo>
                  <a:lnTo>
                    <a:pt x="658" y="214"/>
                  </a:lnTo>
                  <a:cubicBezTo>
                    <a:pt x="769" y="229"/>
                    <a:pt x="879" y="252"/>
                    <a:pt x="985" y="285"/>
                  </a:cubicBezTo>
                  <a:cubicBezTo>
                    <a:pt x="993" y="287"/>
                    <a:pt x="1002" y="288"/>
                    <a:pt x="1010" y="288"/>
                  </a:cubicBezTo>
                  <a:cubicBezTo>
                    <a:pt x="1053" y="288"/>
                    <a:pt x="1098" y="258"/>
                    <a:pt x="1107" y="215"/>
                  </a:cubicBezTo>
                  <a:cubicBezTo>
                    <a:pt x="1120" y="162"/>
                    <a:pt x="1089" y="110"/>
                    <a:pt x="1038" y="94"/>
                  </a:cubicBezTo>
                  <a:cubicBezTo>
                    <a:pt x="831" y="32"/>
                    <a:pt x="618" y="1"/>
                    <a:pt x="4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1" name="Google Shape;21;p3"/>
            <p:cNvSpPr/>
            <p:nvPr/>
          </p:nvSpPr>
          <p:spPr>
            <a:xfrm>
              <a:off x="3641215" y="3300619"/>
              <a:ext cx="201931" cy="60454"/>
            </a:xfrm>
            <a:custGeom>
              <a:avLst/>
              <a:gdLst/>
              <a:ahLst/>
              <a:cxnLst/>
              <a:rect l="l" t="t" r="r" b="b"/>
              <a:pathLst>
                <a:path w="1286" h="385" extrusionOk="0">
                  <a:moveTo>
                    <a:pt x="103" y="1"/>
                  </a:moveTo>
                  <a:cubicBezTo>
                    <a:pt x="86" y="1"/>
                    <a:pt x="69" y="5"/>
                    <a:pt x="53" y="14"/>
                  </a:cubicBezTo>
                  <a:cubicBezTo>
                    <a:pt x="31" y="27"/>
                    <a:pt x="15" y="48"/>
                    <a:pt x="8" y="73"/>
                  </a:cubicBezTo>
                  <a:cubicBezTo>
                    <a:pt x="1" y="99"/>
                    <a:pt x="5" y="127"/>
                    <a:pt x="17" y="149"/>
                  </a:cubicBezTo>
                  <a:cubicBezTo>
                    <a:pt x="32" y="171"/>
                    <a:pt x="52" y="187"/>
                    <a:pt x="76" y="195"/>
                  </a:cubicBezTo>
                  <a:lnTo>
                    <a:pt x="76" y="194"/>
                  </a:lnTo>
                  <a:cubicBezTo>
                    <a:pt x="353" y="297"/>
                    <a:pt x="644" y="360"/>
                    <a:pt x="938" y="378"/>
                  </a:cubicBezTo>
                  <a:cubicBezTo>
                    <a:pt x="1002" y="383"/>
                    <a:pt x="1065" y="384"/>
                    <a:pt x="1129" y="384"/>
                  </a:cubicBezTo>
                  <a:cubicBezTo>
                    <a:pt x="1148" y="384"/>
                    <a:pt x="1166" y="384"/>
                    <a:pt x="1185" y="384"/>
                  </a:cubicBezTo>
                  <a:cubicBezTo>
                    <a:pt x="1236" y="383"/>
                    <a:pt x="1286" y="338"/>
                    <a:pt x="1284" y="285"/>
                  </a:cubicBezTo>
                  <a:cubicBezTo>
                    <a:pt x="1282" y="231"/>
                    <a:pt x="1241" y="186"/>
                    <a:pt x="1186" y="186"/>
                  </a:cubicBezTo>
                  <a:cubicBezTo>
                    <a:pt x="1186" y="186"/>
                    <a:pt x="1185" y="186"/>
                    <a:pt x="1185" y="186"/>
                  </a:cubicBezTo>
                  <a:cubicBezTo>
                    <a:pt x="1164" y="186"/>
                    <a:pt x="1144" y="186"/>
                    <a:pt x="1123" y="186"/>
                  </a:cubicBezTo>
                  <a:cubicBezTo>
                    <a:pt x="994" y="186"/>
                    <a:pt x="864" y="178"/>
                    <a:pt x="735" y="160"/>
                  </a:cubicBezTo>
                  <a:lnTo>
                    <a:pt x="735" y="160"/>
                  </a:lnTo>
                  <a:lnTo>
                    <a:pt x="762" y="164"/>
                  </a:lnTo>
                  <a:cubicBezTo>
                    <a:pt x="546" y="135"/>
                    <a:pt x="334" y="81"/>
                    <a:pt x="129" y="4"/>
                  </a:cubicBezTo>
                  <a:cubicBezTo>
                    <a:pt x="121" y="2"/>
                    <a:pt x="112" y="1"/>
                    <a:pt x="1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2" name="Google Shape;22;p3"/>
            <p:cNvSpPr/>
            <p:nvPr/>
          </p:nvSpPr>
          <p:spPr>
            <a:xfrm>
              <a:off x="4646785" y="3779064"/>
              <a:ext cx="240401" cy="58569"/>
            </a:xfrm>
            <a:custGeom>
              <a:avLst/>
              <a:gdLst/>
              <a:ahLst/>
              <a:cxnLst/>
              <a:rect l="l" t="t" r="r" b="b"/>
              <a:pathLst>
                <a:path w="1531" h="373" extrusionOk="0">
                  <a:moveTo>
                    <a:pt x="109" y="0"/>
                  </a:moveTo>
                  <a:cubicBezTo>
                    <a:pt x="66" y="0"/>
                    <a:pt x="26" y="29"/>
                    <a:pt x="14" y="73"/>
                  </a:cubicBezTo>
                  <a:cubicBezTo>
                    <a:pt x="0" y="125"/>
                    <a:pt x="31" y="179"/>
                    <a:pt x="83" y="194"/>
                  </a:cubicBezTo>
                  <a:cubicBezTo>
                    <a:pt x="422" y="305"/>
                    <a:pt x="776" y="365"/>
                    <a:pt x="1133" y="372"/>
                  </a:cubicBezTo>
                  <a:cubicBezTo>
                    <a:pt x="1158" y="373"/>
                    <a:pt x="1184" y="373"/>
                    <a:pt x="1209" y="373"/>
                  </a:cubicBezTo>
                  <a:cubicBezTo>
                    <a:pt x="1283" y="373"/>
                    <a:pt x="1356" y="371"/>
                    <a:pt x="1429" y="367"/>
                  </a:cubicBezTo>
                  <a:cubicBezTo>
                    <a:pt x="1480" y="364"/>
                    <a:pt x="1530" y="324"/>
                    <a:pt x="1527" y="268"/>
                  </a:cubicBezTo>
                  <a:cubicBezTo>
                    <a:pt x="1525" y="219"/>
                    <a:pt x="1486" y="169"/>
                    <a:pt x="1434" y="169"/>
                  </a:cubicBezTo>
                  <a:cubicBezTo>
                    <a:pt x="1432" y="169"/>
                    <a:pt x="1431" y="169"/>
                    <a:pt x="1429" y="169"/>
                  </a:cubicBezTo>
                  <a:cubicBezTo>
                    <a:pt x="1355" y="173"/>
                    <a:pt x="1281" y="176"/>
                    <a:pt x="1207" y="176"/>
                  </a:cubicBezTo>
                  <a:cubicBezTo>
                    <a:pt x="1051" y="176"/>
                    <a:pt x="894" y="165"/>
                    <a:pt x="740" y="144"/>
                  </a:cubicBezTo>
                  <a:lnTo>
                    <a:pt x="740" y="144"/>
                  </a:lnTo>
                  <a:lnTo>
                    <a:pt x="766" y="148"/>
                  </a:lnTo>
                  <a:cubicBezTo>
                    <a:pt x="552" y="119"/>
                    <a:pt x="341" y="71"/>
                    <a:pt x="135" y="4"/>
                  </a:cubicBezTo>
                  <a:cubicBezTo>
                    <a:pt x="126" y="2"/>
                    <a:pt x="117" y="0"/>
                    <a:pt x="10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3" name="Google Shape;23;p3"/>
            <p:cNvSpPr/>
            <p:nvPr/>
          </p:nvSpPr>
          <p:spPr>
            <a:xfrm>
              <a:off x="5032903" y="3737139"/>
              <a:ext cx="110858" cy="41925"/>
            </a:xfrm>
            <a:custGeom>
              <a:avLst/>
              <a:gdLst/>
              <a:ahLst/>
              <a:cxnLst/>
              <a:rect l="l" t="t" r="r" b="b"/>
              <a:pathLst>
                <a:path w="706" h="267" extrusionOk="0">
                  <a:moveTo>
                    <a:pt x="601" y="1"/>
                  </a:moveTo>
                  <a:cubicBezTo>
                    <a:pt x="593" y="1"/>
                    <a:pt x="584" y="2"/>
                    <a:pt x="577" y="6"/>
                  </a:cubicBezTo>
                  <a:cubicBezTo>
                    <a:pt x="506" y="35"/>
                    <a:pt x="431" y="55"/>
                    <a:pt x="355" y="66"/>
                  </a:cubicBezTo>
                  <a:lnTo>
                    <a:pt x="382" y="61"/>
                  </a:lnTo>
                  <a:lnTo>
                    <a:pt x="382" y="61"/>
                  </a:lnTo>
                  <a:cubicBezTo>
                    <a:pt x="343" y="67"/>
                    <a:pt x="304" y="69"/>
                    <a:pt x="264" y="69"/>
                  </a:cubicBezTo>
                  <a:cubicBezTo>
                    <a:pt x="227" y="69"/>
                    <a:pt x="190" y="67"/>
                    <a:pt x="153" y="62"/>
                  </a:cubicBezTo>
                  <a:lnTo>
                    <a:pt x="153" y="62"/>
                  </a:lnTo>
                  <a:cubicBezTo>
                    <a:pt x="146" y="61"/>
                    <a:pt x="140" y="60"/>
                    <a:pt x="133" y="58"/>
                  </a:cubicBezTo>
                  <a:cubicBezTo>
                    <a:pt x="125" y="56"/>
                    <a:pt x="117" y="55"/>
                    <a:pt x="109" y="55"/>
                  </a:cubicBezTo>
                  <a:cubicBezTo>
                    <a:pt x="91" y="55"/>
                    <a:pt x="73" y="60"/>
                    <a:pt x="57" y="69"/>
                  </a:cubicBezTo>
                  <a:cubicBezTo>
                    <a:pt x="34" y="81"/>
                    <a:pt x="18" y="103"/>
                    <a:pt x="11" y="128"/>
                  </a:cubicBezTo>
                  <a:cubicBezTo>
                    <a:pt x="0" y="176"/>
                    <a:pt x="25" y="240"/>
                    <a:pt x="80" y="249"/>
                  </a:cubicBezTo>
                  <a:cubicBezTo>
                    <a:pt x="141" y="261"/>
                    <a:pt x="203" y="266"/>
                    <a:pt x="265" y="266"/>
                  </a:cubicBezTo>
                  <a:cubicBezTo>
                    <a:pt x="389" y="266"/>
                    <a:pt x="513" y="243"/>
                    <a:pt x="630" y="196"/>
                  </a:cubicBezTo>
                  <a:cubicBezTo>
                    <a:pt x="654" y="188"/>
                    <a:pt x="675" y="172"/>
                    <a:pt x="689" y="151"/>
                  </a:cubicBezTo>
                  <a:cubicBezTo>
                    <a:pt x="701" y="128"/>
                    <a:pt x="706" y="100"/>
                    <a:pt x="698" y="74"/>
                  </a:cubicBezTo>
                  <a:cubicBezTo>
                    <a:pt x="692" y="50"/>
                    <a:pt x="675" y="29"/>
                    <a:pt x="653" y="15"/>
                  </a:cubicBezTo>
                  <a:cubicBezTo>
                    <a:pt x="638" y="7"/>
                    <a:pt x="619" y="1"/>
                    <a:pt x="6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4" name="Google Shape;24;p3"/>
            <p:cNvSpPr/>
            <p:nvPr/>
          </p:nvSpPr>
          <p:spPr>
            <a:xfrm>
              <a:off x="1387161" y="2890165"/>
              <a:ext cx="131271" cy="38628"/>
            </a:xfrm>
            <a:custGeom>
              <a:avLst/>
              <a:gdLst/>
              <a:ahLst/>
              <a:cxnLst/>
              <a:rect l="l" t="t" r="r" b="b"/>
              <a:pathLst>
                <a:path w="836" h="246" extrusionOk="0">
                  <a:moveTo>
                    <a:pt x="504" y="1"/>
                  </a:moveTo>
                  <a:cubicBezTo>
                    <a:pt x="363" y="1"/>
                    <a:pt x="221" y="18"/>
                    <a:pt x="83" y="52"/>
                  </a:cubicBezTo>
                  <a:cubicBezTo>
                    <a:pt x="32" y="67"/>
                    <a:pt x="1" y="121"/>
                    <a:pt x="15" y="173"/>
                  </a:cubicBezTo>
                  <a:cubicBezTo>
                    <a:pt x="27" y="218"/>
                    <a:pt x="67" y="246"/>
                    <a:pt x="111" y="246"/>
                  </a:cubicBezTo>
                  <a:cubicBezTo>
                    <a:pt x="120" y="246"/>
                    <a:pt x="128" y="245"/>
                    <a:pt x="136" y="243"/>
                  </a:cubicBezTo>
                  <a:cubicBezTo>
                    <a:pt x="195" y="228"/>
                    <a:pt x="255" y="216"/>
                    <a:pt x="315" y="208"/>
                  </a:cubicBezTo>
                  <a:lnTo>
                    <a:pt x="315" y="208"/>
                  </a:lnTo>
                  <a:lnTo>
                    <a:pt x="289" y="211"/>
                  </a:lnTo>
                  <a:cubicBezTo>
                    <a:pt x="360" y="202"/>
                    <a:pt x="433" y="197"/>
                    <a:pt x="505" y="197"/>
                  </a:cubicBezTo>
                  <a:cubicBezTo>
                    <a:pt x="577" y="197"/>
                    <a:pt x="649" y="202"/>
                    <a:pt x="721" y="211"/>
                  </a:cubicBezTo>
                  <a:lnTo>
                    <a:pt x="695" y="208"/>
                  </a:lnTo>
                  <a:lnTo>
                    <a:pt x="707" y="210"/>
                  </a:lnTo>
                  <a:cubicBezTo>
                    <a:pt x="717" y="211"/>
                    <a:pt x="726" y="212"/>
                    <a:pt x="735" y="212"/>
                  </a:cubicBezTo>
                  <a:cubicBezTo>
                    <a:pt x="752" y="212"/>
                    <a:pt x="768" y="209"/>
                    <a:pt x="784" y="200"/>
                  </a:cubicBezTo>
                  <a:cubicBezTo>
                    <a:pt x="806" y="187"/>
                    <a:pt x="822" y="166"/>
                    <a:pt x="830" y="141"/>
                  </a:cubicBezTo>
                  <a:cubicBezTo>
                    <a:pt x="836" y="115"/>
                    <a:pt x="833" y="88"/>
                    <a:pt x="819" y="65"/>
                  </a:cubicBezTo>
                  <a:cubicBezTo>
                    <a:pt x="806" y="45"/>
                    <a:pt x="785" y="22"/>
                    <a:pt x="760" y="19"/>
                  </a:cubicBezTo>
                  <a:cubicBezTo>
                    <a:pt x="675" y="7"/>
                    <a:pt x="590" y="1"/>
                    <a:pt x="5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25" name="Google Shape;25;p3"/>
          <p:cNvSpPr txBox="1">
            <a:spLocks noGrp="1"/>
          </p:cNvSpPr>
          <p:nvPr>
            <p:ph type="ctrTitle"/>
          </p:nvPr>
        </p:nvSpPr>
        <p:spPr>
          <a:xfrm>
            <a:off x="8020800" y="1600933"/>
            <a:ext cx="32112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26" name="Google Shape;26;p3"/>
          <p:cNvSpPr txBox="1">
            <a:spLocks noGrp="1"/>
          </p:cNvSpPr>
          <p:nvPr>
            <p:ph type="subTitle" idx="1"/>
          </p:nvPr>
        </p:nvSpPr>
        <p:spPr>
          <a:xfrm>
            <a:off x="8020800" y="2168133"/>
            <a:ext cx="3211200" cy="77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7" name="Google Shape;27;p3"/>
          <p:cNvSpPr txBox="1">
            <a:spLocks noGrp="1"/>
          </p:cNvSpPr>
          <p:nvPr>
            <p:ph type="title" idx="2" hasCustomPrompt="1"/>
          </p:nvPr>
        </p:nvSpPr>
        <p:spPr>
          <a:xfrm>
            <a:off x="5195316" y="1884537"/>
            <a:ext cx="23384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4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9pPr>
          </a:lstStyle>
          <a:p>
            <a:endParaRPr/>
          </a:p>
        </p:txBody>
      </p:sp>
      <p:sp>
        <p:nvSpPr>
          <p:cNvPr id="30" name="Google Shape;30;p4"/>
          <p:cNvSpPr txBox="1">
            <a:spLocks noGrp="1"/>
          </p:cNvSpPr>
          <p:nvPr>
            <p:ph type="body" idx="1"/>
          </p:nvPr>
        </p:nvSpPr>
        <p:spPr>
          <a:xfrm>
            <a:off x="960000" y="1536633"/>
            <a:ext cx="10272000" cy="4555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marL="609585" lvl="0" indent="-4148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●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marL="1219170" lvl="1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○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marL="1828754" lvl="2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■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marL="2438339" lvl="3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●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marL="3047924" lvl="4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○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marL="3657509" lvl="5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■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marL="4267093" lvl="6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●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marL="4876678" lvl="7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○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marL="5486263" lvl="8" indent="-414856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Clr>
                <a:schemeClr val="accent4"/>
              </a:buClr>
              <a:buSzPts val="1300"/>
              <a:buFont typeface="Josefin Slab"/>
              <a:buChar char="■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grpSp>
        <p:nvGrpSpPr>
          <p:cNvPr id="31" name="Google Shape;31;p4"/>
          <p:cNvGrpSpPr/>
          <p:nvPr/>
        </p:nvGrpSpPr>
        <p:grpSpPr>
          <a:xfrm rot="367901">
            <a:off x="3846933" y="-1606811"/>
            <a:ext cx="9067003" cy="2372147"/>
            <a:chOff x="3270900" y="2843975"/>
            <a:chExt cx="1469475" cy="375975"/>
          </a:xfrm>
        </p:grpSpPr>
        <p:sp>
          <p:nvSpPr>
            <p:cNvPr id="32" name="Google Shape;32;p4"/>
            <p:cNvSpPr/>
            <p:nvPr/>
          </p:nvSpPr>
          <p:spPr>
            <a:xfrm>
              <a:off x="3270900" y="2843975"/>
              <a:ext cx="1469475" cy="375975"/>
            </a:xfrm>
            <a:custGeom>
              <a:avLst/>
              <a:gdLst/>
              <a:ahLst/>
              <a:cxnLst/>
              <a:rect l="l" t="t" r="r" b="b"/>
              <a:pathLst>
                <a:path w="58779" h="15039" extrusionOk="0">
                  <a:moveTo>
                    <a:pt x="40" y="251"/>
                  </a:moveTo>
                  <a:cubicBezTo>
                    <a:pt x="0" y="251"/>
                    <a:pt x="108" y="313"/>
                    <a:pt x="425" y="472"/>
                  </a:cubicBezTo>
                  <a:cubicBezTo>
                    <a:pt x="883" y="701"/>
                    <a:pt x="1509" y="808"/>
                    <a:pt x="2169" y="870"/>
                  </a:cubicBezTo>
                  <a:lnTo>
                    <a:pt x="2169" y="870"/>
                  </a:lnTo>
                  <a:cubicBezTo>
                    <a:pt x="1206" y="656"/>
                    <a:pt x="142" y="251"/>
                    <a:pt x="40" y="251"/>
                  </a:cubicBezTo>
                  <a:close/>
                  <a:moveTo>
                    <a:pt x="10025" y="1"/>
                  </a:moveTo>
                  <a:cubicBezTo>
                    <a:pt x="9252" y="1"/>
                    <a:pt x="8347" y="54"/>
                    <a:pt x="7228" y="181"/>
                  </a:cubicBezTo>
                  <a:cubicBezTo>
                    <a:pt x="5795" y="343"/>
                    <a:pt x="4856" y="538"/>
                    <a:pt x="3475" y="957"/>
                  </a:cubicBezTo>
                  <a:lnTo>
                    <a:pt x="3475" y="957"/>
                  </a:lnTo>
                  <a:cubicBezTo>
                    <a:pt x="3050" y="932"/>
                    <a:pt x="2602" y="911"/>
                    <a:pt x="2169" y="870"/>
                  </a:cubicBezTo>
                  <a:lnTo>
                    <a:pt x="2169" y="870"/>
                  </a:lnTo>
                  <a:cubicBezTo>
                    <a:pt x="2516" y="947"/>
                    <a:pt x="2850" y="1000"/>
                    <a:pt x="3121" y="1000"/>
                  </a:cubicBezTo>
                  <a:cubicBezTo>
                    <a:pt x="3256" y="1000"/>
                    <a:pt x="3376" y="987"/>
                    <a:pt x="3474" y="957"/>
                  </a:cubicBezTo>
                  <a:cubicBezTo>
                    <a:pt x="3474" y="957"/>
                    <a:pt x="3475" y="957"/>
                    <a:pt x="3475" y="957"/>
                  </a:cubicBezTo>
                  <a:lnTo>
                    <a:pt x="3475" y="957"/>
                  </a:lnTo>
                  <a:cubicBezTo>
                    <a:pt x="3921" y="982"/>
                    <a:pt x="4343" y="1010"/>
                    <a:pt x="4696" y="1067"/>
                  </a:cubicBezTo>
                  <a:cubicBezTo>
                    <a:pt x="6111" y="1291"/>
                    <a:pt x="7522" y="1547"/>
                    <a:pt x="8918" y="1867"/>
                  </a:cubicBezTo>
                  <a:cubicBezTo>
                    <a:pt x="11944" y="2558"/>
                    <a:pt x="14923" y="3538"/>
                    <a:pt x="17647" y="5046"/>
                  </a:cubicBezTo>
                  <a:cubicBezTo>
                    <a:pt x="21049" y="6930"/>
                    <a:pt x="23627" y="7708"/>
                    <a:pt x="26956" y="9717"/>
                  </a:cubicBezTo>
                  <a:cubicBezTo>
                    <a:pt x="33431" y="13626"/>
                    <a:pt x="41225" y="15038"/>
                    <a:pt x="48933" y="15038"/>
                  </a:cubicBezTo>
                  <a:cubicBezTo>
                    <a:pt x="51669" y="15038"/>
                    <a:pt x="54395" y="14860"/>
                    <a:pt x="57046" y="14552"/>
                  </a:cubicBezTo>
                  <a:cubicBezTo>
                    <a:pt x="57853" y="14459"/>
                    <a:pt x="58778" y="13851"/>
                    <a:pt x="58687" y="13045"/>
                  </a:cubicBezTo>
                  <a:cubicBezTo>
                    <a:pt x="58643" y="12668"/>
                    <a:pt x="58365" y="12363"/>
                    <a:pt x="58068" y="12126"/>
                  </a:cubicBezTo>
                  <a:cubicBezTo>
                    <a:pt x="56243" y="10673"/>
                    <a:pt x="53649" y="10981"/>
                    <a:pt x="51319" y="10871"/>
                  </a:cubicBezTo>
                  <a:cubicBezTo>
                    <a:pt x="49167" y="10768"/>
                    <a:pt x="47138" y="9869"/>
                    <a:pt x="44999" y="9606"/>
                  </a:cubicBezTo>
                  <a:cubicBezTo>
                    <a:pt x="33862" y="8232"/>
                    <a:pt x="26530" y="2093"/>
                    <a:pt x="18708" y="1371"/>
                  </a:cubicBezTo>
                  <a:cubicBezTo>
                    <a:pt x="14172" y="953"/>
                    <a:pt x="13284" y="1"/>
                    <a:pt x="1002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" name="Google Shape;33;p4"/>
            <p:cNvSpPr/>
            <p:nvPr/>
          </p:nvSpPr>
          <p:spPr>
            <a:xfrm>
              <a:off x="3845125" y="2930600"/>
              <a:ext cx="13800" cy="4825"/>
            </a:xfrm>
            <a:custGeom>
              <a:avLst/>
              <a:gdLst/>
              <a:ahLst/>
              <a:cxnLst/>
              <a:rect l="l" t="t" r="r" b="b"/>
              <a:pathLst>
                <a:path w="552" h="193" extrusionOk="0">
                  <a:moveTo>
                    <a:pt x="480" y="0"/>
                  </a:moveTo>
                  <a:cubicBezTo>
                    <a:pt x="344" y="6"/>
                    <a:pt x="210" y="27"/>
                    <a:pt x="75" y="42"/>
                  </a:cubicBezTo>
                  <a:cubicBezTo>
                    <a:pt x="55" y="43"/>
                    <a:pt x="36" y="51"/>
                    <a:pt x="23" y="64"/>
                  </a:cubicBezTo>
                  <a:cubicBezTo>
                    <a:pt x="9" y="78"/>
                    <a:pt x="0" y="97"/>
                    <a:pt x="0" y="117"/>
                  </a:cubicBezTo>
                  <a:cubicBezTo>
                    <a:pt x="2" y="152"/>
                    <a:pt x="31" y="192"/>
                    <a:pt x="70" y="192"/>
                  </a:cubicBezTo>
                  <a:cubicBezTo>
                    <a:pt x="71" y="192"/>
                    <a:pt x="73" y="192"/>
                    <a:pt x="75" y="192"/>
                  </a:cubicBezTo>
                  <a:cubicBezTo>
                    <a:pt x="218" y="178"/>
                    <a:pt x="359" y="168"/>
                    <a:pt x="499" y="144"/>
                  </a:cubicBezTo>
                  <a:cubicBezTo>
                    <a:pt x="533" y="137"/>
                    <a:pt x="550" y="103"/>
                    <a:pt x="552" y="73"/>
                  </a:cubicBezTo>
                  <a:cubicBezTo>
                    <a:pt x="552" y="67"/>
                    <a:pt x="552" y="60"/>
                    <a:pt x="550" y="54"/>
                  </a:cubicBezTo>
                  <a:cubicBezTo>
                    <a:pt x="540" y="22"/>
                    <a:pt x="512" y="1"/>
                    <a:pt x="48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4" name="Google Shape;34;p4"/>
            <p:cNvSpPr/>
            <p:nvPr/>
          </p:nvSpPr>
          <p:spPr>
            <a:xfrm>
              <a:off x="3855900" y="2919575"/>
              <a:ext cx="10825" cy="5700"/>
            </a:xfrm>
            <a:custGeom>
              <a:avLst/>
              <a:gdLst/>
              <a:ahLst/>
              <a:cxnLst/>
              <a:rect l="l" t="t" r="r" b="b"/>
              <a:pathLst>
                <a:path w="433" h="228" extrusionOk="0">
                  <a:moveTo>
                    <a:pt x="128" y="203"/>
                  </a:moveTo>
                  <a:cubicBezTo>
                    <a:pt x="126" y="204"/>
                    <a:pt x="126" y="204"/>
                    <a:pt x="126" y="204"/>
                  </a:cubicBezTo>
                  <a:cubicBezTo>
                    <a:pt x="126" y="204"/>
                    <a:pt x="127" y="204"/>
                    <a:pt x="128" y="203"/>
                  </a:cubicBezTo>
                  <a:close/>
                  <a:moveTo>
                    <a:pt x="302" y="0"/>
                  </a:moveTo>
                  <a:cubicBezTo>
                    <a:pt x="267" y="3"/>
                    <a:pt x="235" y="8"/>
                    <a:pt x="202" y="17"/>
                  </a:cubicBezTo>
                  <a:cubicBezTo>
                    <a:pt x="138" y="36"/>
                    <a:pt x="79" y="68"/>
                    <a:pt x="28" y="111"/>
                  </a:cubicBezTo>
                  <a:cubicBezTo>
                    <a:pt x="1" y="134"/>
                    <a:pt x="3" y="184"/>
                    <a:pt x="28" y="208"/>
                  </a:cubicBezTo>
                  <a:cubicBezTo>
                    <a:pt x="41" y="221"/>
                    <a:pt x="58" y="227"/>
                    <a:pt x="76" y="227"/>
                  </a:cubicBezTo>
                  <a:cubicBezTo>
                    <a:pt x="93" y="227"/>
                    <a:pt x="110" y="221"/>
                    <a:pt x="124" y="208"/>
                  </a:cubicBezTo>
                  <a:lnTo>
                    <a:pt x="123" y="206"/>
                  </a:lnTo>
                  <a:cubicBezTo>
                    <a:pt x="126" y="204"/>
                    <a:pt x="128" y="202"/>
                    <a:pt x="131" y="200"/>
                  </a:cubicBezTo>
                  <a:lnTo>
                    <a:pt x="131" y="200"/>
                  </a:lnTo>
                  <a:cubicBezTo>
                    <a:pt x="131" y="200"/>
                    <a:pt x="129" y="202"/>
                    <a:pt x="128" y="203"/>
                  </a:cubicBezTo>
                  <a:lnTo>
                    <a:pt x="128" y="203"/>
                  </a:lnTo>
                  <a:cubicBezTo>
                    <a:pt x="128" y="203"/>
                    <a:pt x="129" y="202"/>
                    <a:pt x="129" y="202"/>
                  </a:cubicBezTo>
                  <a:cubicBezTo>
                    <a:pt x="135" y="198"/>
                    <a:pt x="140" y="194"/>
                    <a:pt x="145" y="190"/>
                  </a:cubicBezTo>
                  <a:cubicBezTo>
                    <a:pt x="156" y="183"/>
                    <a:pt x="167" y="177"/>
                    <a:pt x="179" y="170"/>
                  </a:cubicBezTo>
                  <a:cubicBezTo>
                    <a:pt x="184" y="167"/>
                    <a:pt x="190" y="165"/>
                    <a:pt x="197" y="162"/>
                  </a:cubicBezTo>
                  <a:cubicBezTo>
                    <a:pt x="197" y="161"/>
                    <a:pt x="198" y="161"/>
                    <a:pt x="199" y="161"/>
                  </a:cubicBezTo>
                  <a:lnTo>
                    <a:pt x="199" y="161"/>
                  </a:lnTo>
                  <a:cubicBezTo>
                    <a:pt x="199" y="161"/>
                    <a:pt x="199" y="161"/>
                    <a:pt x="199" y="161"/>
                  </a:cubicBezTo>
                  <a:cubicBezTo>
                    <a:pt x="200" y="161"/>
                    <a:pt x="201" y="160"/>
                    <a:pt x="203" y="159"/>
                  </a:cubicBezTo>
                  <a:lnTo>
                    <a:pt x="203" y="159"/>
                  </a:lnTo>
                  <a:cubicBezTo>
                    <a:pt x="202" y="160"/>
                    <a:pt x="200" y="160"/>
                    <a:pt x="199" y="161"/>
                  </a:cubicBezTo>
                  <a:lnTo>
                    <a:pt x="199" y="161"/>
                  </a:lnTo>
                  <a:cubicBezTo>
                    <a:pt x="199" y="161"/>
                    <a:pt x="200" y="160"/>
                    <a:pt x="203" y="159"/>
                  </a:cubicBezTo>
                  <a:cubicBezTo>
                    <a:pt x="204" y="158"/>
                    <a:pt x="204" y="158"/>
                    <a:pt x="205" y="158"/>
                  </a:cubicBezTo>
                  <a:lnTo>
                    <a:pt x="205" y="158"/>
                  </a:lnTo>
                  <a:cubicBezTo>
                    <a:pt x="205" y="158"/>
                    <a:pt x="204" y="159"/>
                    <a:pt x="203" y="159"/>
                  </a:cubicBezTo>
                  <a:lnTo>
                    <a:pt x="203" y="159"/>
                  </a:lnTo>
                  <a:cubicBezTo>
                    <a:pt x="204" y="159"/>
                    <a:pt x="205" y="158"/>
                    <a:pt x="205" y="158"/>
                  </a:cubicBezTo>
                  <a:lnTo>
                    <a:pt x="205" y="158"/>
                  </a:lnTo>
                  <a:cubicBezTo>
                    <a:pt x="217" y="153"/>
                    <a:pt x="230" y="149"/>
                    <a:pt x="242" y="146"/>
                  </a:cubicBezTo>
                  <a:cubicBezTo>
                    <a:pt x="256" y="142"/>
                    <a:pt x="267" y="140"/>
                    <a:pt x="280" y="136"/>
                  </a:cubicBezTo>
                  <a:lnTo>
                    <a:pt x="300" y="133"/>
                  </a:lnTo>
                  <a:lnTo>
                    <a:pt x="303" y="133"/>
                  </a:lnTo>
                  <a:cubicBezTo>
                    <a:pt x="300" y="134"/>
                    <a:pt x="299" y="134"/>
                    <a:pt x="299" y="134"/>
                  </a:cubicBezTo>
                  <a:cubicBezTo>
                    <a:pt x="299" y="134"/>
                    <a:pt x="305" y="133"/>
                    <a:pt x="306" y="133"/>
                  </a:cubicBezTo>
                  <a:cubicBezTo>
                    <a:pt x="319" y="132"/>
                    <a:pt x="333" y="131"/>
                    <a:pt x="345" y="131"/>
                  </a:cubicBezTo>
                  <a:cubicBezTo>
                    <a:pt x="348" y="131"/>
                    <a:pt x="350" y="131"/>
                    <a:pt x="352" y="131"/>
                  </a:cubicBezTo>
                  <a:cubicBezTo>
                    <a:pt x="362" y="131"/>
                    <a:pt x="373" y="129"/>
                    <a:pt x="382" y="126"/>
                  </a:cubicBezTo>
                  <a:cubicBezTo>
                    <a:pt x="391" y="123"/>
                    <a:pt x="398" y="120"/>
                    <a:pt x="405" y="116"/>
                  </a:cubicBezTo>
                  <a:cubicBezTo>
                    <a:pt x="422" y="106"/>
                    <a:pt x="433" y="88"/>
                    <a:pt x="432" y="69"/>
                  </a:cubicBezTo>
                  <a:cubicBezTo>
                    <a:pt x="432" y="49"/>
                    <a:pt x="421" y="32"/>
                    <a:pt x="405" y="22"/>
                  </a:cubicBezTo>
                  <a:cubicBezTo>
                    <a:pt x="398" y="16"/>
                    <a:pt x="391" y="11"/>
                    <a:pt x="382" y="8"/>
                  </a:cubicBezTo>
                  <a:cubicBezTo>
                    <a:pt x="370" y="4"/>
                    <a:pt x="357" y="0"/>
                    <a:pt x="34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5" name="Google Shape;35;p4"/>
            <p:cNvSpPr/>
            <p:nvPr/>
          </p:nvSpPr>
          <p:spPr>
            <a:xfrm>
              <a:off x="4065050" y="3127375"/>
              <a:ext cx="26350" cy="6400"/>
            </a:xfrm>
            <a:custGeom>
              <a:avLst/>
              <a:gdLst/>
              <a:ahLst/>
              <a:cxnLst/>
              <a:rect l="l" t="t" r="r" b="b"/>
              <a:pathLst>
                <a:path w="1054" h="256" extrusionOk="0">
                  <a:moveTo>
                    <a:pt x="893" y="3"/>
                  </a:moveTo>
                  <a:cubicBezTo>
                    <a:pt x="864" y="4"/>
                    <a:pt x="836" y="6"/>
                    <a:pt x="807" y="9"/>
                  </a:cubicBezTo>
                  <a:cubicBezTo>
                    <a:pt x="750" y="14"/>
                    <a:pt x="694" y="20"/>
                    <a:pt x="637" y="26"/>
                  </a:cubicBezTo>
                  <a:lnTo>
                    <a:pt x="295" y="63"/>
                  </a:lnTo>
                  <a:cubicBezTo>
                    <a:pt x="258" y="67"/>
                    <a:pt x="220" y="70"/>
                    <a:pt x="183" y="77"/>
                  </a:cubicBezTo>
                  <a:cubicBezTo>
                    <a:pt x="150" y="83"/>
                    <a:pt x="119" y="90"/>
                    <a:pt x="88" y="100"/>
                  </a:cubicBezTo>
                  <a:cubicBezTo>
                    <a:pt x="1" y="124"/>
                    <a:pt x="19" y="253"/>
                    <a:pt x="109" y="253"/>
                  </a:cubicBezTo>
                  <a:lnTo>
                    <a:pt x="128" y="254"/>
                  </a:lnTo>
                  <a:lnTo>
                    <a:pt x="143" y="254"/>
                  </a:lnTo>
                  <a:cubicBezTo>
                    <a:pt x="125" y="254"/>
                    <a:pt x="162" y="256"/>
                    <a:pt x="161" y="256"/>
                  </a:cubicBezTo>
                  <a:lnTo>
                    <a:pt x="194" y="256"/>
                  </a:lnTo>
                  <a:cubicBezTo>
                    <a:pt x="222" y="256"/>
                    <a:pt x="251" y="251"/>
                    <a:pt x="279" y="247"/>
                  </a:cubicBezTo>
                  <a:lnTo>
                    <a:pt x="449" y="230"/>
                  </a:lnTo>
                  <a:cubicBezTo>
                    <a:pt x="563" y="217"/>
                    <a:pt x="678" y="205"/>
                    <a:pt x="791" y="191"/>
                  </a:cubicBezTo>
                  <a:cubicBezTo>
                    <a:pt x="828" y="186"/>
                    <a:pt x="866" y="184"/>
                    <a:pt x="902" y="177"/>
                  </a:cubicBezTo>
                  <a:cubicBezTo>
                    <a:pt x="918" y="174"/>
                    <a:pt x="932" y="169"/>
                    <a:pt x="946" y="166"/>
                  </a:cubicBezTo>
                  <a:cubicBezTo>
                    <a:pt x="955" y="164"/>
                    <a:pt x="963" y="162"/>
                    <a:pt x="972" y="160"/>
                  </a:cubicBezTo>
                  <a:cubicBezTo>
                    <a:pt x="989" y="155"/>
                    <a:pt x="1004" y="146"/>
                    <a:pt x="1017" y="135"/>
                  </a:cubicBezTo>
                  <a:cubicBezTo>
                    <a:pt x="1054" y="106"/>
                    <a:pt x="1042" y="38"/>
                    <a:pt x="1002" y="18"/>
                  </a:cubicBezTo>
                  <a:cubicBezTo>
                    <a:pt x="967" y="1"/>
                    <a:pt x="930" y="4"/>
                    <a:pt x="893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6" name="Google Shape;36;p4"/>
            <p:cNvSpPr/>
            <p:nvPr/>
          </p:nvSpPr>
          <p:spPr>
            <a:xfrm>
              <a:off x="4439100" y="3121250"/>
              <a:ext cx="21650" cy="7400"/>
            </a:xfrm>
            <a:custGeom>
              <a:avLst/>
              <a:gdLst/>
              <a:ahLst/>
              <a:cxnLst/>
              <a:rect l="l" t="t" r="r" b="b"/>
              <a:pathLst>
                <a:path w="866" h="296" extrusionOk="0">
                  <a:moveTo>
                    <a:pt x="770" y="0"/>
                  </a:moveTo>
                  <a:cubicBezTo>
                    <a:pt x="750" y="1"/>
                    <a:pt x="730" y="4"/>
                    <a:pt x="711" y="10"/>
                  </a:cubicBezTo>
                  <a:lnTo>
                    <a:pt x="622" y="30"/>
                  </a:lnTo>
                  <a:lnTo>
                    <a:pt x="434" y="72"/>
                  </a:lnTo>
                  <a:lnTo>
                    <a:pt x="61" y="154"/>
                  </a:lnTo>
                  <a:cubicBezTo>
                    <a:pt x="23" y="166"/>
                    <a:pt x="1" y="205"/>
                    <a:pt x="11" y="243"/>
                  </a:cubicBezTo>
                  <a:cubicBezTo>
                    <a:pt x="20" y="275"/>
                    <a:pt x="49" y="295"/>
                    <a:pt x="81" y="295"/>
                  </a:cubicBezTo>
                  <a:cubicBezTo>
                    <a:pt x="87" y="295"/>
                    <a:pt x="93" y="295"/>
                    <a:pt x="99" y="293"/>
                  </a:cubicBezTo>
                  <a:lnTo>
                    <a:pt x="100" y="293"/>
                  </a:lnTo>
                  <a:lnTo>
                    <a:pt x="474" y="215"/>
                  </a:lnTo>
                  <a:lnTo>
                    <a:pt x="659" y="176"/>
                  </a:lnTo>
                  <a:lnTo>
                    <a:pt x="752" y="157"/>
                  </a:lnTo>
                  <a:cubicBezTo>
                    <a:pt x="771" y="154"/>
                    <a:pt x="790" y="149"/>
                    <a:pt x="807" y="139"/>
                  </a:cubicBezTo>
                  <a:cubicBezTo>
                    <a:pt x="826" y="128"/>
                    <a:pt x="841" y="111"/>
                    <a:pt x="851" y="92"/>
                  </a:cubicBezTo>
                  <a:cubicBezTo>
                    <a:pt x="865" y="69"/>
                    <a:pt x="857" y="38"/>
                    <a:pt x="833" y="23"/>
                  </a:cubicBezTo>
                  <a:cubicBezTo>
                    <a:pt x="814" y="10"/>
                    <a:pt x="793" y="2"/>
                    <a:pt x="7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7" name="Google Shape;37;p4"/>
            <p:cNvSpPr/>
            <p:nvPr/>
          </p:nvSpPr>
          <p:spPr>
            <a:xfrm>
              <a:off x="4463250" y="3129575"/>
              <a:ext cx="22075" cy="7975"/>
            </a:xfrm>
            <a:custGeom>
              <a:avLst/>
              <a:gdLst/>
              <a:ahLst/>
              <a:cxnLst/>
              <a:rect l="l" t="t" r="r" b="b"/>
              <a:pathLst>
                <a:path w="883" h="319" extrusionOk="0">
                  <a:moveTo>
                    <a:pt x="794" y="1"/>
                  </a:moveTo>
                  <a:cubicBezTo>
                    <a:pt x="768" y="1"/>
                    <a:pt x="742" y="8"/>
                    <a:pt x="717" y="14"/>
                  </a:cubicBezTo>
                  <a:cubicBezTo>
                    <a:pt x="685" y="21"/>
                    <a:pt x="653" y="31"/>
                    <a:pt x="622" y="39"/>
                  </a:cubicBezTo>
                  <a:cubicBezTo>
                    <a:pt x="561" y="56"/>
                    <a:pt x="500" y="73"/>
                    <a:pt x="439" y="91"/>
                  </a:cubicBezTo>
                  <a:cubicBezTo>
                    <a:pt x="379" y="108"/>
                    <a:pt x="318" y="125"/>
                    <a:pt x="258" y="145"/>
                  </a:cubicBezTo>
                  <a:lnTo>
                    <a:pt x="70" y="206"/>
                  </a:lnTo>
                  <a:cubicBezTo>
                    <a:pt x="0" y="222"/>
                    <a:pt x="20" y="319"/>
                    <a:pt x="81" y="319"/>
                  </a:cubicBezTo>
                  <a:cubicBezTo>
                    <a:pt x="87" y="319"/>
                    <a:pt x="93" y="318"/>
                    <a:pt x="100" y="316"/>
                  </a:cubicBezTo>
                  <a:lnTo>
                    <a:pt x="100" y="317"/>
                  </a:lnTo>
                  <a:lnTo>
                    <a:pt x="293" y="276"/>
                  </a:lnTo>
                  <a:cubicBezTo>
                    <a:pt x="356" y="264"/>
                    <a:pt x="417" y="248"/>
                    <a:pt x="478" y="233"/>
                  </a:cubicBezTo>
                  <a:cubicBezTo>
                    <a:pt x="539" y="219"/>
                    <a:pt x="601" y="204"/>
                    <a:pt x="662" y="188"/>
                  </a:cubicBezTo>
                  <a:cubicBezTo>
                    <a:pt x="694" y="179"/>
                    <a:pt x="727" y="172"/>
                    <a:pt x="757" y="163"/>
                  </a:cubicBezTo>
                  <a:cubicBezTo>
                    <a:pt x="798" y="150"/>
                    <a:pt x="847" y="140"/>
                    <a:pt x="867" y="99"/>
                  </a:cubicBezTo>
                  <a:cubicBezTo>
                    <a:pt x="883" y="70"/>
                    <a:pt x="873" y="33"/>
                    <a:pt x="845" y="15"/>
                  </a:cubicBezTo>
                  <a:cubicBezTo>
                    <a:pt x="829" y="4"/>
                    <a:pt x="812" y="1"/>
                    <a:pt x="79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8" name="Google Shape;38;p4"/>
            <p:cNvSpPr/>
            <p:nvPr/>
          </p:nvSpPr>
          <p:spPr>
            <a:xfrm>
              <a:off x="4088575" y="3140300"/>
              <a:ext cx="15225" cy="3725"/>
            </a:xfrm>
            <a:custGeom>
              <a:avLst/>
              <a:gdLst/>
              <a:ahLst/>
              <a:cxnLst/>
              <a:rect l="l" t="t" r="r" b="b"/>
              <a:pathLst>
                <a:path w="609" h="149" extrusionOk="0">
                  <a:moveTo>
                    <a:pt x="574" y="1"/>
                  </a:moveTo>
                  <a:cubicBezTo>
                    <a:pt x="553" y="1"/>
                    <a:pt x="534" y="8"/>
                    <a:pt x="514" y="14"/>
                  </a:cubicBezTo>
                  <a:cubicBezTo>
                    <a:pt x="492" y="19"/>
                    <a:pt x="471" y="25"/>
                    <a:pt x="449" y="31"/>
                  </a:cubicBezTo>
                  <a:cubicBezTo>
                    <a:pt x="406" y="44"/>
                    <a:pt x="362" y="54"/>
                    <a:pt x="316" y="62"/>
                  </a:cubicBezTo>
                  <a:cubicBezTo>
                    <a:pt x="250" y="73"/>
                    <a:pt x="184" y="78"/>
                    <a:pt x="117" y="78"/>
                  </a:cubicBezTo>
                  <a:cubicBezTo>
                    <a:pt x="94" y="78"/>
                    <a:pt x="71" y="78"/>
                    <a:pt x="49" y="76"/>
                  </a:cubicBezTo>
                  <a:cubicBezTo>
                    <a:pt x="48" y="76"/>
                    <a:pt x="47" y="76"/>
                    <a:pt x="46" y="76"/>
                  </a:cubicBezTo>
                  <a:cubicBezTo>
                    <a:pt x="0" y="76"/>
                    <a:pt x="0" y="146"/>
                    <a:pt x="46" y="146"/>
                  </a:cubicBezTo>
                  <a:cubicBezTo>
                    <a:pt x="47" y="146"/>
                    <a:pt x="48" y="146"/>
                    <a:pt x="49" y="146"/>
                  </a:cubicBezTo>
                  <a:cubicBezTo>
                    <a:pt x="77" y="148"/>
                    <a:pt x="106" y="149"/>
                    <a:pt x="135" y="149"/>
                  </a:cubicBezTo>
                  <a:cubicBezTo>
                    <a:pt x="200" y="149"/>
                    <a:pt x="266" y="144"/>
                    <a:pt x="330" y="134"/>
                  </a:cubicBezTo>
                  <a:cubicBezTo>
                    <a:pt x="377" y="127"/>
                    <a:pt x="422" y="118"/>
                    <a:pt x="467" y="106"/>
                  </a:cubicBezTo>
                  <a:cubicBezTo>
                    <a:pt x="488" y="99"/>
                    <a:pt x="509" y="92"/>
                    <a:pt x="530" y="84"/>
                  </a:cubicBezTo>
                  <a:cubicBezTo>
                    <a:pt x="553" y="75"/>
                    <a:pt x="582" y="68"/>
                    <a:pt x="597" y="48"/>
                  </a:cubicBezTo>
                  <a:cubicBezTo>
                    <a:pt x="608" y="34"/>
                    <a:pt x="608" y="6"/>
                    <a:pt x="585" y="1"/>
                  </a:cubicBezTo>
                  <a:cubicBezTo>
                    <a:pt x="582" y="1"/>
                    <a:pt x="578" y="1"/>
                    <a:pt x="57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5"/>
          <p:cNvSpPr txBox="1">
            <a:spLocks noGrp="1"/>
          </p:cNvSpPr>
          <p:nvPr>
            <p:ph type="title"/>
          </p:nvPr>
        </p:nvSpPr>
        <p:spPr>
          <a:xfrm>
            <a:off x="5054600" y="946967"/>
            <a:ext cx="6177600" cy="135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5"/>
          <p:cNvSpPr txBox="1">
            <a:spLocks noGrp="1"/>
          </p:cNvSpPr>
          <p:nvPr>
            <p:ph type="ctrTitle" idx="2"/>
          </p:nvPr>
        </p:nvSpPr>
        <p:spPr>
          <a:xfrm flipH="1">
            <a:off x="1995075" y="3619567"/>
            <a:ext cx="36416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2" name="Google Shape;42;p5"/>
          <p:cNvSpPr txBox="1">
            <a:spLocks noGrp="1"/>
          </p:cNvSpPr>
          <p:nvPr>
            <p:ph type="subTitle" idx="1"/>
          </p:nvPr>
        </p:nvSpPr>
        <p:spPr>
          <a:xfrm flipH="1">
            <a:off x="1995075" y="4234833"/>
            <a:ext cx="3641600" cy="135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43" name="Google Shape;43;p5"/>
          <p:cNvSpPr txBox="1">
            <a:spLocks noGrp="1"/>
          </p:cNvSpPr>
          <p:nvPr>
            <p:ph type="ctrTitle" idx="3"/>
          </p:nvPr>
        </p:nvSpPr>
        <p:spPr>
          <a:xfrm flipH="1">
            <a:off x="6692508" y="3619567"/>
            <a:ext cx="35044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4" name="Google Shape;44;p5"/>
          <p:cNvSpPr txBox="1">
            <a:spLocks noGrp="1"/>
          </p:cNvSpPr>
          <p:nvPr>
            <p:ph type="subTitle" idx="4"/>
          </p:nvPr>
        </p:nvSpPr>
        <p:spPr>
          <a:xfrm flipH="1">
            <a:off x="6692508" y="4234833"/>
            <a:ext cx="3504400" cy="135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grpSp>
        <p:nvGrpSpPr>
          <p:cNvPr id="45" name="Google Shape;45;p5"/>
          <p:cNvGrpSpPr/>
          <p:nvPr/>
        </p:nvGrpSpPr>
        <p:grpSpPr>
          <a:xfrm>
            <a:off x="-1218626" y="-956376"/>
            <a:ext cx="10565633" cy="3946807"/>
            <a:chOff x="1163125" y="4466300"/>
            <a:chExt cx="1482050" cy="573875"/>
          </a:xfrm>
        </p:grpSpPr>
        <p:sp>
          <p:nvSpPr>
            <p:cNvPr id="46" name="Google Shape;46;p5"/>
            <p:cNvSpPr/>
            <p:nvPr/>
          </p:nvSpPr>
          <p:spPr>
            <a:xfrm>
              <a:off x="1163125" y="4466300"/>
              <a:ext cx="1482050" cy="573875"/>
            </a:xfrm>
            <a:custGeom>
              <a:avLst/>
              <a:gdLst/>
              <a:ahLst/>
              <a:cxnLst/>
              <a:rect l="l" t="t" r="r" b="b"/>
              <a:pathLst>
                <a:path w="59282" h="22955" extrusionOk="0">
                  <a:moveTo>
                    <a:pt x="59206" y="0"/>
                  </a:moveTo>
                  <a:cubicBezTo>
                    <a:pt x="59201" y="0"/>
                    <a:pt x="59195" y="4"/>
                    <a:pt x="59188" y="13"/>
                  </a:cubicBezTo>
                  <a:lnTo>
                    <a:pt x="49580" y="3488"/>
                  </a:lnTo>
                  <a:cubicBezTo>
                    <a:pt x="49404" y="3866"/>
                    <a:pt x="49242" y="3992"/>
                    <a:pt x="49076" y="3992"/>
                  </a:cubicBezTo>
                  <a:cubicBezTo>
                    <a:pt x="48743" y="3992"/>
                    <a:pt x="48390" y="3490"/>
                    <a:pt x="47869" y="3490"/>
                  </a:cubicBezTo>
                  <a:cubicBezTo>
                    <a:pt x="47660" y="3490"/>
                    <a:pt x="47424" y="3571"/>
                    <a:pt x="47150" y="3799"/>
                  </a:cubicBezTo>
                  <a:cubicBezTo>
                    <a:pt x="46575" y="4279"/>
                    <a:pt x="8390" y="7892"/>
                    <a:pt x="4800" y="14575"/>
                  </a:cubicBezTo>
                  <a:cubicBezTo>
                    <a:pt x="3738" y="16555"/>
                    <a:pt x="1179" y="15755"/>
                    <a:pt x="590" y="17776"/>
                  </a:cubicBezTo>
                  <a:cubicBezTo>
                    <a:pt x="0" y="19797"/>
                    <a:pt x="1001" y="22299"/>
                    <a:pt x="3208" y="22955"/>
                  </a:cubicBezTo>
                  <a:cubicBezTo>
                    <a:pt x="3305" y="20620"/>
                    <a:pt x="5507" y="18897"/>
                    <a:pt x="7320" y="17755"/>
                  </a:cubicBezTo>
                  <a:cubicBezTo>
                    <a:pt x="9378" y="16460"/>
                    <a:pt x="11678" y="15617"/>
                    <a:pt x="13950" y="14787"/>
                  </a:cubicBezTo>
                  <a:cubicBezTo>
                    <a:pt x="19133" y="12891"/>
                    <a:pt x="24368" y="10983"/>
                    <a:pt x="29840" y="10269"/>
                  </a:cubicBezTo>
                  <a:cubicBezTo>
                    <a:pt x="35848" y="9485"/>
                    <a:pt x="42042" y="10154"/>
                    <a:pt x="47918" y="8679"/>
                  </a:cubicBezTo>
                  <a:cubicBezTo>
                    <a:pt x="50927" y="7925"/>
                    <a:pt x="54869" y="6755"/>
                    <a:pt x="56980" y="4385"/>
                  </a:cubicBezTo>
                  <a:cubicBezTo>
                    <a:pt x="57800" y="3464"/>
                    <a:pt x="58458" y="2369"/>
                    <a:pt x="58926" y="1230"/>
                  </a:cubicBezTo>
                  <a:cubicBezTo>
                    <a:pt x="58983" y="1089"/>
                    <a:pt x="59281" y="0"/>
                    <a:pt x="5920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7" name="Google Shape;47;p5"/>
            <p:cNvSpPr/>
            <p:nvPr/>
          </p:nvSpPr>
          <p:spPr>
            <a:xfrm>
              <a:off x="2108050" y="4644775"/>
              <a:ext cx="24625" cy="6150"/>
            </a:xfrm>
            <a:custGeom>
              <a:avLst/>
              <a:gdLst/>
              <a:ahLst/>
              <a:cxnLst/>
              <a:rect l="l" t="t" r="r" b="b"/>
              <a:pathLst>
                <a:path w="985" h="246" extrusionOk="0">
                  <a:moveTo>
                    <a:pt x="880" y="1"/>
                  </a:moveTo>
                  <a:cubicBezTo>
                    <a:pt x="872" y="1"/>
                    <a:pt x="864" y="2"/>
                    <a:pt x="856" y="3"/>
                  </a:cubicBezTo>
                  <a:cubicBezTo>
                    <a:pt x="829" y="7"/>
                    <a:pt x="805" y="12"/>
                    <a:pt x="779" y="15"/>
                  </a:cubicBezTo>
                  <a:lnTo>
                    <a:pt x="805" y="12"/>
                  </a:lnTo>
                  <a:lnTo>
                    <a:pt x="805" y="12"/>
                  </a:lnTo>
                  <a:cubicBezTo>
                    <a:pt x="620" y="36"/>
                    <a:pt x="435" y="48"/>
                    <a:pt x="249" y="48"/>
                  </a:cubicBezTo>
                  <a:cubicBezTo>
                    <a:pt x="199" y="48"/>
                    <a:pt x="149" y="47"/>
                    <a:pt x="100" y="45"/>
                  </a:cubicBezTo>
                  <a:cubicBezTo>
                    <a:pt x="45" y="46"/>
                    <a:pt x="1" y="90"/>
                    <a:pt x="1" y="145"/>
                  </a:cubicBezTo>
                  <a:cubicBezTo>
                    <a:pt x="2" y="198"/>
                    <a:pt x="45" y="242"/>
                    <a:pt x="100" y="244"/>
                  </a:cubicBezTo>
                  <a:lnTo>
                    <a:pt x="99" y="244"/>
                  </a:lnTo>
                  <a:cubicBezTo>
                    <a:pt x="145" y="245"/>
                    <a:pt x="192" y="246"/>
                    <a:pt x="239" y="246"/>
                  </a:cubicBezTo>
                  <a:cubicBezTo>
                    <a:pt x="463" y="246"/>
                    <a:pt x="687" y="229"/>
                    <a:pt x="908" y="194"/>
                  </a:cubicBezTo>
                  <a:cubicBezTo>
                    <a:pt x="934" y="188"/>
                    <a:pt x="955" y="171"/>
                    <a:pt x="967" y="149"/>
                  </a:cubicBezTo>
                  <a:cubicBezTo>
                    <a:pt x="981" y="126"/>
                    <a:pt x="984" y="98"/>
                    <a:pt x="978" y="73"/>
                  </a:cubicBezTo>
                  <a:cubicBezTo>
                    <a:pt x="971" y="48"/>
                    <a:pt x="955" y="26"/>
                    <a:pt x="933" y="14"/>
                  </a:cubicBezTo>
                  <a:cubicBezTo>
                    <a:pt x="916" y="5"/>
                    <a:pt x="898" y="1"/>
                    <a:pt x="88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8" name="Google Shape;48;p5"/>
            <p:cNvSpPr/>
            <p:nvPr/>
          </p:nvSpPr>
          <p:spPr>
            <a:xfrm>
              <a:off x="2127650" y="4653150"/>
              <a:ext cx="15275" cy="6125"/>
            </a:xfrm>
            <a:custGeom>
              <a:avLst/>
              <a:gdLst/>
              <a:ahLst/>
              <a:cxnLst/>
              <a:rect l="l" t="t" r="r" b="b"/>
              <a:pathLst>
                <a:path w="611" h="245" extrusionOk="0">
                  <a:moveTo>
                    <a:pt x="518" y="1"/>
                  </a:moveTo>
                  <a:cubicBezTo>
                    <a:pt x="516" y="1"/>
                    <a:pt x="514" y="1"/>
                    <a:pt x="511" y="1"/>
                  </a:cubicBezTo>
                  <a:lnTo>
                    <a:pt x="99" y="47"/>
                  </a:lnTo>
                  <a:cubicBezTo>
                    <a:pt x="74" y="47"/>
                    <a:pt x="48" y="57"/>
                    <a:pt x="29" y="75"/>
                  </a:cubicBezTo>
                  <a:cubicBezTo>
                    <a:pt x="12" y="94"/>
                    <a:pt x="1" y="119"/>
                    <a:pt x="1" y="146"/>
                  </a:cubicBezTo>
                  <a:cubicBezTo>
                    <a:pt x="1" y="171"/>
                    <a:pt x="12" y="196"/>
                    <a:pt x="29" y="215"/>
                  </a:cubicBezTo>
                  <a:cubicBezTo>
                    <a:pt x="46" y="231"/>
                    <a:pt x="69" y="244"/>
                    <a:pt x="92" y="244"/>
                  </a:cubicBezTo>
                  <a:cubicBezTo>
                    <a:pt x="94" y="244"/>
                    <a:pt x="97" y="244"/>
                    <a:pt x="99" y="244"/>
                  </a:cubicBezTo>
                  <a:lnTo>
                    <a:pt x="511" y="199"/>
                  </a:lnTo>
                  <a:cubicBezTo>
                    <a:pt x="538" y="197"/>
                    <a:pt x="563" y="188"/>
                    <a:pt x="582" y="170"/>
                  </a:cubicBezTo>
                  <a:cubicBezTo>
                    <a:pt x="600" y="151"/>
                    <a:pt x="610" y="126"/>
                    <a:pt x="610" y="100"/>
                  </a:cubicBezTo>
                  <a:cubicBezTo>
                    <a:pt x="610" y="74"/>
                    <a:pt x="600" y="49"/>
                    <a:pt x="582" y="30"/>
                  </a:cubicBezTo>
                  <a:cubicBezTo>
                    <a:pt x="566" y="15"/>
                    <a:pt x="542" y="1"/>
                    <a:pt x="51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9" name="Google Shape;49;p5"/>
            <p:cNvSpPr/>
            <p:nvPr/>
          </p:nvSpPr>
          <p:spPr>
            <a:xfrm>
              <a:off x="1847675" y="4703275"/>
              <a:ext cx="19600" cy="3675"/>
            </a:xfrm>
            <a:custGeom>
              <a:avLst/>
              <a:gdLst/>
              <a:ahLst/>
              <a:cxnLst/>
              <a:rect l="l" t="t" r="r" b="b"/>
              <a:pathLst>
                <a:path w="784" h="147" extrusionOk="0">
                  <a:moveTo>
                    <a:pt x="320" y="0"/>
                  </a:moveTo>
                  <a:cubicBezTo>
                    <a:pt x="236" y="0"/>
                    <a:pt x="153" y="5"/>
                    <a:pt x="70" y="13"/>
                  </a:cubicBezTo>
                  <a:cubicBezTo>
                    <a:pt x="35" y="18"/>
                    <a:pt x="1" y="42"/>
                    <a:pt x="4" y="80"/>
                  </a:cubicBezTo>
                  <a:cubicBezTo>
                    <a:pt x="5" y="111"/>
                    <a:pt x="30" y="145"/>
                    <a:pt x="64" y="145"/>
                  </a:cubicBezTo>
                  <a:cubicBezTo>
                    <a:pt x="66" y="145"/>
                    <a:pt x="68" y="145"/>
                    <a:pt x="70" y="145"/>
                  </a:cubicBezTo>
                  <a:lnTo>
                    <a:pt x="70" y="146"/>
                  </a:lnTo>
                  <a:cubicBezTo>
                    <a:pt x="145" y="139"/>
                    <a:pt x="221" y="136"/>
                    <a:pt x="296" y="136"/>
                  </a:cubicBezTo>
                  <a:cubicBezTo>
                    <a:pt x="332" y="136"/>
                    <a:pt x="367" y="136"/>
                    <a:pt x="402" y="138"/>
                  </a:cubicBezTo>
                  <a:cubicBezTo>
                    <a:pt x="456" y="141"/>
                    <a:pt x="512" y="141"/>
                    <a:pt x="567" y="144"/>
                  </a:cubicBezTo>
                  <a:cubicBezTo>
                    <a:pt x="570" y="144"/>
                    <a:pt x="572" y="144"/>
                    <a:pt x="575" y="144"/>
                  </a:cubicBezTo>
                  <a:cubicBezTo>
                    <a:pt x="582" y="144"/>
                    <a:pt x="590" y="143"/>
                    <a:pt x="597" y="142"/>
                  </a:cubicBezTo>
                  <a:cubicBezTo>
                    <a:pt x="597" y="142"/>
                    <a:pt x="604" y="140"/>
                    <a:pt x="606" y="139"/>
                  </a:cubicBezTo>
                  <a:lnTo>
                    <a:pt x="606" y="139"/>
                  </a:lnTo>
                  <a:cubicBezTo>
                    <a:pt x="612" y="138"/>
                    <a:pt x="617" y="138"/>
                    <a:pt x="622" y="138"/>
                  </a:cubicBezTo>
                  <a:cubicBezTo>
                    <a:pt x="631" y="138"/>
                    <a:pt x="640" y="139"/>
                    <a:pt x="649" y="140"/>
                  </a:cubicBezTo>
                  <a:cubicBezTo>
                    <a:pt x="677" y="140"/>
                    <a:pt x="704" y="142"/>
                    <a:pt x="732" y="144"/>
                  </a:cubicBezTo>
                  <a:cubicBezTo>
                    <a:pt x="732" y="144"/>
                    <a:pt x="733" y="144"/>
                    <a:pt x="734" y="144"/>
                  </a:cubicBezTo>
                  <a:cubicBezTo>
                    <a:pt x="777" y="144"/>
                    <a:pt x="784" y="77"/>
                    <a:pt x="742" y="66"/>
                  </a:cubicBezTo>
                  <a:cubicBezTo>
                    <a:pt x="716" y="59"/>
                    <a:pt x="689" y="51"/>
                    <a:pt x="662" y="45"/>
                  </a:cubicBezTo>
                  <a:cubicBezTo>
                    <a:pt x="647" y="43"/>
                    <a:pt x="634" y="40"/>
                    <a:pt x="619" y="35"/>
                  </a:cubicBezTo>
                  <a:lnTo>
                    <a:pt x="619" y="35"/>
                  </a:lnTo>
                  <a:cubicBezTo>
                    <a:pt x="617" y="33"/>
                    <a:pt x="611" y="29"/>
                    <a:pt x="611" y="29"/>
                  </a:cubicBezTo>
                  <a:cubicBezTo>
                    <a:pt x="603" y="25"/>
                    <a:pt x="593" y="22"/>
                    <a:pt x="584" y="21"/>
                  </a:cubicBezTo>
                  <a:cubicBezTo>
                    <a:pt x="525" y="11"/>
                    <a:pt x="465" y="4"/>
                    <a:pt x="405" y="2"/>
                  </a:cubicBezTo>
                  <a:cubicBezTo>
                    <a:pt x="376" y="1"/>
                    <a:pt x="348" y="0"/>
                    <a:pt x="32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0" name="Google Shape;50;p5"/>
            <p:cNvSpPr/>
            <p:nvPr/>
          </p:nvSpPr>
          <p:spPr>
            <a:xfrm>
              <a:off x="1871875" y="4706825"/>
              <a:ext cx="14075" cy="2900"/>
            </a:xfrm>
            <a:custGeom>
              <a:avLst/>
              <a:gdLst/>
              <a:ahLst/>
              <a:cxnLst/>
              <a:rect l="l" t="t" r="r" b="b"/>
              <a:pathLst>
                <a:path w="563" h="116" extrusionOk="0">
                  <a:moveTo>
                    <a:pt x="396" y="1"/>
                  </a:moveTo>
                  <a:cubicBezTo>
                    <a:pt x="357" y="1"/>
                    <a:pt x="319" y="1"/>
                    <a:pt x="280" y="2"/>
                  </a:cubicBezTo>
                  <a:lnTo>
                    <a:pt x="50" y="9"/>
                  </a:lnTo>
                  <a:cubicBezTo>
                    <a:pt x="24" y="9"/>
                    <a:pt x="2" y="32"/>
                    <a:pt x="1" y="59"/>
                  </a:cubicBezTo>
                  <a:cubicBezTo>
                    <a:pt x="2" y="85"/>
                    <a:pt x="24" y="107"/>
                    <a:pt x="50" y="107"/>
                  </a:cubicBezTo>
                  <a:lnTo>
                    <a:pt x="280" y="115"/>
                  </a:lnTo>
                  <a:cubicBezTo>
                    <a:pt x="317" y="116"/>
                    <a:pt x="355" y="116"/>
                    <a:pt x="392" y="116"/>
                  </a:cubicBezTo>
                  <a:lnTo>
                    <a:pt x="451" y="116"/>
                  </a:lnTo>
                  <a:cubicBezTo>
                    <a:pt x="473" y="114"/>
                    <a:pt x="495" y="111"/>
                    <a:pt x="517" y="104"/>
                  </a:cubicBezTo>
                  <a:cubicBezTo>
                    <a:pt x="563" y="94"/>
                    <a:pt x="563" y="23"/>
                    <a:pt x="517" y="13"/>
                  </a:cubicBezTo>
                  <a:cubicBezTo>
                    <a:pt x="497" y="6"/>
                    <a:pt x="476" y="2"/>
                    <a:pt x="45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1" name="Google Shape;51;p5"/>
            <p:cNvSpPr/>
            <p:nvPr/>
          </p:nvSpPr>
          <p:spPr>
            <a:xfrm>
              <a:off x="1515225" y="4762750"/>
              <a:ext cx="14550" cy="4375"/>
            </a:xfrm>
            <a:custGeom>
              <a:avLst/>
              <a:gdLst/>
              <a:ahLst/>
              <a:cxnLst/>
              <a:rect l="l" t="t" r="r" b="b"/>
              <a:pathLst>
                <a:path w="582" h="175" extrusionOk="0">
                  <a:moveTo>
                    <a:pt x="379" y="1"/>
                  </a:moveTo>
                  <a:cubicBezTo>
                    <a:pt x="353" y="1"/>
                    <a:pt x="326" y="3"/>
                    <a:pt x="299" y="4"/>
                  </a:cubicBezTo>
                  <a:lnTo>
                    <a:pt x="82" y="15"/>
                  </a:lnTo>
                  <a:cubicBezTo>
                    <a:pt x="41" y="18"/>
                    <a:pt x="1" y="51"/>
                    <a:pt x="3" y="94"/>
                  </a:cubicBezTo>
                  <a:cubicBezTo>
                    <a:pt x="5" y="132"/>
                    <a:pt x="34" y="174"/>
                    <a:pt x="74" y="174"/>
                  </a:cubicBezTo>
                  <a:cubicBezTo>
                    <a:pt x="76" y="174"/>
                    <a:pt x="79" y="174"/>
                    <a:pt x="82" y="173"/>
                  </a:cubicBezTo>
                  <a:lnTo>
                    <a:pt x="82" y="174"/>
                  </a:lnTo>
                  <a:lnTo>
                    <a:pt x="273" y="152"/>
                  </a:lnTo>
                  <a:cubicBezTo>
                    <a:pt x="306" y="149"/>
                    <a:pt x="338" y="146"/>
                    <a:pt x="371" y="141"/>
                  </a:cubicBezTo>
                  <a:cubicBezTo>
                    <a:pt x="406" y="136"/>
                    <a:pt x="439" y="128"/>
                    <a:pt x="474" y="121"/>
                  </a:cubicBezTo>
                  <a:cubicBezTo>
                    <a:pt x="508" y="114"/>
                    <a:pt x="565" y="112"/>
                    <a:pt x="576" y="71"/>
                  </a:cubicBezTo>
                  <a:cubicBezTo>
                    <a:pt x="582" y="49"/>
                    <a:pt x="573" y="27"/>
                    <a:pt x="554" y="16"/>
                  </a:cubicBezTo>
                  <a:cubicBezTo>
                    <a:pt x="538" y="6"/>
                    <a:pt x="519" y="5"/>
                    <a:pt x="501" y="5"/>
                  </a:cubicBezTo>
                  <a:cubicBezTo>
                    <a:pt x="498" y="5"/>
                    <a:pt x="494" y="5"/>
                    <a:pt x="491" y="5"/>
                  </a:cubicBezTo>
                  <a:lnTo>
                    <a:pt x="396" y="1"/>
                  </a:lnTo>
                  <a:cubicBezTo>
                    <a:pt x="390" y="1"/>
                    <a:pt x="385" y="1"/>
                    <a:pt x="37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" name="Google Shape;52;p5"/>
            <p:cNvSpPr/>
            <p:nvPr/>
          </p:nvSpPr>
          <p:spPr>
            <a:xfrm>
              <a:off x="1535125" y="4754350"/>
              <a:ext cx="11325" cy="3525"/>
            </a:xfrm>
            <a:custGeom>
              <a:avLst/>
              <a:gdLst/>
              <a:ahLst/>
              <a:cxnLst/>
              <a:rect l="l" t="t" r="r" b="b"/>
              <a:pathLst>
                <a:path w="453" h="141" extrusionOk="0">
                  <a:moveTo>
                    <a:pt x="139" y="1"/>
                  </a:moveTo>
                  <a:cubicBezTo>
                    <a:pt x="116" y="1"/>
                    <a:pt x="93" y="1"/>
                    <a:pt x="70" y="1"/>
                  </a:cubicBezTo>
                  <a:cubicBezTo>
                    <a:pt x="32" y="1"/>
                    <a:pt x="2" y="33"/>
                    <a:pt x="1" y="71"/>
                  </a:cubicBezTo>
                  <a:cubicBezTo>
                    <a:pt x="2" y="108"/>
                    <a:pt x="32" y="139"/>
                    <a:pt x="70" y="140"/>
                  </a:cubicBezTo>
                  <a:cubicBezTo>
                    <a:pt x="93" y="140"/>
                    <a:pt x="116" y="140"/>
                    <a:pt x="139" y="140"/>
                  </a:cubicBezTo>
                  <a:cubicBezTo>
                    <a:pt x="174" y="140"/>
                    <a:pt x="208" y="140"/>
                    <a:pt x="242" y="138"/>
                  </a:cubicBezTo>
                  <a:cubicBezTo>
                    <a:pt x="271" y="137"/>
                    <a:pt x="298" y="134"/>
                    <a:pt x="327" y="131"/>
                  </a:cubicBezTo>
                  <a:cubicBezTo>
                    <a:pt x="359" y="126"/>
                    <a:pt x="394" y="126"/>
                    <a:pt x="424" y="110"/>
                  </a:cubicBezTo>
                  <a:cubicBezTo>
                    <a:pt x="452" y="92"/>
                    <a:pt x="452" y="49"/>
                    <a:pt x="424" y="32"/>
                  </a:cubicBezTo>
                  <a:cubicBezTo>
                    <a:pt x="395" y="15"/>
                    <a:pt x="361" y="15"/>
                    <a:pt x="330" y="10"/>
                  </a:cubicBezTo>
                  <a:cubicBezTo>
                    <a:pt x="300" y="7"/>
                    <a:pt x="272" y="4"/>
                    <a:pt x="242" y="3"/>
                  </a:cubicBezTo>
                  <a:cubicBezTo>
                    <a:pt x="208" y="1"/>
                    <a:pt x="174" y="1"/>
                    <a:pt x="13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3" name="Google Shape;53;p5"/>
            <p:cNvSpPr/>
            <p:nvPr/>
          </p:nvSpPr>
          <p:spPr>
            <a:xfrm>
              <a:off x="2371975" y="4664625"/>
              <a:ext cx="17450" cy="4625"/>
            </a:xfrm>
            <a:custGeom>
              <a:avLst/>
              <a:gdLst/>
              <a:ahLst/>
              <a:cxnLst/>
              <a:rect l="l" t="t" r="r" b="b"/>
              <a:pathLst>
                <a:path w="698" h="185" extrusionOk="0">
                  <a:moveTo>
                    <a:pt x="614" y="1"/>
                  </a:moveTo>
                  <a:cubicBezTo>
                    <a:pt x="612" y="1"/>
                    <a:pt x="609" y="1"/>
                    <a:pt x="607" y="1"/>
                  </a:cubicBezTo>
                  <a:cubicBezTo>
                    <a:pt x="595" y="1"/>
                    <a:pt x="582" y="2"/>
                    <a:pt x="571" y="3"/>
                  </a:cubicBezTo>
                  <a:lnTo>
                    <a:pt x="496" y="11"/>
                  </a:lnTo>
                  <a:cubicBezTo>
                    <a:pt x="447" y="15"/>
                    <a:pt x="399" y="21"/>
                    <a:pt x="349" y="26"/>
                  </a:cubicBezTo>
                  <a:cubicBezTo>
                    <a:pt x="248" y="40"/>
                    <a:pt x="147" y="56"/>
                    <a:pt x="46" y="72"/>
                  </a:cubicBezTo>
                  <a:cubicBezTo>
                    <a:pt x="17" y="75"/>
                    <a:pt x="0" y="110"/>
                    <a:pt x="4" y="135"/>
                  </a:cubicBezTo>
                  <a:cubicBezTo>
                    <a:pt x="8" y="159"/>
                    <a:pt x="29" y="185"/>
                    <a:pt x="55" y="185"/>
                  </a:cubicBezTo>
                  <a:cubicBezTo>
                    <a:pt x="57" y="185"/>
                    <a:pt x="59" y="185"/>
                    <a:pt x="61" y="184"/>
                  </a:cubicBezTo>
                  <a:lnTo>
                    <a:pt x="62" y="184"/>
                  </a:lnTo>
                  <a:cubicBezTo>
                    <a:pt x="164" y="173"/>
                    <a:pt x="266" y="163"/>
                    <a:pt x="367" y="150"/>
                  </a:cubicBezTo>
                  <a:cubicBezTo>
                    <a:pt x="416" y="143"/>
                    <a:pt x="464" y="136"/>
                    <a:pt x="512" y="129"/>
                  </a:cubicBezTo>
                  <a:lnTo>
                    <a:pt x="582" y="116"/>
                  </a:lnTo>
                  <a:cubicBezTo>
                    <a:pt x="596" y="114"/>
                    <a:pt x="609" y="112"/>
                    <a:pt x="621" y="109"/>
                  </a:cubicBezTo>
                  <a:cubicBezTo>
                    <a:pt x="636" y="105"/>
                    <a:pt x="650" y="99"/>
                    <a:pt x="663" y="92"/>
                  </a:cubicBezTo>
                  <a:cubicBezTo>
                    <a:pt x="697" y="71"/>
                    <a:pt x="690" y="19"/>
                    <a:pt x="652" y="7"/>
                  </a:cubicBezTo>
                  <a:cubicBezTo>
                    <a:pt x="640" y="3"/>
                    <a:pt x="627" y="1"/>
                    <a:pt x="61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4" name="Google Shape;54;p5"/>
            <p:cNvSpPr/>
            <p:nvPr/>
          </p:nvSpPr>
          <p:spPr>
            <a:xfrm>
              <a:off x="2398725" y="4652425"/>
              <a:ext cx="11450" cy="4725"/>
            </a:xfrm>
            <a:custGeom>
              <a:avLst/>
              <a:gdLst/>
              <a:ahLst/>
              <a:cxnLst/>
              <a:rect l="l" t="t" r="r" b="b"/>
              <a:pathLst>
                <a:path w="458" h="189" extrusionOk="0">
                  <a:moveTo>
                    <a:pt x="383" y="0"/>
                  </a:moveTo>
                  <a:cubicBezTo>
                    <a:pt x="369" y="0"/>
                    <a:pt x="356" y="2"/>
                    <a:pt x="343" y="4"/>
                  </a:cubicBezTo>
                  <a:lnTo>
                    <a:pt x="304" y="12"/>
                  </a:lnTo>
                  <a:lnTo>
                    <a:pt x="218" y="30"/>
                  </a:lnTo>
                  <a:cubicBezTo>
                    <a:pt x="162" y="43"/>
                    <a:pt x="106" y="59"/>
                    <a:pt x="50" y="74"/>
                  </a:cubicBezTo>
                  <a:cubicBezTo>
                    <a:pt x="19" y="82"/>
                    <a:pt x="1" y="115"/>
                    <a:pt x="9" y="145"/>
                  </a:cubicBezTo>
                  <a:cubicBezTo>
                    <a:pt x="17" y="172"/>
                    <a:pt x="40" y="189"/>
                    <a:pt x="66" y="189"/>
                  </a:cubicBezTo>
                  <a:cubicBezTo>
                    <a:pt x="71" y="189"/>
                    <a:pt x="77" y="188"/>
                    <a:pt x="82" y="186"/>
                  </a:cubicBezTo>
                  <a:cubicBezTo>
                    <a:pt x="138" y="174"/>
                    <a:pt x="195" y="160"/>
                    <a:pt x="249" y="144"/>
                  </a:cubicBezTo>
                  <a:lnTo>
                    <a:pt x="332" y="121"/>
                  </a:lnTo>
                  <a:cubicBezTo>
                    <a:pt x="344" y="117"/>
                    <a:pt x="359" y="114"/>
                    <a:pt x="372" y="109"/>
                  </a:cubicBezTo>
                  <a:cubicBezTo>
                    <a:pt x="389" y="103"/>
                    <a:pt x="404" y="96"/>
                    <a:pt x="419" y="86"/>
                  </a:cubicBezTo>
                  <a:cubicBezTo>
                    <a:pt x="457" y="62"/>
                    <a:pt x="441" y="3"/>
                    <a:pt x="396" y="1"/>
                  </a:cubicBezTo>
                  <a:cubicBezTo>
                    <a:pt x="391" y="1"/>
                    <a:pt x="387" y="0"/>
                    <a:pt x="38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grpSp>
        <p:nvGrpSpPr>
          <p:cNvPr id="55" name="Google Shape;55;p5"/>
          <p:cNvGrpSpPr/>
          <p:nvPr/>
        </p:nvGrpSpPr>
        <p:grpSpPr>
          <a:xfrm>
            <a:off x="-569859" y="5917719"/>
            <a:ext cx="4251604" cy="1156044"/>
            <a:chOff x="1296625" y="5272425"/>
            <a:chExt cx="751450" cy="204325"/>
          </a:xfrm>
        </p:grpSpPr>
        <p:sp>
          <p:nvSpPr>
            <p:cNvPr id="56" name="Google Shape;56;p5"/>
            <p:cNvSpPr/>
            <p:nvPr/>
          </p:nvSpPr>
          <p:spPr>
            <a:xfrm>
              <a:off x="1296625" y="5272425"/>
              <a:ext cx="751450" cy="204325"/>
            </a:xfrm>
            <a:custGeom>
              <a:avLst/>
              <a:gdLst/>
              <a:ahLst/>
              <a:cxnLst/>
              <a:rect l="l" t="t" r="r" b="b"/>
              <a:pathLst>
                <a:path w="30058" h="8173" extrusionOk="0">
                  <a:moveTo>
                    <a:pt x="1831" y="0"/>
                  </a:moveTo>
                  <a:cubicBezTo>
                    <a:pt x="1359" y="0"/>
                    <a:pt x="921" y="261"/>
                    <a:pt x="576" y="977"/>
                  </a:cubicBezTo>
                  <a:cubicBezTo>
                    <a:pt x="0" y="2170"/>
                    <a:pt x="458" y="4179"/>
                    <a:pt x="1209" y="5205"/>
                  </a:cubicBezTo>
                  <a:cubicBezTo>
                    <a:pt x="2352" y="6765"/>
                    <a:pt x="4549" y="7016"/>
                    <a:pt x="6482" y="7078"/>
                  </a:cubicBezTo>
                  <a:cubicBezTo>
                    <a:pt x="12255" y="7267"/>
                    <a:pt x="18061" y="6994"/>
                    <a:pt x="23788" y="7750"/>
                  </a:cubicBezTo>
                  <a:cubicBezTo>
                    <a:pt x="25169" y="7932"/>
                    <a:pt x="26573" y="8173"/>
                    <a:pt x="27959" y="8173"/>
                  </a:cubicBezTo>
                  <a:cubicBezTo>
                    <a:pt x="28665" y="8173"/>
                    <a:pt x="29367" y="8110"/>
                    <a:pt x="30058" y="7945"/>
                  </a:cubicBezTo>
                  <a:cubicBezTo>
                    <a:pt x="26482" y="6211"/>
                    <a:pt x="22600" y="5194"/>
                    <a:pt x="18632" y="4954"/>
                  </a:cubicBezTo>
                  <a:cubicBezTo>
                    <a:pt x="16764" y="4841"/>
                    <a:pt x="14885" y="4902"/>
                    <a:pt x="13025" y="4685"/>
                  </a:cubicBezTo>
                  <a:cubicBezTo>
                    <a:pt x="9662" y="4293"/>
                    <a:pt x="6423" y="2958"/>
                    <a:pt x="3732" y="908"/>
                  </a:cubicBezTo>
                  <a:cubicBezTo>
                    <a:pt x="3126" y="447"/>
                    <a:pt x="2449" y="0"/>
                    <a:pt x="183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" name="Google Shape;57;p5"/>
            <p:cNvSpPr/>
            <p:nvPr/>
          </p:nvSpPr>
          <p:spPr>
            <a:xfrm>
              <a:off x="1429850" y="5340900"/>
              <a:ext cx="17250" cy="14500"/>
            </a:xfrm>
            <a:custGeom>
              <a:avLst/>
              <a:gdLst/>
              <a:ahLst/>
              <a:cxnLst/>
              <a:rect l="l" t="t" r="r" b="b"/>
              <a:pathLst>
                <a:path w="690" h="580" extrusionOk="0">
                  <a:moveTo>
                    <a:pt x="217" y="194"/>
                  </a:moveTo>
                  <a:cubicBezTo>
                    <a:pt x="217" y="194"/>
                    <a:pt x="218" y="195"/>
                    <a:pt x="219" y="196"/>
                  </a:cubicBezTo>
                  <a:lnTo>
                    <a:pt x="219" y="196"/>
                  </a:lnTo>
                  <a:lnTo>
                    <a:pt x="218" y="196"/>
                  </a:lnTo>
                  <a:cubicBezTo>
                    <a:pt x="217" y="194"/>
                    <a:pt x="217" y="194"/>
                    <a:pt x="217" y="194"/>
                  </a:cubicBezTo>
                  <a:close/>
                  <a:moveTo>
                    <a:pt x="364" y="341"/>
                  </a:moveTo>
                  <a:cubicBezTo>
                    <a:pt x="365" y="342"/>
                    <a:pt x="365" y="342"/>
                    <a:pt x="366" y="342"/>
                  </a:cubicBezTo>
                  <a:lnTo>
                    <a:pt x="364" y="341"/>
                  </a:lnTo>
                  <a:close/>
                  <a:moveTo>
                    <a:pt x="68" y="0"/>
                  </a:moveTo>
                  <a:cubicBezTo>
                    <a:pt x="56" y="0"/>
                    <a:pt x="46" y="3"/>
                    <a:pt x="37" y="8"/>
                  </a:cubicBezTo>
                  <a:cubicBezTo>
                    <a:pt x="6" y="28"/>
                    <a:pt x="1" y="61"/>
                    <a:pt x="15" y="94"/>
                  </a:cubicBezTo>
                  <a:cubicBezTo>
                    <a:pt x="59" y="194"/>
                    <a:pt x="122" y="285"/>
                    <a:pt x="199" y="363"/>
                  </a:cubicBezTo>
                  <a:cubicBezTo>
                    <a:pt x="239" y="403"/>
                    <a:pt x="282" y="438"/>
                    <a:pt x="328" y="471"/>
                  </a:cubicBezTo>
                  <a:cubicBezTo>
                    <a:pt x="374" y="503"/>
                    <a:pt x="425" y="528"/>
                    <a:pt x="478" y="545"/>
                  </a:cubicBezTo>
                  <a:cubicBezTo>
                    <a:pt x="506" y="554"/>
                    <a:pt x="534" y="563"/>
                    <a:pt x="563" y="569"/>
                  </a:cubicBezTo>
                  <a:cubicBezTo>
                    <a:pt x="585" y="576"/>
                    <a:pt x="608" y="579"/>
                    <a:pt x="631" y="579"/>
                  </a:cubicBezTo>
                  <a:cubicBezTo>
                    <a:pt x="641" y="579"/>
                    <a:pt x="650" y="579"/>
                    <a:pt x="660" y="578"/>
                  </a:cubicBezTo>
                  <a:cubicBezTo>
                    <a:pt x="689" y="573"/>
                    <a:pt x="686" y="535"/>
                    <a:pt x="667" y="522"/>
                  </a:cubicBezTo>
                  <a:cubicBezTo>
                    <a:pt x="647" y="508"/>
                    <a:pt x="625" y="497"/>
                    <a:pt x="602" y="489"/>
                  </a:cubicBezTo>
                  <a:cubicBezTo>
                    <a:pt x="579" y="479"/>
                    <a:pt x="557" y="468"/>
                    <a:pt x="534" y="455"/>
                  </a:cubicBezTo>
                  <a:cubicBezTo>
                    <a:pt x="491" y="431"/>
                    <a:pt x="450" y="400"/>
                    <a:pt x="408" y="373"/>
                  </a:cubicBezTo>
                  <a:cubicBezTo>
                    <a:pt x="397" y="367"/>
                    <a:pt x="388" y="359"/>
                    <a:pt x="377" y="352"/>
                  </a:cubicBezTo>
                  <a:lnTo>
                    <a:pt x="365" y="341"/>
                  </a:lnTo>
                  <a:cubicBezTo>
                    <a:pt x="364" y="341"/>
                    <a:pt x="363" y="340"/>
                    <a:pt x="363" y="340"/>
                  </a:cubicBezTo>
                  <a:lnTo>
                    <a:pt x="363" y="340"/>
                  </a:lnTo>
                  <a:lnTo>
                    <a:pt x="356" y="335"/>
                  </a:lnTo>
                  <a:cubicBezTo>
                    <a:pt x="336" y="319"/>
                    <a:pt x="317" y="302"/>
                    <a:pt x="299" y="284"/>
                  </a:cubicBezTo>
                  <a:cubicBezTo>
                    <a:pt x="281" y="268"/>
                    <a:pt x="263" y="249"/>
                    <a:pt x="247" y="230"/>
                  </a:cubicBezTo>
                  <a:cubicBezTo>
                    <a:pt x="238" y="221"/>
                    <a:pt x="231" y="212"/>
                    <a:pt x="223" y="201"/>
                  </a:cubicBezTo>
                  <a:lnTo>
                    <a:pt x="219" y="197"/>
                  </a:lnTo>
                  <a:cubicBezTo>
                    <a:pt x="214" y="190"/>
                    <a:pt x="211" y="185"/>
                    <a:pt x="206" y="179"/>
                  </a:cubicBezTo>
                  <a:cubicBezTo>
                    <a:pt x="173" y="133"/>
                    <a:pt x="144" y="83"/>
                    <a:pt x="121" y="30"/>
                  </a:cubicBezTo>
                  <a:cubicBezTo>
                    <a:pt x="113" y="11"/>
                    <a:pt x="90" y="0"/>
                    <a:pt x="6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8" name="Google Shape;58;p5"/>
            <p:cNvSpPr/>
            <p:nvPr/>
          </p:nvSpPr>
          <p:spPr>
            <a:xfrm>
              <a:off x="1436300" y="5366700"/>
              <a:ext cx="19050" cy="9500"/>
            </a:xfrm>
            <a:custGeom>
              <a:avLst/>
              <a:gdLst/>
              <a:ahLst/>
              <a:cxnLst/>
              <a:rect l="l" t="t" r="r" b="b"/>
              <a:pathLst>
                <a:path w="762" h="380" extrusionOk="0">
                  <a:moveTo>
                    <a:pt x="556" y="240"/>
                  </a:moveTo>
                  <a:lnTo>
                    <a:pt x="556" y="240"/>
                  </a:lnTo>
                  <a:cubicBezTo>
                    <a:pt x="558" y="240"/>
                    <a:pt x="560" y="240"/>
                    <a:pt x="562" y="240"/>
                  </a:cubicBezTo>
                  <a:cubicBezTo>
                    <a:pt x="562" y="240"/>
                    <a:pt x="558" y="240"/>
                    <a:pt x="556" y="240"/>
                  </a:cubicBezTo>
                  <a:close/>
                  <a:moveTo>
                    <a:pt x="65" y="0"/>
                  </a:moveTo>
                  <a:cubicBezTo>
                    <a:pt x="50" y="0"/>
                    <a:pt x="35" y="6"/>
                    <a:pt x="23" y="18"/>
                  </a:cubicBezTo>
                  <a:cubicBezTo>
                    <a:pt x="0" y="41"/>
                    <a:pt x="0" y="78"/>
                    <a:pt x="23" y="102"/>
                  </a:cubicBezTo>
                  <a:cubicBezTo>
                    <a:pt x="169" y="252"/>
                    <a:pt x="361" y="348"/>
                    <a:pt x="567" y="375"/>
                  </a:cubicBezTo>
                  <a:cubicBezTo>
                    <a:pt x="584" y="378"/>
                    <a:pt x="600" y="380"/>
                    <a:pt x="617" y="380"/>
                  </a:cubicBezTo>
                  <a:cubicBezTo>
                    <a:pt x="656" y="380"/>
                    <a:pt x="695" y="372"/>
                    <a:pt x="731" y="356"/>
                  </a:cubicBezTo>
                  <a:cubicBezTo>
                    <a:pt x="749" y="350"/>
                    <a:pt x="760" y="333"/>
                    <a:pt x="761" y="313"/>
                  </a:cubicBezTo>
                  <a:cubicBezTo>
                    <a:pt x="761" y="290"/>
                    <a:pt x="742" y="275"/>
                    <a:pt x="722" y="269"/>
                  </a:cubicBezTo>
                  <a:cubicBezTo>
                    <a:pt x="700" y="261"/>
                    <a:pt x="677" y="255"/>
                    <a:pt x="653" y="252"/>
                  </a:cubicBezTo>
                  <a:cubicBezTo>
                    <a:pt x="638" y="249"/>
                    <a:pt x="622" y="248"/>
                    <a:pt x="607" y="246"/>
                  </a:cubicBezTo>
                  <a:cubicBezTo>
                    <a:pt x="603" y="246"/>
                    <a:pt x="600" y="245"/>
                    <a:pt x="597" y="245"/>
                  </a:cubicBezTo>
                  <a:cubicBezTo>
                    <a:pt x="598" y="245"/>
                    <a:pt x="599" y="245"/>
                    <a:pt x="600" y="245"/>
                  </a:cubicBezTo>
                  <a:lnTo>
                    <a:pt x="600" y="245"/>
                  </a:lnTo>
                  <a:cubicBezTo>
                    <a:pt x="599" y="245"/>
                    <a:pt x="597" y="245"/>
                    <a:pt x="595" y="245"/>
                  </a:cubicBezTo>
                  <a:cubicBezTo>
                    <a:pt x="586" y="243"/>
                    <a:pt x="577" y="242"/>
                    <a:pt x="568" y="241"/>
                  </a:cubicBezTo>
                  <a:lnTo>
                    <a:pt x="560" y="240"/>
                  </a:lnTo>
                  <a:cubicBezTo>
                    <a:pt x="556" y="240"/>
                    <a:pt x="554" y="240"/>
                    <a:pt x="555" y="240"/>
                  </a:cubicBezTo>
                  <a:cubicBezTo>
                    <a:pt x="555" y="240"/>
                    <a:pt x="555" y="240"/>
                    <a:pt x="556" y="240"/>
                  </a:cubicBezTo>
                  <a:lnTo>
                    <a:pt x="556" y="240"/>
                  </a:lnTo>
                  <a:cubicBezTo>
                    <a:pt x="553" y="240"/>
                    <a:pt x="550" y="239"/>
                    <a:pt x="546" y="238"/>
                  </a:cubicBezTo>
                  <a:cubicBezTo>
                    <a:pt x="534" y="236"/>
                    <a:pt x="520" y="234"/>
                    <a:pt x="508" y="231"/>
                  </a:cubicBezTo>
                  <a:cubicBezTo>
                    <a:pt x="460" y="220"/>
                    <a:pt x="412" y="207"/>
                    <a:pt x="367" y="189"/>
                  </a:cubicBezTo>
                  <a:lnTo>
                    <a:pt x="358" y="184"/>
                  </a:lnTo>
                  <a:lnTo>
                    <a:pt x="339" y="176"/>
                  </a:lnTo>
                  <a:cubicBezTo>
                    <a:pt x="325" y="171"/>
                    <a:pt x="313" y="164"/>
                    <a:pt x="301" y="158"/>
                  </a:cubicBezTo>
                  <a:cubicBezTo>
                    <a:pt x="276" y="145"/>
                    <a:pt x="253" y="132"/>
                    <a:pt x="230" y="117"/>
                  </a:cubicBezTo>
                  <a:cubicBezTo>
                    <a:pt x="218" y="110"/>
                    <a:pt x="207" y="101"/>
                    <a:pt x="195" y="93"/>
                  </a:cubicBezTo>
                  <a:lnTo>
                    <a:pt x="178" y="81"/>
                  </a:lnTo>
                  <a:lnTo>
                    <a:pt x="176" y="79"/>
                  </a:lnTo>
                  <a:lnTo>
                    <a:pt x="170" y="74"/>
                  </a:lnTo>
                  <a:cubicBezTo>
                    <a:pt x="148" y="57"/>
                    <a:pt x="127" y="38"/>
                    <a:pt x="107" y="18"/>
                  </a:cubicBezTo>
                  <a:cubicBezTo>
                    <a:pt x="95" y="6"/>
                    <a:pt x="80" y="0"/>
                    <a:pt x="6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6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61" name="Google Shape;61;p6"/>
          <p:cNvGrpSpPr/>
          <p:nvPr/>
        </p:nvGrpSpPr>
        <p:grpSpPr>
          <a:xfrm flipH="1">
            <a:off x="9860930" y="-107073"/>
            <a:ext cx="3043012" cy="2266103"/>
            <a:chOff x="4858550" y="1156475"/>
            <a:chExt cx="384925" cy="286650"/>
          </a:xfrm>
        </p:grpSpPr>
        <p:sp>
          <p:nvSpPr>
            <p:cNvPr id="62" name="Google Shape;62;p6"/>
            <p:cNvSpPr/>
            <p:nvPr/>
          </p:nvSpPr>
          <p:spPr>
            <a:xfrm>
              <a:off x="4858550" y="1156475"/>
              <a:ext cx="384925" cy="286650"/>
            </a:xfrm>
            <a:custGeom>
              <a:avLst/>
              <a:gdLst/>
              <a:ahLst/>
              <a:cxnLst/>
              <a:rect l="l" t="t" r="r" b="b"/>
              <a:pathLst>
                <a:path w="15397" h="11466" extrusionOk="0">
                  <a:moveTo>
                    <a:pt x="12124" y="1"/>
                  </a:moveTo>
                  <a:cubicBezTo>
                    <a:pt x="11083" y="1"/>
                    <a:pt x="10204" y="261"/>
                    <a:pt x="9468" y="1127"/>
                  </a:cubicBezTo>
                  <a:cubicBezTo>
                    <a:pt x="8392" y="2392"/>
                    <a:pt x="7694" y="3730"/>
                    <a:pt x="6351" y="4830"/>
                  </a:cubicBezTo>
                  <a:cubicBezTo>
                    <a:pt x="4727" y="6161"/>
                    <a:pt x="2801" y="7142"/>
                    <a:pt x="1077" y="8355"/>
                  </a:cubicBezTo>
                  <a:cubicBezTo>
                    <a:pt x="708" y="8615"/>
                    <a:pt x="331" y="8908"/>
                    <a:pt x="188" y="9310"/>
                  </a:cubicBezTo>
                  <a:cubicBezTo>
                    <a:pt x="1" y="9840"/>
                    <a:pt x="286" y="10436"/>
                    <a:pt x="755" y="10795"/>
                  </a:cubicBezTo>
                  <a:cubicBezTo>
                    <a:pt x="1223" y="11153"/>
                    <a:pt x="1840" y="11310"/>
                    <a:pt x="2447" y="11392"/>
                  </a:cubicBezTo>
                  <a:cubicBezTo>
                    <a:pt x="2821" y="11441"/>
                    <a:pt x="3197" y="11465"/>
                    <a:pt x="3574" y="11465"/>
                  </a:cubicBezTo>
                  <a:cubicBezTo>
                    <a:pt x="5277" y="11465"/>
                    <a:pt x="6978" y="10978"/>
                    <a:pt x="8468" y="10211"/>
                  </a:cubicBezTo>
                  <a:cubicBezTo>
                    <a:pt x="10287" y="9276"/>
                    <a:pt x="11821" y="7946"/>
                    <a:pt x="13207" y="6528"/>
                  </a:cubicBezTo>
                  <a:cubicBezTo>
                    <a:pt x="13865" y="5856"/>
                    <a:pt x="14505" y="5143"/>
                    <a:pt x="14842" y="4298"/>
                  </a:cubicBezTo>
                  <a:cubicBezTo>
                    <a:pt x="15168" y="3479"/>
                    <a:pt x="15396" y="2121"/>
                    <a:pt x="15166" y="1255"/>
                  </a:cubicBezTo>
                  <a:cubicBezTo>
                    <a:pt x="14910" y="289"/>
                    <a:pt x="14264" y="199"/>
                    <a:pt x="13244" y="78"/>
                  </a:cubicBezTo>
                  <a:cubicBezTo>
                    <a:pt x="12852" y="31"/>
                    <a:pt x="12478" y="1"/>
                    <a:pt x="1212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3" name="Google Shape;63;p6"/>
            <p:cNvSpPr/>
            <p:nvPr/>
          </p:nvSpPr>
          <p:spPr>
            <a:xfrm>
              <a:off x="5158650" y="1313650"/>
              <a:ext cx="23475" cy="3650"/>
            </a:xfrm>
            <a:custGeom>
              <a:avLst/>
              <a:gdLst/>
              <a:ahLst/>
              <a:cxnLst/>
              <a:rect l="l" t="t" r="r" b="b"/>
              <a:pathLst>
                <a:path w="939" h="146" extrusionOk="0">
                  <a:moveTo>
                    <a:pt x="615" y="0"/>
                  </a:moveTo>
                  <a:cubicBezTo>
                    <a:pt x="569" y="0"/>
                    <a:pt x="524" y="1"/>
                    <a:pt x="478" y="1"/>
                  </a:cubicBezTo>
                  <a:lnTo>
                    <a:pt x="69" y="3"/>
                  </a:lnTo>
                  <a:cubicBezTo>
                    <a:pt x="31" y="4"/>
                    <a:pt x="0" y="34"/>
                    <a:pt x="0" y="71"/>
                  </a:cubicBezTo>
                  <a:cubicBezTo>
                    <a:pt x="1" y="109"/>
                    <a:pt x="31" y="140"/>
                    <a:pt x="69" y="141"/>
                  </a:cubicBezTo>
                  <a:lnTo>
                    <a:pt x="69" y="142"/>
                  </a:lnTo>
                  <a:lnTo>
                    <a:pt x="478" y="144"/>
                  </a:lnTo>
                  <a:cubicBezTo>
                    <a:pt x="523" y="144"/>
                    <a:pt x="568" y="145"/>
                    <a:pt x="613" y="145"/>
                  </a:cubicBezTo>
                  <a:cubicBezTo>
                    <a:pt x="635" y="145"/>
                    <a:pt x="658" y="145"/>
                    <a:pt x="680" y="144"/>
                  </a:cubicBezTo>
                  <a:lnTo>
                    <a:pt x="782" y="141"/>
                  </a:lnTo>
                  <a:lnTo>
                    <a:pt x="834" y="140"/>
                  </a:lnTo>
                  <a:cubicBezTo>
                    <a:pt x="847" y="140"/>
                    <a:pt x="860" y="139"/>
                    <a:pt x="871" y="135"/>
                  </a:cubicBezTo>
                  <a:cubicBezTo>
                    <a:pt x="882" y="131"/>
                    <a:pt x="892" y="126"/>
                    <a:pt x="902" y="121"/>
                  </a:cubicBezTo>
                  <a:cubicBezTo>
                    <a:pt x="939" y="103"/>
                    <a:pt x="939" y="42"/>
                    <a:pt x="902" y="24"/>
                  </a:cubicBezTo>
                  <a:cubicBezTo>
                    <a:pt x="892" y="18"/>
                    <a:pt x="882" y="13"/>
                    <a:pt x="871" y="9"/>
                  </a:cubicBezTo>
                  <a:cubicBezTo>
                    <a:pt x="862" y="7"/>
                    <a:pt x="851" y="5"/>
                    <a:pt x="841" y="5"/>
                  </a:cubicBezTo>
                  <a:cubicBezTo>
                    <a:pt x="839" y="5"/>
                    <a:pt x="837" y="5"/>
                    <a:pt x="834" y="5"/>
                  </a:cubicBezTo>
                  <a:lnTo>
                    <a:pt x="782" y="4"/>
                  </a:lnTo>
                  <a:lnTo>
                    <a:pt x="684" y="1"/>
                  </a:lnTo>
                  <a:cubicBezTo>
                    <a:pt x="661" y="0"/>
                    <a:pt x="638" y="0"/>
                    <a:pt x="61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4" name="Google Shape;64;p6"/>
            <p:cNvSpPr/>
            <p:nvPr/>
          </p:nvSpPr>
          <p:spPr>
            <a:xfrm>
              <a:off x="5162050" y="1326350"/>
              <a:ext cx="9600" cy="4500"/>
            </a:xfrm>
            <a:custGeom>
              <a:avLst/>
              <a:gdLst/>
              <a:ahLst/>
              <a:cxnLst/>
              <a:rect l="l" t="t" r="r" b="b"/>
              <a:pathLst>
                <a:path w="384" h="180" extrusionOk="0">
                  <a:moveTo>
                    <a:pt x="272" y="7"/>
                  </a:moveTo>
                  <a:lnTo>
                    <a:pt x="274" y="7"/>
                  </a:lnTo>
                  <a:lnTo>
                    <a:pt x="277" y="8"/>
                  </a:lnTo>
                  <a:lnTo>
                    <a:pt x="277" y="8"/>
                  </a:lnTo>
                  <a:cubicBezTo>
                    <a:pt x="276" y="8"/>
                    <a:pt x="274" y="7"/>
                    <a:pt x="272" y="7"/>
                  </a:cubicBezTo>
                  <a:close/>
                  <a:moveTo>
                    <a:pt x="277" y="174"/>
                  </a:moveTo>
                  <a:lnTo>
                    <a:pt x="270" y="175"/>
                  </a:lnTo>
                  <a:lnTo>
                    <a:pt x="270" y="175"/>
                  </a:lnTo>
                  <a:cubicBezTo>
                    <a:pt x="271" y="174"/>
                    <a:pt x="272" y="174"/>
                    <a:pt x="273" y="174"/>
                  </a:cubicBezTo>
                  <a:close/>
                  <a:moveTo>
                    <a:pt x="172" y="1"/>
                  </a:moveTo>
                  <a:lnTo>
                    <a:pt x="88" y="2"/>
                  </a:lnTo>
                  <a:cubicBezTo>
                    <a:pt x="65" y="3"/>
                    <a:pt x="43" y="11"/>
                    <a:pt x="26" y="28"/>
                  </a:cubicBezTo>
                  <a:cubicBezTo>
                    <a:pt x="10" y="44"/>
                    <a:pt x="0" y="66"/>
                    <a:pt x="0" y="89"/>
                  </a:cubicBezTo>
                  <a:cubicBezTo>
                    <a:pt x="1" y="137"/>
                    <a:pt x="40" y="176"/>
                    <a:pt x="88" y="177"/>
                  </a:cubicBezTo>
                  <a:lnTo>
                    <a:pt x="88" y="178"/>
                  </a:lnTo>
                  <a:lnTo>
                    <a:pt x="172" y="179"/>
                  </a:lnTo>
                  <a:lnTo>
                    <a:pt x="234" y="179"/>
                  </a:lnTo>
                  <a:cubicBezTo>
                    <a:pt x="236" y="179"/>
                    <a:pt x="238" y="179"/>
                    <a:pt x="240" y="179"/>
                  </a:cubicBezTo>
                  <a:cubicBezTo>
                    <a:pt x="249" y="179"/>
                    <a:pt x="258" y="178"/>
                    <a:pt x="268" y="175"/>
                  </a:cubicBezTo>
                  <a:lnTo>
                    <a:pt x="268" y="175"/>
                  </a:lnTo>
                  <a:lnTo>
                    <a:pt x="281" y="174"/>
                  </a:lnTo>
                  <a:cubicBezTo>
                    <a:pt x="288" y="174"/>
                    <a:pt x="296" y="173"/>
                    <a:pt x="303" y="172"/>
                  </a:cubicBezTo>
                  <a:cubicBezTo>
                    <a:pt x="322" y="170"/>
                    <a:pt x="339" y="161"/>
                    <a:pt x="353" y="146"/>
                  </a:cubicBezTo>
                  <a:cubicBezTo>
                    <a:pt x="383" y="116"/>
                    <a:pt x="383" y="65"/>
                    <a:pt x="353" y="34"/>
                  </a:cubicBezTo>
                  <a:cubicBezTo>
                    <a:pt x="341" y="23"/>
                    <a:pt x="328" y="16"/>
                    <a:pt x="314" y="10"/>
                  </a:cubicBezTo>
                  <a:cubicBezTo>
                    <a:pt x="303" y="8"/>
                    <a:pt x="292" y="7"/>
                    <a:pt x="281" y="7"/>
                  </a:cubicBezTo>
                  <a:lnTo>
                    <a:pt x="273" y="6"/>
                  </a:lnTo>
                  <a:lnTo>
                    <a:pt x="272" y="6"/>
                  </a:lnTo>
                  <a:lnTo>
                    <a:pt x="273" y="6"/>
                  </a:lnTo>
                  <a:lnTo>
                    <a:pt x="270" y="6"/>
                  </a:lnTo>
                  <a:lnTo>
                    <a:pt x="270" y="6"/>
                  </a:lnTo>
                  <a:cubicBezTo>
                    <a:pt x="259" y="3"/>
                    <a:pt x="248" y="1"/>
                    <a:pt x="23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" name="Google Shape;65;p6"/>
            <p:cNvSpPr/>
            <p:nvPr/>
          </p:nvSpPr>
          <p:spPr>
            <a:xfrm>
              <a:off x="4944000" y="1355175"/>
              <a:ext cx="16250" cy="4200"/>
            </a:xfrm>
            <a:custGeom>
              <a:avLst/>
              <a:gdLst/>
              <a:ahLst/>
              <a:cxnLst/>
              <a:rect l="l" t="t" r="r" b="b"/>
              <a:pathLst>
                <a:path w="650" h="168" extrusionOk="0">
                  <a:moveTo>
                    <a:pt x="334" y="0"/>
                  </a:moveTo>
                  <a:lnTo>
                    <a:pt x="84" y="2"/>
                  </a:lnTo>
                  <a:cubicBezTo>
                    <a:pt x="41" y="2"/>
                    <a:pt x="0" y="39"/>
                    <a:pt x="2" y="84"/>
                  </a:cubicBezTo>
                  <a:cubicBezTo>
                    <a:pt x="3" y="129"/>
                    <a:pt x="39" y="165"/>
                    <a:pt x="84" y="166"/>
                  </a:cubicBezTo>
                  <a:lnTo>
                    <a:pt x="84" y="165"/>
                  </a:lnTo>
                  <a:lnTo>
                    <a:pt x="334" y="167"/>
                  </a:lnTo>
                  <a:lnTo>
                    <a:pt x="459" y="167"/>
                  </a:lnTo>
                  <a:cubicBezTo>
                    <a:pt x="463" y="167"/>
                    <a:pt x="467" y="167"/>
                    <a:pt x="471" y="167"/>
                  </a:cubicBezTo>
                  <a:cubicBezTo>
                    <a:pt x="492" y="167"/>
                    <a:pt x="513" y="165"/>
                    <a:pt x="535" y="159"/>
                  </a:cubicBezTo>
                  <a:cubicBezTo>
                    <a:pt x="555" y="154"/>
                    <a:pt x="575" y="147"/>
                    <a:pt x="595" y="139"/>
                  </a:cubicBezTo>
                  <a:cubicBezTo>
                    <a:pt x="649" y="123"/>
                    <a:pt x="649" y="45"/>
                    <a:pt x="595" y="28"/>
                  </a:cubicBezTo>
                  <a:lnTo>
                    <a:pt x="538" y="9"/>
                  </a:lnTo>
                  <a:cubicBezTo>
                    <a:pt x="518" y="4"/>
                    <a:pt x="498" y="1"/>
                    <a:pt x="478" y="1"/>
                  </a:cubicBezTo>
                  <a:cubicBezTo>
                    <a:pt x="472" y="1"/>
                    <a:pt x="467" y="1"/>
                    <a:pt x="462" y="1"/>
                  </a:cubicBezTo>
                  <a:cubicBezTo>
                    <a:pt x="420" y="0"/>
                    <a:pt x="377" y="0"/>
                    <a:pt x="33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6" name="Google Shape;66;p6"/>
            <p:cNvSpPr/>
            <p:nvPr/>
          </p:nvSpPr>
          <p:spPr>
            <a:xfrm>
              <a:off x="4958550" y="1363500"/>
              <a:ext cx="9700" cy="4550"/>
            </a:xfrm>
            <a:custGeom>
              <a:avLst/>
              <a:gdLst/>
              <a:ahLst/>
              <a:cxnLst/>
              <a:rect l="l" t="t" r="r" b="b"/>
              <a:pathLst>
                <a:path w="388" h="182" extrusionOk="0">
                  <a:moveTo>
                    <a:pt x="90" y="0"/>
                  </a:moveTo>
                  <a:cubicBezTo>
                    <a:pt x="40" y="1"/>
                    <a:pt x="0" y="42"/>
                    <a:pt x="0" y="91"/>
                  </a:cubicBezTo>
                  <a:cubicBezTo>
                    <a:pt x="1" y="141"/>
                    <a:pt x="40" y="181"/>
                    <a:pt x="90" y="182"/>
                  </a:cubicBezTo>
                  <a:lnTo>
                    <a:pt x="90" y="181"/>
                  </a:lnTo>
                  <a:lnTo>
                    <a:pt x="160" y="180"/>
                  </a:lnTo>
                  <a:lnTo>
                    <a:pt x="197" y="180"/>
                  </a:lnTo>
                  <a:cubicBezTo>
                    <a:pt x="208" y="180"/>
                    <a:pt x="219" y="178"/>
                    <a:pt x="230" y="174"/>
                  </a:cubicBezTo>
                  <a:cubicBezTo>
                    <a:pt x="236" y="172"/>
                    <a:pt x="241" y="170"/>
                    <a:pt x="248" y="168"/>
                  </a:cubicBezTo>
                  <a:cubicBezTo>
                    <a:pt x="294" y="154"/>
                    <a:pt x="388" y="161"/>
                    <a:pt x="388" y="91"/>
                  </a:cubicBezTo>
                  <a:cubicBezTo>
                    <a:pt x="387" y="64"/>
                    <a:pt x="369" y="42"/>
                    <a:pt x="344" y="33"/>
                  </a:cubicBezTo>
                  <a:cubicBezTo>
                    <a:pt x="333" y="30"/>
                    <a:pt x="323" y="27"/>
                    <a:pt x="312" y="26"/>
                  </a:cubicBezTo>
                  <a:cubicBezTo>
                    <a:pt x="290" y="23"/>
                    <a:pt x="269" y="18"/>
                    <a:pt x="248" y="13"/>
                  </a:cubicBezTo>
                  <a:cubicBezTo>
                    <a:pt x="241" y="11"/>
                    <a:pt x="236" y="9"/>
                    <a:pt x="230" y="7"/>
                  </a:cubicBezTo>
                  <a:cubicBezTo>
                    <a:pt x="219" y="4"/>
                    <a:pt x="208" y="1"/>
                    <a:pt x="197" y="1"/>
                  </a:cubicBezTo>
                  <a:lnTo>
                    <a:pt x="162" y="1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7" name="Google Shape;67;p6"/>
            <p:cNvSpPr/>
            <p:nvPr/>
          </p:nvSpPr>
          <p:spPr>
            <a:xfrm>
              <a:off x="5079800" y="1221025"/>
              <a:ext cx="15625" cy="4950"/>
            </a:xfrm>
            <a:custGeom>
              <a:avLst/>
              <a:gdLst/>
              <a:ahLst/>
              <a:cxnLst/>
              <a:rect l="l" t="t" r="r" b="b"/>
              <a:pathLst>
                <a:path w="625" h="198" extrusionOk="0">
                  <a:moveTo>
                    <a:pt x="467" y="45"/>
                  </a:moveTo>
                  <a:cubicBezTo>
                    <a:pt x="469" y="46"/>
                    <a:pt x="471" y="47"/>
                    <a:pt x="473" y="47"/>
                  </a:cubicBezTo>
                  <a:cubicBezTo>
                    <a:pt x="470" y="46"/>
                    <a:pt x="468" y="45"/>
                    <a:pt x="467" y="45"/>
                  </a:cubicBezTo>
                  <a:close/>
                  <a:moveTo>
                    <a:pt x="388" y="179"/>
                  </a:moveTo>
                  <a:lnTo>
                    <a:pt x="388" y="179"/>
                  </a:lnTo>
                  <a:cubicBezTo>
                    <a:pt x="388" y="179"/>
                    <a:pt x="389" y="179"/>
                    <a:pt x="391" y="180"/>
                  </a:cubicBezTo>
                  <a:lnTo>
                    <a:pt x="391" y="180"/>
                  </a:lnTo>
                  <a:cubicBezTo>
                    <a:pt x="389" y="179"/>
                    <a:pt x="388" y="179"/>
                    <a:pt x="388" y="179"/>
                  </a:cubicBezTo>
                  <a:close/>
                  <a:moveTo>
                    <a:pt x="235" y="1"/>
                  </a:moveTo>
                  <a:cubicBezTo>
                    <a:pt x="230" y="1"/>
                    <a:pt x="224" y="1"/>
                    <a:pt x="218" y="1"/>
                  </a:cubicBezTo>
                  <a:cubicBezTo>
                    <a:pt x="171" y="3"/>
                    <a:pt x="122" y="8"/>
                    <a:pt x="76" y="17"/>
                  </a:cubicBezTo>
                  <a:cubicBezTo>
                    <a:pt x="30" y="25"/>
                    <a:pt x="1" y="82"/>
                    <a:pt x="15" y="124"/>
                  </a:cubicBezTo>
                  <a:cubicBezTo>
                    <a:pt x="26" y="162"/>
                    <a:pt x="62" y="188"/>
                    <a:pt x="101" y="188"/>
                  </a:cubicBezTo>
                  <a:cubicBezTo>
                    <a:pt x="108" y="188"/>
                    <a:pt x="115" y="187"/>
                    <a:pt x="122" y="185"/>
                  </a:cubicBezTo>
                  <a:lnTo>
                    <a:pt x="122" y="184"/>
                  </a:lnTo>
                  <a:cubicBezTo>
                    <a:pt x="132" y="182"/>
                    <a:pt x="141" y="180"/>
                    <a:pt x="151" y="179"/>
                  </a:cubicBezTo>
                  <a:cubicBezTo>
                    <a:pt x="151" y="179"/>
                    <a:pt x="152" y="179"/>
                    <a:pt x="154" y="179"/>
                  </a:cubicBezTo>
                  <a:lnTo>
                    <a:pt x="154" y="179"/>
                  </a:lnTo>
                  <a:cubicBezTo>
                    <a:pt x="157" y="178"/>
                    <a:pt x="161" y="178"/>
                    <a:pt x="162" y="178"/>
                  </a:cubicBezTo>
                  <a:cubicBezTo>
                    <a:pt x="182" y="176"/>
                    <a:pt x="201" y="175"/>
                    <a:pt x="221" y="174"/>
                  </a:cubicBezTo>
                  <a:cubicBezTo>
                    <a:pt x="237" y="173"/>
                    <a:pt x="254" y="173"/>
                    <a:pt x="270" y="173"/>
                  </a:cubicBezTo>
                  <a:cubicBezTo>
                    <a:pt x="293" y="173"/>
                    <a:pt x="316" y="174"/>
                    <a:pt x="338" y="175"/>
                  </a:cubicBezTo>
                  <a:cubicBezTo>
                    <a:pt x="356" y="176"/>
                    <a:pt x="375" y="180"/>
                    <a:pt x="393" y="180"/>
                  </a:cubicBezTo>
                  <a:lnTo>
                    <a:pt x="393" y="180"/>
                  </a:lnTo>
                  <a:cubicBezTo>
                    <a:pt x="393" y="180"/>
                    <a:pt x="393" y="180"/>
                    <a:pt x="393" y="180"/>
                  </a:cubicBezTo>
                  <a:cubicBezTo>
                    <a:pt x="401" y="182"/>
                    <a:pt x="409" y="183"/>
                    <a:pt x="417" y="183"/>
                  </a:cubicBezTo>
                  <a:cubicBezTo>
                    <a:pt x="420" y="183"/>
                    <a:pt x="423" y="182"/>
                    <a:pt x="426" y="182"/>
                  </a:cubicBezTo>
                  <a:cubicBezTo>
                    <a:pt x="429" y="182"/>
                    <a:pt x="433" y="181"/>
                    <a:pt x="436" y="181"/>
                  </a:cubicBezTo>
                  <a:cubicBezTo>
                    <a:pt x="431" y="180"/>
                    <a:pt x="429" y="180"/>
                    <a:pt x="429" y="180"/>
                  </a:cubicBezTo>
                  <a:lnTo>
                    <a:pt x="429" y="180"/>
                  </a:lnTo>
                  <a:cubicBezTo>
                    <a:pt x="430" y="180"/>
                    <a:pt x="431" y="180"/>
                    <a:pt x="432" y="180"/>
                  </a:cubicBezTo>
                  <a:lnTo>
                    <a:pt x="438" y="181"/>
                  </a:lnTo>
                  <a:cubicBezTo>
                    <a:pt x="462" y="185"/>
                    <a:pt x="484" y="191"/>
                    <a:pt x="507" y="193"/>
                  </a:cubicBezTo>
                  <a:cubicBezTo>
                    <a:pt x="527" y="194"/>
                    <a:pt x="546" y="195"/>
                    <a:pt x="565" y="197"/>
                  </a:cubicBezTo>
                  <a:cubicBezTo>
                    <a:pt x="566" y="197"/>
                    <a:pt x="568" y="197"/>
                    <a:pt x="569" y="197"/>
                  </a:cubicBezTo>
                  <a:cubicBezTo>
                    <a:pt x="604" y="197"/>
                    <a:pt x="624" y="143"/>
                    <a:pt x="597" y="120"/>
                  </a:cubicBezTo>
                  <a:cubicBezTo>
                    <a:pt x="579" y="105"/>
                    <a:pt x="561" y="90"/>
                    <a:pt x="541" y="78"/>
                  </a:cubicBezTo>
                  <a:cubicBezTo>
                    <a:pt x="522" y="65"/>
                    <a:pt x="500" y="56"/>
                    <a:pt x="477" y="49"/>
                  </a:cubicBezTo>
                  <a:lnTo>
                    <a:pt x="469" y="46"/>
                  </a:lnTo>
                  <a:cubicBezTo>
                    <a:pt x="467" y="45"/>
                    <a:pt x="466" y="45"/>
                    <a:pt x="467" y="45"/>
                  </a:cubicBezTo>
                  <a:lnTo>
                    <a:pt x="467" y="45"/>
                  </a:lnTo>
                  <a:cubicBezTo>
                    <a:pt x="467" y="45"/>
                    <a:pt x="467" y="45"/>
                    <a:pt x="467" y="45"/>
                  </a:cubicBezTo>
                  <a:lnTo>
                    <a:pt x="467" y="45"/>
                  </a:lnTo>
                  <a:cubicBezTo>
                    <a:pt x="465" y="43"/>
                    <a:pt x="462" y="41"/>
                    <a:pt x="461" y="40"/>
                  </a:cubicBezTo>
                  <a:cubicBezTo>
                    <a:pt x="448" y="32"/>
                    <a:pt x="433" y="27"/>
                    <a:pt x="417" y="24"/>
                  </a:cubicBezTo>
                  <a:cubicBezTo>
                    <a:pt x="398" y="19"/>
                    <a:pt x="378" y="14"/>
                    <a:pt x="357" y="11"/>
                  </a:cubicBezTo>
                  <a:cubicBezTo>
                    <a:pt x="318" y="4"/>
                    <a:pt x="276" y="1"/>
                    <a:pt x="23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8810016"/>
      </p:ext>
    </p:extLst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ctrTitle"/>
          </p:nvPr>
        </p:nvSpPr>
        <p:spPr>
          <a:xfrm flipH="1">
            <a:off x="958000" y="4008933"/>
            <a:ext cx="6001600" cy="1394800"/>
          </a:xfrm>
          <a:prstGeom prst="rect">
            <a:avLst/>
          </a:prstGeom>
        </p:spPr>
        <p:txBody>
          <a:bodyPr spcFirstLastPara="1" wrap="square" lIns="91425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subTitle" idx="1"/>
          </p:nvPr>
        </p:nvSpPr>
        <p:spPr>
          <a:xfrm flipH="1">
            <a:off x="956800" y="5239833"/>
            <a:ext cx="6001600" cy="85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8"/>
          <p:cNvSpPr txBox="1">
            <a:spLocks noGrp="1"/>
          </p:cNvSpPr>
          <p:nvPr>
            <p:ph type="title"/>
          </p:nvPr>
        </p:nvSpPr>
        <p:spPr>
          <a:xfrm>
            <a:off x="3236600" y="2056400"/>
            <a:ext cx="5718800" cy="2745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grpSp>
        <p:nvGrpSpPr>
          <p:cNvPr id="73" name="Google Shape;73;p8"/>
          <p:cNvGrpSpPr/>
          <p:nvPr/>
        </p:nvGrpSpPr>
        <p:grpSpPr>
          <a:xfrm rot="367901">
            <a:off x="3611500" y="-716311"/>
            <a:ext cx="9067003" cy="2372147"/>
            <a:chOff x="3270900" y="2843975"/>
            <a:chExt cx="1469475" cy="375975"/>
          </a:xfrm>
        </p:grpSpPr>
        <p:sp>
          <p:nvSpPr>
            <p:cNvPr id="74" name="Google Shape;74;p8"/>
            <p:cNvSpPr/>
            <p:nvPr/>
          </p:nvSpPr>
          <p:spPr>
            <a:xfrm>
              <a:off x="3270900" y="2843975"/>
              <a:ext cx="1469475" cy="375975"/>
            </a:xfrm>
            <a:custGeom>
              <a:avLst/>
              <a:gdLst/>
              <a:ahLst/>
              <a:cxnLst/>
              <a:rect l="l" t="t" r="r" b="b"/>
              <a:pathLst>
                <a:path w="58779" h="15039" extrusionOk="0">
                  <a:moveTo>
                    <a:pt x="40" y="251"/>
                  </a:moveTo>
                  <a:cubicBezTo>
                    <a:pt x="0" y="251"/>
                    <a:pt x="108" y="313"/>
                    <a:pt x="425" y="472"/>
                  </a:cubicBezTo>
                  <a:cubicBezTo>
                    <a:pt x="883" y="701"/>
                    <a:pt x="1509" y="808"/>
                    <a:pt x="2169" y="870"/>
                  </a:cubicBezTo>
                  <a:lnTo>
                    <a:pt x="2169" y="870"/>
                  </a:lnTo>
                  <a:cubicBezTo>
                    <a:pt x="1206" y="656"/>
                    <a:pt x="142" y="251"/>
                    <a:pt x="40" y="251"/>
                  </a:cubicBezTo>
                  <a:close/>
                  <a:moveTo>
                    <a:pt x="10025" y="1"/>
                  </a:moveTo>
                  <a:cubicBezTo>
                    <a:pt x="9252" y="1"/>
                    <a:pt x="8347" y="54"/>
                    <a:pt x="7228" y="181"/>
                  </a:cubicBezTo>
                  <a:cubicBezTo>
                    <a:pt x="5795" y="343"/>
                    <a:pt x="4856" y="538"/>
                    <a:pt x="3475" y="957"/>
                  </a:cubicBezTo>
                  <a:lnTo>
                    <a:pt x="3475" y="957"/>
                  </a:lnTo>
                  <a:cubicBezTo>
                    <a:pt x="3050" y="932"/>
                    <a:pt x="2602" y="911"/>
                    <a:pt x="2169" y="870"/>
                  </a:cubicBezTo>
                  <a:lnTo>
                    <a:pt x="2169" y="870"/>
                  </a:lnTo>
                  <a:cubicBezTo>
                    <a:pt x="2516" y="947"/>
                    <a:pt x="2850" y="1000"/>
                    <a:pt x="3121" y="1000"/>
                  </a:cubicBezTo>
                  <a:cubicBezTo>
                    <a:pt x="3256" y="1000"/>
                    <a:pt x="3376" y="987"/>
                    <a:pt x="3474" y="957"/>
                  </a:cubicBezTo>
                  <a:cubicBezTo>
                    <a:pt x="3474" y="957"/>
                    <a:pt x="3475" y="957"/>
                    <a:pt x="3475" y="957"/>
                  </a:cubicBezTo>
                  <a:lnTo>
                    <a:pt x="3475" y="957"/>
                  </a:lnTo>
                  <a:cubicBezTo>
                    <a:pt x="3921" y="982"/>
                    <a:pt x="4343" y="1010"/>
                    <a:pt x="4696" y="1067"/>
                  </a:cubicBezTo>
                  <a:cubicBezTo>
                    <a:pt x="6111" y="1291"/>
                    <a:pt x="7522" y="1547"/>
                    <a:pt x="8918" y="1867"/>
                  </a:cubicBezTo>
                  <a:cubicBezTo>
                    <a:pt x="11944" y="2558"/>
                    <a:pt x="14923" y="3538"/>
                    <a:pt x="17647" y="5046"/>
                  </a:cubicBezTo>
                  <a:cubicBezTo>
                    <a:pt x="21049" y="6930"/>
                    <a:pt x="23627" y="7708"/>
                    <a:pt x="26956" y="9717"/>
                  </a:cubicBezTo>
                  <a:cubicBezTo>
                    <a:pt x="33431" y="13626"/>
                    <a:pt x="41225" y="15038"/>
                    <a:pt x="48933" y="15038"/>
                  </a:cubicBezTo>
                  <a:cubicBezTo>
                    <a:pt x="51669" y="15038"/>
                    <a:pt x="54395" y="14860"/>
                    <a:pt x="57046" y="14552"/>
                  </a:cubicBezTo>
                  <a:cubicBezTo>
                    <a:pt x="57853" y="14459"/>
                    <a:pt x="58778" y="13851"/>
                    <a:pt x="58687" y="13045"/>
                  </a:cubicBezTo>
                  <a:cubicBezTo>
                    <a:pt x="58643" y="12668"/>
                    <a:pt x="58365" y="12363"/>
                    <a:pt x="58068" y="12126"/>
                  </a:cubicBezTo>
                  <a:cubicBezTo>
                    <a:pt x="56243" y="10673"/>
                    <a:pt x="53649" y="10981"/>
                    <a:pt x="51319" y="10871"/>
                  </a:cubicBezTo>
                  <a:cubicBezTo>
                    <a:pt x="49167" y="10768"/>
                    <a:pt x="47138" y="9869"/>
                    <a:pt x="44999" y="9606"/>
                  </a:cubicBezTo>
                  <a:cubicBezTo>
                    <a:pt x="33862" y="8232"/>
                    <a:pt x="26530" y="2093"/>
                    <a:pt x="18708" y="1371"/>
                  </a:cubicBezTo>
                  <a:cubicBezTo>
                    <a:pt x="14172" y="953"/>
                    <a:pt x="13284" y="1"/>
                    <a:pt x="1002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75" name="Google Shape;75;p8"/>
            <p:cNvSpPr/>
            <p:nvPr/>
          </p:nvSpPr>
          <p:spPr>
            <a:xfrm>
              <a:off x="3845125" y="2930600"/>
              <a:ext cx="13800" cy="4825"/>
            </a:xfrm>
            <a:custGeom>
              <a:avLst/>
              <a:gdLst/>
              <a:ahLst/>
              <a:cxnLst/>
              <a:rect l="l" t="t" r="r" b="b"/>
              <a:pathLst>
                <a:path w="552" h="193" extrusionOk="0">
                  <a:moveTo>
                    <a:pt x="480" y="0"/>
                  </a:moveTo>
                  <a:cubicBezTo>
                    <a:pt x="344" y="6"/>
                    <a:pt x="210" y="27"/>
                    <a:pt x="75" y="42"/>
                  </a:cubicBezTo>
                  <a:cubicBezTo>
                    <a:pt x="55" y="43"/>
                    <a:pt x="36" y="51"/>
                    <a:pt x="23" y="64"/>
                  </a:cubicBezTo>
                  <a:cubicBezTo>
                    <a:pt x="9" y="78"/>
                    <a:pt x="0" y="97"/>
                    <a:pt x="0" y="117"/>
                  </a:cubicBezTo>
                  <a:cubicBezTo>
                    <a:pt x="2" y="152"/>
                    <a:pt x="31" y="192"/>
                    <a:pt x="70" y="192"/>
                  </a:cubicBezTo>
                  <a:cubicBezTo>
                    <a:pt x="71" y="192"/>
                    <a:pt x="73" y="192"/>
                    <a:pt x="75" y="192"/>
                  </a:cubicBezTo>
                  <a:cubicBezTo>
                    <a:pt x="218" y="178"/>
                    <a:pt x="359" y="168"/>
                    <a:pt x="499" y="144"/>
                  </a:cubicBezTo>
                  <a:cubicBezTo>
                    <a:pt x="533" y="137"/>
                    <a:pt x="550" y="103"/>
                    <a:pt x="552" y="73"/>
                  </a:cubicBezTo>
                  <a:cubicBezTo>
                    <a:pt x="552" y="67"/>
                    <a:pt x="552" y="60"/>
                    <a:pt x="550" y="54"/>
                  </a:cubicBezTo>
                  <a:cubicBezTo>
                    <a:pt x="540" y="22"/>
                    <a:pt x="512" y="1"/>
                    <a:pt x="48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76" name="Google Shape;76;p8"/>
            <p:cNvSpPr/>
            <p:nvPr/>
          </p:nvSpPr>
          <p:spPr>
            <a:xfrm>
              <a:off x="3855900" y="2919575"/>
              <a:ext cx="10825" cy="5700"/>
            </a:xfrm>
            <a:custGeom>
              <a:avLst/>
              <a:gdLst/>
              <a:ahLst/>
              <a:cxnLst/>
              <a:rect l="l" t="t" r="r" b="b"/>
              <a:pathLst>
                <a:path w="433" h="228" extrusionOk="0">
                  <a:moveTo>
                    <a:pt x="128" y="203"/>
                  </a:moveTo>
                  <a:cubicBezTo>
                    <a:pt x="126" y="204"/>
                    <a:pt x="126" y="204"/>
                    <a:pt x="126" y="204"/>
                  </a:cubicBezTo>
                  <a:cubicBezTo>
                    <a:pt x="126" y="204"/>
                    <a:pt x="127" y="204"/>
                    <a:pt x="128" y="203"/>
                  </a:cubicBezTo>
                  <a:close/>
                  <a:moveTo>
                    <a:pt x="302" y="0"/>
                  </a:moveTo>
                  <a:cubicBezTo>
                    <a:pt x="267" y="3"/>
                    <a:pt x="235" y="8"/>
                    <a:pt x="202" y="17"/>
                  </a:cubicBezTo>
                  <a:cubicBezTo>
                    <a:pt x="138" y="36"/>
                    <a:pt x="79" y="68"/>
                    <a:pt x="28" y="111"/>
                  </a:cubicBezTo>
                  <a:cubicBezTo>
                    <a:pt x="1" y="134"/>
                    <a:pt x="3" y="184"/>
                    <a:pt x="28" y="208"/>
                  </a:cubicBezTo>
                  <a:cubicBezTo>
                    <a:pt x="41" y="221"/>
                    <a:pt x="58" y="227"/>
                    <a:pt x="76" y="227"/>
                  </a:cubicBezTo>
                  <a:cubicBezTo>
                    <a:pt x="93" y="227"/>
                    <a:pt x="110" y="221"/>
                    <a:pt x="124" y="208"/>
                  </a:cubicBezTo>
                  <a:lnTo>
                    <a:pt x="123" y="206"/>
                  </a:lnTo>
                  <a:cubicBezTo>
                    <a:pt x="126" y="204"/>
                    <a:pt x="128" y="202"/>
                    <a:pt x="131" y="200"/>
                  </a:cubicBezTo>
                  <a:lnTo>
                    <a:pt x="131" y="200"/>
                  </a:lnTo>
                  <a:cubicBezTo>
                    <a:pt x="131" y="200"/>
                    <a:pt x="129" y="202"/>
                    <a:pt x="128" y="203"/>
                  </a:cubicBezTo>
                  <a:lnTo>
                    <a:pt x="128" y="203"/>
                  </a:lnTo>
                  <a:cubicBezTo>
                    <a:pt x="128" y="203"/>
                    <a:pt x="129" y="202"/>
                    <a:pt x="129" y="202"/>
                  </a:cubicBezTo>
                  <a:cubicBezTo>
                    <a:pt x="135" y="198"/>
                    <a:pt x="140" y="194"/>
                    <a:pt x="145" y="190"/>
                  </a:cubicBezTo>
                  <a:cubicBezTo>
                    <a:pt x="156" y="183"/>
                    <a:pt x="167" y="177"/>
                    <a:pt x="179" y="170"/>
                  </a:cubicBezTo>
                  <a:cubicBezTo>
                    <a:pt x="184" y="167"/>
                    <a:pt x="190" y="165"/>
                    <a:pt x="197" y="162"/>
                  </a:cubicBezTo>
                  <a:cubicBezTo>
                    <a:pt x="197" y="161"/>
                    <a:pt x="198" y="161"/>
                    <a:pt x="199" y="161"/>
                  </a:cubicBezTo>
                  <a:lnTo>
                    <a:pt x="199" y="161"/>
                  </a:lnTo>
                  <a:cubicBezTo>
                    <a:pt x="199" y="161"/>
                    <a:pt x="199" y="161"/>
                    <a:pt x="199" y="161"/>
                  </a:cubicBezTo>
                  <a:cubicBezTo>
                    <a:pt x="200" y="161"/>
                    <a:pt x="201" y="160"/>
                    <a:pt x="203" y="159"/>
                  </a:cubicBezTo>
                  <a:lnTo>
                    <a:pt x="203" y="159"/>
                  </a:lnTo>
                  <a:cubicBezTo>
                    <a:pt x="202" y="160"/>
                    <a:pt x="200" y="160"/>
                    <a:pt x="199" y="161"/>
                  </a:cubicBezTo>
                  <a:lnTo>
                    <a:pt x="199" y="161"/>
                  </a:lnTo>
                  <a:cubicBezTo>
                    <a:pt x="199" y="161"/>
                    <a:pt x="200" y="160"/>
                    <a:pt x="203" y="159"/>
                  </a:cubicBezTo>
                  <a:cubicBezTo>
                    <a:pt x="204" y="158"/>
                    <a:pt x="204" y="158"/>
                    <a:pt x="205" y="158"/>
                  </a:cubicBezTo>
                  <a:lnTo>
                    <a:pt x="205" y="158"/>
                  </a:lnTo>
                  <a:cubicBezTo>
                    <a:pt x="205" y="158"/>
                    <a:pt x="204" y="159"/>
                    <a:pt x="203" y="159"/>
                  </a:cubicBezTo>
                  <a:lnTo>
                    <a:pt x="203" y="159"/>
                  </a:lnTo>
                  <a:cubicBezTo>
                    <a:pt x="204" y="159"/>
                    <a:pt x="205" y="158"/>
                    <a:pt x="205" y="158"/>
                  </a:cubicBezTo>
                  <a:lnTo>
                    <a:pt x="205" y="158"/>
                  </a:lnTo>
                  <a:cubicBezTo>
                    <a:pt x="217" y="153"/>
                    <a:pt x="230" y="149"/>
                    <a:pt x="242" y="146"/>
                  </a:cubicBezTo>
                  <a:cubicBezTo>
                    <a:pt x="256" y="142"/>
                    <a:pt x="267" y="140"/>
                    <a:pt x="280" y="136"/>
                  </a:cubicBezTo>
                  <a:lnTo>
                    <a:pt x="300" y="133"/>
                  </a:lnTo>
                  <a:lnTo>
                    <a:pt x="303" y="133"/>
                  </a:lnTo>
                  <a:cubicBezTo>
                    <a:pt x="300" y="134"/>
                    <a:pt x="299" y="134"/>
                    <a:pt x="299" y="134"/>
                  </a:cubicBezTo>
                  <a:cubicBezTo>
                    <a:pt x="299" y="134"/>
                    <a:pt x="305" y="133"/>
                    <a:pt x="306" y="133"/>
                  </a:cubicBezTo>
                  <a:cubicBezTo>
                    <a:pt x="319" y="132"/>
                    <a:pt x="333" y="131"/>
                    <a:pt x="345" y="131"/>
                  </a:cubicBezTo>
                  <a:cubicBezTo>
                    <a:pt x="348" y="131"/>
                    <a:pt x="350" y="131"/>
                    <a:pt x="352" y="131"/>
                  </a:cubicBezTo>
                  <a:cubicBezTo>
                    <a:pt x="362" y="131"/>
                    <a:pt x="373" y="129"/>
                    <a:pt x="382" y="126"/>
                  </a:cubicBezTo>
                  <a:cubicBezTo>
                    <a:pt x="391" y="123"/>
                    <a:pt x="398" y="120"/>
                    <a:pt x="405" y="116"/>
                  </a:cubicBezTo>
                  <a:cubicBezTo>
                    <a:pt x="422" y="106"/>
                    <a:pt x="433" y="88"/>
                    <a:pt x="432" y="69"/>
                  </a:cubicBezTo>
                  <a:cubicBezTo>
                    <a:pt x="432" y="49"/>
                    <a:pt x="421" y="32"/>
                    <a:pt x="405" y="22"/>
                  </a:cubicBezTo>
                  <a:cubicBezTo>
                    <a:pt x="398" y="16"/>
                    <a:pt x="391" y="11"/>
                    <a:pt x="382" y="8"/>
                  </a:cubicBezTo>
                  <a:cubicBezTo>
                    <a:pt x="370" y="4"/>
                    <a:pt x="357" y="0"/>
                    <a:pt x="34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77" name="Google Shape;77;p8"/>
            <p:cNvSpPr/>
            <p:nvPr/>
          </p:nvSpPr>
          <p:spPr>
            <a:xfrm>
              <a:off x="4065050" y="3127375"/>
              <a:ext cx="26350" cy="6400"/>
            </a:xfrm>
            <a:custGeom>
              <a:avLst/>
              <a:gdLst/>
              <a:ahLst/>
              <a:cxnLst/>
              <a:rect l="l" t="t" r="r" b="b"/>
              <a:pathLst>
                <a:path w="1054" h="256" extrusionOk="0">
                  <a:moveTo>
                    <a:pt x="893" y="3"/>
                  </a:moveTo>
                  <a:cubicBezTo>
                    <a:pt x="864" y="4"/>
                    <a:pt x="836" y="6"/>
                    <a:pt x="807" y="9"/>
                  </a:cubicBezTo>
                  <a:cubicBezTo>
                    <a:pt x="750" y="14"/>
                    <a:pt x="694" y="20"/>
                    <a:pt x="637" y="26"/>
                  </a:cubicBezTo>
                  <a:lnTo>
                    <a:pt x="295" y="63"/>
                  </a:lnTo>
                  <a:cubicBezTo>
                    <a:pt x="258" y="67"/>
                    <a:pt x="220" y="70"/>
                    <a:pt x="183" y="77"/>
                  </a:cubicBezTo>
                  <a:cubicBezTo>
                    <a:pt x="150" y="83"/>
                    <a:pt x="119" y="90"/>
                    <a:pt x="88" y="100"/>
                  </a:cubicBezTo>
                  <a:cubicBezTo>
                    <a:pt x="1" y="124"/>
                    <a:pt x="19" y="253"/>
                    <a:pt x="109" y="253"/>
                  </a:cubicBezTo>
                  <a:lnTo>
                    <a:pt x="128" y="254"/>
                  </a:lnTo>
                  <a:lnTo>
                    <a:pt x="143" y="254"/>
                  </a:lnTo>
                  <a:cubicBezTo>
                    <a:pt x="125" y="254"/>
                    <a:pt x="162" y="256"/>
                    <a:pt x="161" y="256"/>
                  </a:cubicBezTo>
                  <a:lnTo>
                    <a:pt x="194" y="256"/>
                  </a:lnTo>
                  <a:cubicBezTo>
                    <a:pt x="222" y="256"/>
                    <a:pt x="251" y="251"/>
                    <a:pt x="279" y="247"/>
                  </a:cubicBezTo>
                  <a:lnTo>
                    <a:pt x="449" y="230"/>
                  </a:lnTo>
                  <a:cubicBezTo>
                    <a:pt x="563" y="217"/>
                    <a:pt x="678" y="205"/>
                    <a:pt x="791" y="191"/>
                  </a:cubicBezTo>
                  <a:cubicBezTo>
                    <a:pt x="828" y="186"/>
                    <a:pt x="866" y="184"/>
                    <a:pt x="902" y="177"/>
                  </a:cubicBezTo>
                  <a:cubicBezTo>
                    <a:pt x="918" y="174"/>
                    <a:pt x="932" y="169"/>
                    <a:pt x="946" y="166"/>
                  </a:cubicBezTo>
                  <a:cubicBezTo>
                    <a:pt x="955" y="164"/>
                    <a:pt x="963" y="162"/>
                    <a:pt x="972" y="160"/>
                  </a:cubicBezTo>
                  <a:cubicBezTo>
                    <a:pt x="989" y="155"/>
                    <a:pt x="1004" y="146"/>
                    <a:pt x="1017" y="135"/>
                  </a:cubicBezTo>
                  <a:cubicBezTo>
                    <a:pt x="1054" y="106"/>
                    <a:pt x="1042" y="38"/>
                    <a:pt x="1002" y="18"/>
                  </a:cubicBezTo>
                  <a:cubicBezTo>
                    <a:pt x="967" y="1"/>
                    <a:pt x="930" y="4"/>
                    <a:pt x="893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78" name="Google Shape;78;p8"/>
            <p:cNvSpPr/>
            <p:nvPr/>
          </p:nvSpPr>
          <p:spPr>
            <a:xfrm>
              <a:off x="4439100" y="3121250"/>
              <a:ext cx="21650" cy="7400"/>
            </a:xfrm>
            <a:custGeom>
              <a:avLst/>
              <a:gdLst/>
              <a:ahLst/>
              <a:cxnLst/>
              <a:rect l="l" t="t" r="r" b="b"/>
              <a:pathLst>
                <a:path w="866" h="296" extrusionOk="0">
                  <a:moveTo>
                    <a:pt x="770" y="0"/>
                  </a:moveTo>
                  <a:cubicBezTo>
                    <a:pt x="750" y="1"/>
                    <a:pt x="730" y="4"/>
                    <a:pt x="711" y="10"/>
                  </a:cubicBezTo>
                  <a:lnTo>
                    <a:pt x="622" y="30"/>
                  </a:lnTo>
                  <a:lnTo>
                    <a:pt x="434" y="72"/>
                  </a:lnTo>
                  <a:lnTo>
                    <a:pt x="61" y="154"/>
                  </a:lnTo>
                  <a:cubicBezTo>
                    <a:pt x="23" y="166"/>
                    <a:pt x="1" y="205"/>
                    <a:pt x="11" y="243"/>
                  </a:cubicBezTo>
                  <a:cubicBezTo>
                    <a:pt x="20" y="275"/>
                    <a:pt x="49" y="295"/>
                    <a:pt x="81" y="295"/>
                  </a:cubicBezTo>
                  <a:cubicBezTo>
                    <a:pt x="87" y="295"/>
                    <a:pt x="93" y="295"/>
                    <a:pt x="99" y="293"/>
                  </a:cubicBezTo>
                  <a:lnTo>
                    <a:pt x="100" y="293"/>
                  </a:lnTo>
                  <a:lnTo>
                    <a:pt x="474" y="215"/>
                  </a:lnTo>
                  <a:lnTo>
                    <a:pt x="659" y="176"/>
                  </a:lnTo>
                  <a:lnTo>
                    <a:pt x="752" y="157"/>
                  </a:lnTo>
                  <a:cubicBezTo>
                    <a:pt x="771" y="154"/>
                    <a:pt x="790" y="149"/>
                    <a:pt x="807" y="139"/>
                  </a:cubicBezTo>
                  <a:cubicBezTo>
                    <a:pt x="826" y="128"/>
                    <a:pt x="841" y="111"/>
                    <a:pt x="851" y="92"/>
                  </a:cubicBezTo>
                  <a:cubicBezTo>
                    <a:pt x="865" y="69"/>
                    <a:pt x="857" y="38"/>
                    <a:pt x="833" y="23"/>
                  </a:cubicBezTo>
                  <a:cubicBezTo>
                    <a:pt x="814" y="10"/>
                    <a:pt x="793" y="2"/>
                    <a:pt x="7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79" name="Google Shape;79;p8"/>
            <p:cNvSpPr/>
            <p:nvPr/>
          </p:nvSpPr>
          <p:spPr>
            <a:xfrm>
              <a:off x="4463250" y="3129575"/>
              <a:ext cx="22075" cy="7975"/>
            </a:xfrm>
            <a:custGeom>
              <a:avLst/>
              <a:gdLst/>
              <a:ahLst/>
              <a:cxnLst/>
              <a:rect l="l" t="t" r="r" b="b"/>
              <a:pathLst>
                <a:path w="883" h="319" extrusionOk="0">
                  <a:moveTo>
                    <a:pt x="794" y="1"/>
                  </a:moveTo>
                  <a:cubicBezTo>
                    <a:pt x="768" y="1"/>
                    <a:pt x="742" y="8"/>
                    <a:pt x="717" y="14"/>
                  </a:cubicBezTo>
                  <a:cubicBezTo>
                    <a:pt x="685" y="21"/>
                    <a:pt x="653" y="31"/>
                    <a:pt x="622" y="39"/>
                  </a:cubicBezTo>
                  <a:cubicBezTo>
                    <a:pt x="561" y="56"/>
                    <a:pt x="500" y="73"/>
                    <a:pt x="439" y="91"/>
                  </a:cubicBezTo>
                  <a:cubicBezTo>
                    <a:pt x="379" y="108"/>
                    <a:pt x="318" y="125"/>
                    <a:pt x="258" y="145"/>
                  </a:cubicBezTo>
                  <a:lnTo>
                    <a:pt x="70" y="206"/>
                  </a:lnTo>
                  <a:cubicBezTo>
                    <a:pt x="0" y="222"/>
                    <a:pt x="20" y="319"/>
                    <a:pt x="81" y="319"/>
                  </a:cubicBezTo>
                  <a:cubicBezTo>
                    <a:pt x="87" y="319"/>
                    <a:pt x="93" y="318"/>
                    <a:pt x="100" y="316"/>
                  </a:cubicBezTo>
                  <a:lnTo>
                    <a:pt x="100" y="317"/>
                  </a:lnTo>
                  <a:lnTo>
                    <a:pt x="293" y="276"/>
                  </a:lnTo>
                  <a:cubicBezTo>
                    <a:pt x="356" y="264"/>
                    <a:pt x="417" y="248"/>
                    <a:pt x="478" y="233"/>
                  </a:cubicBezTo>
                  <a:cubicBezTo>
                    <a:pt x="539" y="219"/>
                    <a:pt x="601" y="204"/>
                    <a:pt x="662" y="188"/>
                  </a:cubicBezTo>
                  <a:cubicBezTo>
                    <a:pt x="694" y="179"/>
                    <a:pt x="727" y="172"/>
                    <a:pt x="757" y="163"/>
                  </a:cubicBezTo>
                  <a:cubicBezTo>
                    <a:pt x="798" y="150"/>
                    <a:pt x="847" y="140"/>
                    <a:pt x="867" y="99"/>
                  </a:cubicBezTo>
                  <a:cubicBezTo>
                    <a:pt x="883" y="70"/>
                    <a:pt x="873" y="33"/>
                    <a:pt x="845" y="15"/>
                  </a:cubicBezTo>
                  <a:cubicBezTo>
                    <a:pt x="829" y="4"/>
                    <a:pt x="812" y="1"/>
                    <a:pt x="79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80" name="Google Shape;80;p8"/>
            <p:cNvSpPr/>
            <p:nvPr/>
          </p:nvSpPr>
          <p:spPr>
            <a:xfrm>
              <a:off x="4088575" y="3140300"/>
              <a:ext cx="15225" cy="3725"/>
            </a:xfrm>
            <a:custGeom>
              <a:avLst/>
              <a:gdLst/>
              <a:ahLst/>
              <a:cxnLst/>
              <a:rect l="l" t="t" r="r" b="b"/>
              <a:pathLst>
                <a:path w="609" h="149" extrusionOk="0">
                  <a:moveTo>
                    <a:pt x="574" y="1"/>
                  </a:moveTo>
                  <a:cubicBezTo>
                    <a:pt x="553" y="1"/>
                    <a:pt x="534" y="8"/>
                    <a:pt x="514" y="14"/>
                  </a:cubicBezTo>
                  <a:cubicBezTo>
                    <a:pt x="492" y="19"/>
                    <a:pt x="471" y="25"/>
                    <a:pt x="449" y="31"/>
                  </a:cubicBezTo>
                  <a:cubicBezTo>
                    <a:pt x="406" y="44"/>
                    <a:pt x="362" y="54"/>
                    <a:pt x="316" y="62"/>
                  </a:cubicBezTo>
                  <a:cubicBezTo>
                    <a:pt x="250" y="73"/>
                    <a:pt x="184" y="78"/>
                    <a:pt x="117" y="78"/>
                  </a:cubicBezTo>
                  <a:cubicBezTo>
                    <a:pt x="94" y="78"/>
                    <a:pt x="71" y="78"/>
                    <a:pt x="49" y="76"/>
                  </a:cubicBezTo>
                  <a:cubicBezTo>
                    <a:pt x="48" y="76"/>
                    <a:pt x="47" y="76"/>
                    <a:pt x="46" y="76"/>
                  </a:cubicBezTo>
                  <a:cubicBezTo>
                    <a:pt x="0" y="76"/>
                    <a:pt x="0" y="146"/>
                    <a:pt x="46" y="146"/>
                  </a:cubicBezTo>
                  <a:cubicBezTo>
                    <a:pt x="47" y="146"/>
                    <a:pt x="48" y="146"/>
                    <a:pt x="49" y="146"/>
                  </a:cubicBezTo>
                  <a:cubicBezTo>
                    <a:pt x="77" y="148"/>
                    <a:pt x="106" y="149"/>
                    <a:pt x="135" y="149"/>
                  </a:cubicBezTo>
                  <a:cubicBezTo>
                    <a:pt x="200" y="149"/>
                    <a:pt x="266" y="144"/>
                    <a:pt x="330" y="134"/>
                  </a:cubicBezTo>
                  <a:cubicBezTo>
                    <a:pt x="377" y="127"/>
                    <a:pt x="422" y="118"/>
                    <a:pt x="467" y="106"/>
                  </a:cubicBezTo>
                  <a:cubicBezTo>
                    <a:pt x="488" y="99"/>
                    <a:pt x="509" y="92"/>
                    <a:pt x="530" y="84"/>
                  </a:cubicBezTo>
                  <a:cubicBezTo>
                    <a:pt x="553" y="75"/>
                    <a:pt x="582" y="68"/>
                    <a:pt x="597" y="48"/>
                  </a:cubicBezTo>
                  <a:cubicBezTo>
                    <a:pt x="608" y="34"/>
                    <a:pt x="608" y="6"/>
                    <a:pt x="585" y="1"/>
                  </a:cubicBezTo>
                  <a:cubicBezTo>
                    <a:pt x="582" y="1"/>
                    <a:pt x="578" y="1"/>
                    <a:pt x="57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oogle Shape;82;p9"/>
          <p:cNvGrpSpPr/>
          <p:nvPr/>
        </p:nvGrpSpPr>
        <p:grpSpPr>
          <a:xfrm>
            <a:off x="-1146400" y="-653112"/>
            <a:ext cx="8633368" cy="4623647"/>
            <a:chOff x="-859800" y="-489834"/>
            <a:chExt cx="6475026" cy="3467735"/>
          </a:xfrm>
        </p:grpSpPr>
        <p:sp>
          <p:nvSpPr>
            <p:cNvPr id="83" name="Google Shape;83;p9"/>
            <p:cNvSpPr/>
            <p:nvPr/>
          </p:nvSpPr>
          <p:spPr>
            <a:xfrm>
              <a:off x="-859800" y="-489834"/>
              <a:ext cx="6475026" cy="3467735"/>
            </a:xfrm>
            <a:custGeom>
              <a:avLst/>
              <a:gdLst/>
              <a:ahLst/>
              <a:cxnLst/>
              <a:rect l="l" t="t" r="r" b="b"/>
              <a:pathLst>
                <a:path w="40144" h="21499" extrusionOk="0">
                  <a:moveTo>
                    <a:pt x="37082" y="1"/>
                  </a:moveTo>
                  <a:cubicBezTo>
                    <a:pt x="37030" y="1"/>
                    <a:pt x="36980" y="3"/>
                    <a:pt x="36931" y="7"/>
                  </a:cubicBezTo>
                  <a:cubicBezTo>
                    <a:pt x="35241" y="146"/>
                    <a:pt x="34183" y="2200"/>
                    <a:pt x="32993" y="3189"/>
                  </a:cubicBezTo>
                  <a:cubicBezTo>
                    <a:pt x="30766" y="5040"/>
                    <a:pt x="27809" y="5923"/>
                    <a:pt x="25130" y="6891"/>
                  </a:cubicBezTo>
                  <a:cubicBezTo>
                    <a:pt x="19428" y="8949"/>
                    <a:pt x="13925" y="11546"/>
                    <a:pt x="8151" y="13394"/>
                  </a:cubicBezTo>
                  <a:cubicBezTo>
                    <a:pt x="6456" y="13936"/>
                    <a:pt x="4716" y="14423"/>
                    <a:pt x="3194" y="15346"/>
                  </a:cubicBezTo>
                  <a:cubicBezTo>
                    <a:pt x="1671" y="16271"/>
                    <a:pt x="361" y="17718"/>
                    <a:pt x="70" y="19475"/>
                  </a:cubicBezTo>
                  <a:cubicBezTo>
                    <a:pt x="6" y="19869"/>
                    <a:pt x="1" y="20307"/>
                    <a:pt x="236" y="20630"/>
                  </a:cubicBezTo>
                  <a:cubicBezTo>
                    <a:pt x="405" y="20866"/>
                    <a:pt x="676" y="21007"/>
                    <a:pt x="945" y="21115"/>
                  </a:cubicBezTo>
                  <a:cubicBezTo>
                    <a:pt x="1608" y="21382"/>
                    <a:pt x="2310" y="21498"/>
                    <a:pt x="3020" y="21498"/>
                  </a:cubicBezTo>
                  <a:cubicBezTo>
                    <a:pt x="4181" y="21498"/>
                    <a:pt x="5363" y="21188"/>
                    <a:pt x="6433" y="20718"/>
                  </a:cubicBezTo>
                  <a:cubicBezTo>
                    <a:pt x="8157" y="19961"/>
                    <a:pt x="9679" y="18818"/>
                    <a:pt x="11294" y="17848"/>
                  </a:cubicBezTo>
                  <a:cubicBezTo>
                    <a:pt x="15824" y="15125"/>
                    <a:pt x="21022" y="13783"/>
                    <a:pt x="25991" y="11988"/>
                  </a:cubicBezTo>
                  <a:cubicBezTo>
                    <a:pt x="30566" y="10335"/>
                    <a:pt x="35249" y="8146"/>
                    <a:pt x="38462" y="4366"/>
                  </a:cubicBezTo>
                  <a:cubicBezTo>
                    <a:pt x="39191" y="3509"/>
                    <a:pt x="40144" y="2493"/>
                    <a:pt x="39551" y="1320"/>
                  </a:cubicBezTo>
                  <a:cubicBezTo>
                    <a:pt x="39166" y="560"/>
                    <a:pt x="37955" y="1"/>
                    <a:pt x="37082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grpSp>
          <p:nvGrpSpPr>
            <p:cNvPr id="84" name="Google Shape;84;p9"/>
            <p:cNvGrpSpPr/>
            <p:nvPr/>
          </p:nvGrpSpPr>
          <p:grpSpPr>
            <a:xfrm>
              <a:off x="2219922" y="1563358"/>
              <a:ext cx="239200" cy="60809"/>
              <a:chOff x="2701150" y="1792225"/>
              <a:chExt cx="37075" cy="9425"/>
            </a:xfrm>
          </p:grpSpPr>
          <p:sp>
            <p:nvSpPr>
              <p:cNvPr id="85" name="Google Shape;85;p9"/>
              <p:cNvSpPr/>
              <p:nvPr/>
            </p:nvSpPr>
            <p:spPr>
              <a:xfrm>
                <a:off x="2701150" y="1792225"/>
                <a:ext cx="19100" cy="5050"/>
              </a:xfrm>
              <a:custGeom>
                <a:avLst/>
                <a:gdLst/>
                <a:ahLst/>
                <a:cxnLst/>
                <a:rect l="l" t="t" r="r" b="b"/>
                <a:pathLst>
                  <a:path w="764" h="202" extrusionOk="0">
                    <a:moveTo>
                      <a:pt x="673" y="1"/>
                    </a:moveTo>
                    <a:cubicBezTo>
                      <a:pt x="659" y="1"/>
                      <a:pt x="644" y="3"/>
                      <a:pt x="630" y="4"/>
                    </a:cubicBezTo>
                    <a:cubicBezTo>
                      <a:pt x="604" y="6"/>
                      <a:pt x="577" y="8"/>
                      <a:pt x="552" y="10"/>
                    </a:cubicBezTo>
                    <a:cubicBezTo>
                      <a:pt x="492" y="17"/>
                      <a:pt x="433" y="26"/>
                      <a:pt x="373" y="35"/>
                    </a:cubicBezTo>
                    <a:cubicBezTo>
                      <a:pt x="264" y="51"/>
                      <a:pt x="155" y="70"/>
                      <a:pt x="45" y="87"/>
                    </a:cubicBezTo>
                    <a:cubicBezTo>
                      <a:pt x="17" y="91"/>
                      <a:pt x="0" y="125"/>
                      <a:pt x="4" y="150"/>
                    </a:cubicBezTo>
                    <a:cubicBezTo>
                      <a:pt x="7" y="175"/>
                      <a:pt x="31" y="201"/>
                      <a:pt x="58" y="201"/>
                    </a:cubicBezTo>
                    <a:cubicBezTo>
                      <a:pt x="59" y="201"/>
                      <a:pt x="60" y="201"/>
                      <a:pt x="61" y="201"/>
                    </a:cubicBezTo>
                    <a:cubicBezTo>
                      <a:pt x="171" y="190"/>
                      <a:pt x="281" y="179"/>
                      <a:pt x="392" y="168"/>
                    </a:cubicBezTo>
                    <a:cubicBezTo>
                      <a:pt x="448" y="162"/>
                      <a:pt x="505" y="155"/>
                      <a:pt x="561" y="147"/>
                    </a:cubicBezTo>
                    <a:cubicBezTo>
                      <a:pt x="590" y="143"/>
                      <a:pt x="619" y="138"/>
                      <a:pt x="647" y="133"/>
                    </a:cubicBezTo>
                    <a:cubicBezTo>
                      <a:pt x="662" y="131"/>
                      <a:pt x="676" y="129"/>
                      <a:pt x="690" y="125"/>
                    </a:cubicBezTo>
                    <a:cubicBezTo>
                      <a:pt x="708" y="120"/>
                      <a:pt x="725" y="111"/>
                      <a:pt x="738" y="97"/>
                    </a:cubicBezTo>
                    <a:cubicBezTo>
                      <a:pt x="764" y="78"/>
                      <a:pt x="757" y="28"/>
                      <a:pt x="728" y="16"/>
                    </a:cubicBezTo>
                    <a:cubicBezTo>
                      <a:pt x="711" y="6"/>
                      <a:pt x="692" y="2"/>
                      <a:pt x="673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86" name="Google Shape;86;p9"/>
              <p:cNvSpPr/>
              <p:nvPr/>
            </p:nvSpPr>
            <p:spPr>
              <a:xfrm>
                <a:off x="2720900" y="1795025"/>
                <a:ext cx="17325" cy="6625"/>
              </a:xfrm>
              <a:custGeom>
                <a:avLst/>
                <a:gdLst/>
                <a:ahLst/>
                <a:cxnLst/>
                <a:rect l="l" t="t" r="r" b="b"/>
                <a:pathLst>
                  <a:path w="693" h="265" extrusionOk="0">
                    <a:moveTo>
                      <a:pt x="590" y="0"/>
                    </a:moveTo>
                    <a:cubicBezTo>
                      <a:pt x="573" y="3"/>
                      <a:pt x="557" y="5"/>
                      <a:pt x="541" y="10"/>
                    </a:cubicBezTo>
                    <a:lnTo>
                      <a:pt x="471" y="23"/>
                    </a:lnTo>
                    <a:cubicBezTo>
                      <a:pt x="426" y="34"/>
                      <a:pt x="380" y="43"/>
                      <a:pt x="335" y="54"/>
                    </a:cubicBezTo>
                    <a:lnTo>
                      <a:pt x="62" y="121"/>
                    </a:lnTo>
                    <a:cubicBezTo>
                      <a:pt x="23" y="133"/>
                      <a:pt x="0" y="172"/>
                      <a:pt x="11" y="211"/>
                    </a:cubicBezTo>
                    <a:cubicBezTo>
                      <a:pt x="20" y="244"/>
                      <a:pt x="51" y="265"/>
                      <a:pt x="83" y="265"/>
                    </a:cubicBezTo>
                    <a:cubicBezTo>
                      <a:pt x="89" y="265"/>
                      <a:pt x="94" y="264"/>
                      <a:pt x="100" y="263"/>
                    </a:cubicBezTo>
                    <a:lnTo>
                      <a:pt x="100" y="264"/>
                    </a:lnTo>
                    <a:lnTo>
                      <a:pt x="377" y="204"/>
                    </a:lnTo>
                    <a:cubicBezTo>
                      <a:pt x="423" y="195"/>
                      <a:pt x="468" y="185"/>
                      <a:pt x="512" y="173"/>
                    </a:cubicBezTo>
                    <a:lnTo>
                      <a:pt x="581" y="156"/>
                    </a:lnTo>
                    <a:cubicBezTo>
                      <a:pt x="608" y="150"/>
                      <a:pt x="633" y="139"/>
                      <a:pt x="656" y="124"/>
                    </a:cubicBezTo>
                    <a:cubicBezTo>
                      <a:pt x="680" y="109"/>
                      <a:pt x="692" y="79"/>
                      <a:pt x="685" y="51"/>
                    </a:cubicBezTo>
                    <a:cubicBezTo>
                      <a:pt x="676" y="25"/>
                      <a:pt x="652" y="6"/>
                      <a:pt x="624" y="5"/>
                    </a:cubicBezTo>
                    <a:cubicBezTo>
                      <a:pt x="613" y="3"/>
                      <a:pt x="601" y="2"/>
                      <a:pt x="59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87" name="Google Shape;87;p9"/>
            <p:cNvGrpSpPr/>
            <p:nvPr/>
          </p:nvGrpSpPr>
          <p:grpSpPr>
            <a:xfrm>
              <a:off x="3776397" y="509596"/>
              <a:ext cx="239200" cy="60809"/>
              <a:chOff x="2701150" y="1792225"/>
              <a:chExt cx="37075" cy="9425"/>
            </a:xfrm>
          </p:grpSpPr>
          <p:sp>
            <p:nvSpPr>
              <p:cNvPr id="88" name="Google Shape;88;p9"/>
              <p:cNvSpPr/>
              <p:nvPr/>
            </p:nvSpPr>
            <p:spPr>
              <a:xfrm>
                <a:off x="2701150" y="1792225"/>
                <a:ext cx="19100" cy="5050"/>
              </a:xfrm>
              <a:custGeom>
                <a:avLst/>
                <a:gdLst/>
                <a:ahLst/>
                <a:cxnLst/>
                <a:rect l="l" t="t" r="r" b="b"/>
                <a:pathLst>
                  <a:path w="764" h="202" extrusionOk="0">
                    <a:moveTo>
                      <a:pt x="673" y="1"/>
                    </a:moveTo>
                    <a:cubicBezTo>
                      <a:pt x="659" y="1"/>
                      <a:pt x="644" y="3"/>
                      <a:pt x="630" y="4"/>
                    </a:cubicBezTo>
                    <a:cubicBezTo>
                      <a:pt x="604" y="6"/>
                      <a:pt x="577" y="8"/>
                      <a:pt x="552" y="10"/>
                    </a:cubicBezTo>
                    <a:cubicBezTo>
                      <a:pt x="492" y="17"/>
                      <a:pt x="433" y="26"/>
                      <a:pt x="373" y="35"/>
                    </a:cubicBezTo>
                    <a:cubicBezTo>
                      <a:pt x="264" y="51"/>
                      <a:pt x="155" y="70"/>
                      <a:pt x="45" y="87"/>
                    </a:cubicBezTo>
                    <a:cubicBezTo>
                      <a:pt x="17" y="91"/>
                      <a:pt x="0" y="125"/>
                      <a:pt x="4" y="150"/>
                    </a:cubicBezTo>
                    <a:cubicBezTo>
                      <a:pt x="7" y="175"/>
                      <a:pt x="31" y="201"/>
                      <a:pt x="58" y="201"/>
                    </a:cubicBezTo>
                    <a:cubicBezTo>
                      <a:pt x="59" y="201"/>
                      <a:pt x="60" y="201"/>
                      <a:pt x="61" y="201"/>
                    </a:cubicBezTo>
                    <a:cubicBezTo>
                      <a:pt x="171" y="190"/>
                      <a:pt x="281" y="179"/>
                      <a:pt x="392" y="168"/>
                    </a:cubicBezTo>
                    <a:cubicBezTo>
                      <a:pt x="448" y="162"/>
                      <a:pt x="505" y="155"/>
                      <a:pt x="561" y="147"/>
                    </a:cubicBezTo>
                    <a:cubicBezTo>
                      <a:pt x="590" y="143"/>
                      <a:pt x="619" y="138"/>
                      <a:pt x="647" y="133"/>
                    </a:cubicBezTo>
                    <a:cubicBezTo>
                      <a:pt x="662" y="131"/>
                      <a:pt x="676" y="129"/>
                      <a:pt x="690" y="125"/>
                    </a:cubicBezTo>
                    <a:cubicBezTo>
                      <a:pt x="708" y="120"/>
                      <a:pt x="725" y="111"/>
                      <a:pt x="738" y="97"/>
                    </a:cubicBezTo>
                    <a:cubicBezTo>
                      <a:pt x="764" y="78"/>
                      <a:pt x="757" y="28"/>
                      <a:pt x="728" y="16"/>
                    </a:cubicBezTo>
                    <a:cubicBezTo>
                      <a:pt x="711" y="6"/>
                      <a:pt x="692" y="2"/>
                      <a:pt x="673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89" name="Google Shape;89;p9"/>
              <p:cNvSpPr/>
              <p:nvPr/>
            </p:nvSpPr>
            <p:spPr>
              <a:xfrm>
                <a:off x="2720900" y="1795025"/>
                <a:ext cx="17325" cy="6625"/>
              </a:xfrm>
              <a:custGeom>
                <a:avLst/>
                <a:gdLst/>
                <a:ahLst/>
                <a:cxnLst/>
                <a:rect l="l" t="t" r="r" b="b"/>
                <a:pathLst>
                  <a:path w="693" h="265" extrusionOk="0">
                    <a:moveTo>
                      <a:pt x="590" y="0"/>
                    </a:moveTo>
                    <a:cubicBezTo>
                      <a:pt x="573" y="3"/>
                      <a:pt x="557" y="5"/>
                      <a:pt x="541" y="10"/>
                    </a:cubicBezTo>
                    <a:lnTo>
                      <a:pt x="471" y="23"/>
                    </a:lnTo>
                    <a:cubicBezTo>
                      <a:pt x="426" y="34"/>
                      <a:pt x="380" y="43"/>
                      <a:pt x="335" y="54"/>
                    </a:cubicBezTo>
                    <a:lnTo>
                      <a:pt x="62" y="121"/>
                    </a:lnTo>
                    <a:cubicBezTo>
                      <a:pt x="23" y="133"/>
                      <a:pt x="0" y="172"/>
                      <a:pt x="11" y="211"/>
                    </a:cubicBezTo>
                    <a:cubicBezTo>
                      <a:pt x="20" y="244"/>
                      <a:pt x="51" y="265"/>
                      <a:pt x="83" y="265"/>
                    </a:cubicBezTo>
                    <a:cubicBezTo>
                      <a:pt x="89" y="265"/>
                      <a:pt x="94" y="264"/>
                      <a:pt x="100" y="263"/>
                    </a:cubicBezTo>
                    <a:lnTo>
                      <a:pt x="100" y="264"/>
                    </a:lnTo>
                    <a:lnTo>
                      <a:pt x="377" y="204"/>
                    </a:lnTo>
                    <a:cubicBezTo>
                      <a:pt x="423" y="195"/>
                      <a:pt x="468" y="185"/>
                      <a:pt x="512" y="173"/>
                    </a:cubicBezTo>
                    <a:lnTo>
                      <a:pt x="581" y="156"/>
                    </a:lnTo>
                    <a:cubicBezTo>
                      <a:pt x="608" y="150"/>
                      <a:pt x="633" y="139"/>
                      <a:pt x="656" y="124"/>
                    </a:cubicBezTo>
                    <a:cubicBezTo>
                      <a:pt x="680" y="109"/>
                      <a:pt x="692" y="79"/>
                      <a:pt x="685" y="51"/>
                    </a:cubicBezTo>
                    <a:cubicBezTo>
                      <a:pt x="676" y="25"/>
                      <a:pt x="652" y="6"/>
                      <a:pt x="624" y="5"/>
                    </a:cubicBezTo>
                    <a:cubicBezTo>
                      <a:pt x="613" y="3"/>
                      <a:pt x="601" y="2"/>
                      <a:pt x="59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90" name="Google Shape;90;p9"/>
            <p:cNvGrpSpPr/>
            <p:nvPr/>
          </p:nvGrpSpPr>
          <p:grpSpPr>
            <a:xfrm>
              <a:off x="224772" y="1896296"/>
              <a:ext cx="239200" cy="60809"/>
              <a:chOff x="2701150" y="1792225"/>
              <a:chExt cx="37075" cy="9425"/>
            </a:xfrm>
          </p:grpSpPr>
          <p:sp>
            <p:nvSpPr>
              <p:cNvPr id="91" name="Google Shape;91;p9"/>
              <p:cNvSpPr/>
              <p:nvPr/>
            </p:nvSpPr>
            <p:spPr>
              <a:xfrm>
                <a:off x="2701150" y="1792225"/>
                <a:ext cx="19100" cy="5050"/>
              </a:xfrm>
              <a:custGeom>
                <a:avLst/>
                <a:gdLst/>
                <a:ahLst/>
                <a:cxnLst/>
                <a:rect l="l" t="t" r="r" b="b"/>
                <a:pathLst>
                  <a:path w="764" h="202" extrusionOk="0">
                    <a:moveTo>
                      <a:pt x="673" y="1"/>
                    </a:moveTo>
                    <a:cubicBezTo>
                      <a:pt x="659" y="1"/>
                      <a:pt x="644" y="3"/>
                      <a:pt x="630" y="4"/>
                    </a:cubicBezTo>
                    <a:cubicBezTo>
                      <a:pt x="604" y="6"/>
                      <a:pt x="577" y="8"/>
                      <a:pt x="552" y="10"/>
                    </a:cubicBezTo>
                    <a:cubicBezTo>
                      <a:pt x="492" y="17"/>
                      <a:pt x="433" y="26"/>
                      <a:pt x="373" y="35"/>
                    </a:cubicBezTo>
                    <a:cubicBezTo>
                      <a:pt x="264" y="51"/>
                      <a:pt x="155" y="70"/>
                      <a:pt x="45" y="87"/>
                    </a:cubicBezTo>
                    <a:cubicBezTo>
                      <a:pt x="17" y="91"/>
                      <a:pt x="0" y="125"/>
                      <a:pt x="4" y="150"/>
                    </a:cubicBezTo>
                    <a:cubicBezTo>
                      <a:pt x="7" y="175"/>
                      <a:pt x="31" y="201"/>
                      <a:pt x="58" y="201"/>
                    </a:cubicBezTo>
                    <a:cubicBezTo>
                      <a:pt x="59" y="201"/>
                      <a:pt x="60" y="201"/>
                      <a:pt x="61" y="201"/>
                    </a:cubicBezTo>
                    <a:cubicBezTo>
                      <a:pt x="171" y="190"/>
                      <a:pt x="281" y="179"/>
                      <a:pt x="392" y="168"/>
                    </a:cubicBezTo>
                    <a:cubicBezTo>
                      <a:pt x="448" y="162"/>
                      <a:pt x="505" y="155"/>
                      <a:pt x="561" y="147"/>
                    </a:cubicBezTo>
                    <a:cubicBezTo>
                      <a:pt x="590" y="143"/>
                      <a:pt x="619" y="138"/>
                      <a:pt x="647" y="133"/>
                    </a:cubicBezTo>
                    <a:cubicBezTo>
                      <a:pt x="662" y="131"/>
                      <a:pt x="676" y="129"/>
                      <a:pt x="690" y="125"/>
                    </a:cubicBezTo>
                    <a:cubicBezTo>
                      <a:pt x="708" y="120"/>
                      <a:pt x="725" y="111"/>
                      <a:pt x="738" y="97"/>
                    </a:cubicBezTo>
                    <a:cubicBezTo>
                      <a:pt x="764" y="78"/>
                      <a:pt x="757" y="28"/>
                      <a:pt x="728" y="16"/>
                    </a:cubicBezTo>
                    <a:cubicBezTo>
                      <a:pt x="711" y="6"/>
                      <a:pt x="692" y="2"/>
                      <a:pt x="673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92" name="Google Shape;92;p9"/>
              <p:cNvSpPr/>
              <p:nvPr/>
            </p:nvSpPr>
            <p:spPr>
              <a:xfrm>
                <a:off x="2720900" y="1795025"/>
                <a:ext cx="17325" cy="6625"/>
              </a:xfrm>
              <a:custGeom>
                <a:avLst/>
                <a:gdLst/>
                <a:ahLst/>
                <a:cxnLst/>
                <a:rect l="l" t="t" r="r" b="b"/>
                <a:pathLst>
                  <a:path w="693" h="265" extrusionOk="0">
                    <a:moveTo>
                      <a:pt x="590" y="0"/>
                    </a:moveTo>
                    <a:cubicBezTo>
                      <a:pt x="573" y="3"/>
                      <a:pt x="557" y="5"/>
                      <a:pt x="541" y="10"/>
                    </a:cubicBezTo>
                    <a:lnTo>
                      <a:pt x="471" y="23"/>
                    </a:lnTo>
                    <a:cubicBezTo>
                      <a:pt x="426" y="34"/>
                      <a:pt x="380" y="43"/>
                      <a:pt x="335" y="54"/>
                    </a:cubicBezTo>
                    <a:lnTo>
                      <a:pt x="62" y="121"/>
                    </a:lnTo>
                    <a:cubicBezTo>
                      <a:pt x="23" y="133"/>
                      <a:pt x="0" y="172"/>
                      <a:pt x="11" y="211"/>
                    </a:cubicBezTo>
                    <a:cubicBezTo>
                      <a:pt x="20" y="244"/>
                      <a:pt x="51" y="265"/>
                      <a:pt x="83" y="265"/>
                    </a:cubicBezTo>
                    <a:cubicBezTo>
                      <a:pt x="89" y="265"/>
                      <a:pt x="94" y="264"/>
                      <a:pt x="100" y="263"/>
                    </a:cubicBezTo>
                    <a:lnTo>
                      <a:pt x="100" y="264"/>
                    </a:lnTo>
                    <a:lnTo>
                      <a:pt x="377" y="204"/>
                    </a:lnTo>
                    <a:cubicBezTo>
                      <a:pt x="423" y="195"/>
                      <a:pt x="468" y="185"/>
                      <a:pt x="512" y="173"/>
                    </a:cubicBezTo>
                    <a:lnTo>
                      <a:pt x="581" y="156"/>
                    </a:lnTo>
                    <a:cubicBezTo>
                      <a:pt x="608" y="150"/>
                      <a:pt x="633" y="139"/>
                      <a:pt x="656" y="124"/>
                    </a:cubicBezTo>
                    <a:cubicBezTo>
                      <a:pt x="680" y="109"/>
                      <a:pt x="692" y="79"/>
                      <a:pt x="685" y="51"/>
                    </a:cubicBezTo>
                    <a:cubicBezTo>
                      <a:pt x="676" y="25"/>
                      <a:pt x="652" y="6"/>
                      <a:pt x="624" y="5"/>
                    </a:cubicBezTo>
                    <a:cubicBezTo>
                      <a:pt x="613" y="3"/>
                      <a:pt x="601" y="2"/>
                      <a:pt x="59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</p:grpSp>
      <p:sp>
        <p:nvSpPr>
          <p:cNvPr id="93" name="Google Shape;93;p9"/>
          <p:cNvSpPr txBox="1">
            <a:spLocks noGrp="1"/>
          </p:cNvSpPr>
          <p:nvPr>
            <p:ph type="ctrTitle"/>
          </p:nvPr>
        </p:nvSpPr>
        <p:spPr>
          <a:xfrm flipH="1">
            <a:off x="3897600" y="2479567"/>
            <a:ext cx="4396800" cy="1380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8000">
                <a:solidFill>
                  <a:schemeClr val="accen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endParaRPr/>
          </a:p>
        </p:txBody>
      </p:sp>
      <p:sp>
        <p:nvSpPr>
          <p:cNvPr id="94" name="Google Shape;94;p9"/>
          <p:cNvSpPr txBox="1">
            <a:spLocks noGrp="1"/>
          </p:cNvSpPr>
          <p:nvPr>
            <p:ph type="subTitle" idx="1"/>
          </p:nvPr>
        </p:nvSpPr>
        <p:spPr>
          <a:xfrm flipH="1">
            <a:off x="3897567" y="4112551"/>
            <a:ext cx="4396800" cy="894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10"/>
          <p:cNvSpPr txBox="1">
            <a:spLocks noGrp="1"/>
          </p:cNvSpPr>
          <p:nvPr>
            <p:ph type="title"/>
          </p:nvPr>
        </p:nvSpPr>
        <p:spPr>
          <a:xfrm>
            <a:off x="5054600" y="946967"/>
            <a:ext cx="6177600" cy="135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11"/>
          <p:cNvSpPr txBox="1">
            <a:spLocks noGrp="1"/>
          </p:cNvSpPr>
          <p:nvPr>
            <p:ph type="subTitle" idx="1"/>
          </p:nvPr>
        </p:nvSpPr>
        <p:spPr>
          <a:xfrm flipH="1">
            <a:off x="2669000" y="2778595"/>
            <a:ext cx="6854000" cy="59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99" name="Google Shape;99;p11"/>
          <p:cNvSpPr txBox="1">
            <a:spLocks noGrp="1"/>
          </p:cNvSpPr>
          <p:nvPr>
            <p:ph type="title" hasCustomPrompt="1"/>
          </p:nvPr>
        </p:nvSpPr>
        <p:spPr>
          <a:xfrm flipH="1">
            <a:off x="2829600" y="1282033"/>
            <a:ext cx="6532800" cy="16920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grpSp>
        <p:nvGrpSpPr>
          <p:cNvPr id="100" name="Google Shape;100;p11"/>
          <p:cNvGrpSpPr/>
          <p:nvPr/>
        </p:nvGrpSpPr>
        <p:grpSpPr>
          <a:xfrm>
            <a:off x="-1303939" y="2880209"/>
            <a:ext cx="6616353" cy="4906852"/>
            <a:chOff x="4822800" y="2395325"/>
            <a:chExt cx="807450" cy="598825"/>
          </a:xfrm>
        </p:grpSpPr>
        <p:sp>
          <p:nvSpPr>
            <p:cNvPr id="101" name="Google Shape;101;p11"/>
            <p:cNvSpPr/>
            <p:nvPr/>
          </p:nvSpPr>
          <p:spPr>
            <a:xfrm>
              <a:off x="5094575" y="2654525"/>
              <a:ext cx="12650" cy="3625"/>
            </a:xfrm>
            <a:custGeom>
              <a:avLst/>
              <a:gdLst/>
              <a:ahLst/>
              <a:cxnLst/>
              <a:rect l="l" t="t" r="r" b="b"/>
              <a:pathLst>
                <a:path w="506" h="145" extrusionOk="0">
                  <a:moveTo>
                    <a:pt x="70" y="0"/>
                  </a:moveTo>
                  <a:cubicBezTo>
                    <a:pt x="34" y="0"/>
                    <a:pt x="0" y="37"/>
                    <a:pt x="2" y="72"/>
                  </a:cubicBezTo>
                  <a:cubicBezTo>
                    <a:pt x="3" y="107"/>
                    <a:pt x="32" y="145"/>
                    <a:pt x="70" y="145"/>
                  </a:cubicBezTo>
                  <a:cubicBezTo>
                    <a:pt x="71" y="145"/>
                    <a:pt x="73" y="145"/>
                    <a:pt x="74" y="145"/>
                  </a:cubicBezTo>
                  <a:cubicBezTo>
                    <a:pt x="143" y="138"/>
                    <a:pt x="210" y="133"/>
                    <a:pt x="279" y="127"/>
                  </a:cubicBezTo>
                  <a:cubicBezTo>
                    <a:pt x="312" y="124"/>
                    <a:pt x="346" y="121"/>
                    <a:pt x="379" y="118"/>
                  </a:cubicBezTo>
                  <a:cubicBezTo>
                    <a:pt x="398" y="116"/>
                    <a:pt x="416" y="112"/>
                    <a:pt x="435" y="109"/>
                  </a:cubicBezTo>
                  <a:cubicBezTo>
                    <a:pt x="452" y="107"/>
                    <a:pt x="467" y="102"/>
                    <a:pt x="483" y="97"/>
                  </a:cubicBezTo>
                  <a:cubicBezTo>
                    <a:pt x="505" y="88"/>
                    <a:pt x="505" y="56"/>
                    <a:pt x="483" y="48"/>
                  </a:cubicBezTo>
                  <a:cubicBezTo>
                    <a:pt x="467" y="42"/>
                    <a:pt x="452" y="38"/>
                    <a:pt x="435" y="36"/>
                  </a:cubicBezTo>
                  <a:cubicBezTo>
                    <a:pt x="416" y="33"/>
                    <a:pt x="398" y="29"/>
                    <a:pt x="379" y="27"/>
                  </a:cubicBezTo>
                  <a:cubicBezTo>
                    <a:pt x="346" y="22"/>
                    <a:pt x="312" y="21"/>
                    <a:pt x="279" y="18"/>
                  </a:cubicBezTo>
                  <a:cubicBezTo>
                    <a:pt x="210" y="11"/>
                    <a:pt x="143" y="7"/>
                    <a:pt x="74" y="0"/>
                  </a:cubicBezTo>
                  <a:cubicBezTo>
                    <a:pt x="73" y="0"/>
                    <a:pt x="71" y="0"/>
                    <a:pt x="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02" name="Google Shape;102;p11"/>
            <p:cNvSpPr/>
            <p:nvPr/>
          </p:nvSpPr>
          <p:spPr>
            <a:xfrm>
              <a:off x="5106150" y="2668325"/>
              <a:ext cx="8925" cy="3875"/>
            </a:xfrm>
            <a:custGeom>
              <a:avLst/>
              <a:gdLst/>
              <a:ahLst/>
              <a:cxnLst/>
              <a:rect l="l" t="t" r="r" b="b"/>
              <a:pathLst>
                <a:path w="357" h="155" extrusionOk="0">
                  <a:moveTo>
                    <a:pt x="154" y="1"/>
                  </a:moveTo>
                  <a:cubicBezTo>
                    <a:pt x="128" y="1"/>
                    <a:pt x="101" y="2"/>
                    <a:pt x="75" y="3"/>
                  </a:cubicBezTo>
                  <a:cubicBezTo>
                    <a:pt x="34" y="3"/>
                    <a:pt x="1" y="36"/>
                    <a:pt x="0" y="78"/>
                  </a:cubicBezTo>
                  <a:cubicBezTo>
                    <a:pt x="1" y="119"/>
                    <a:pt x="34" y="151"/>
                    <a:pt x="75" y="152"/>
                  </a:cubicBezTo>
                  <a:cubicBezTo>
                    <a:pt x="104" y="152"/>
                    <a:pt x="133" y="154"/>
                    <a:pt x="161" y="154"/>
                  </a:cubicBezTo>
                  <a:cubicBezTo>
                    <a:pt x="171" y="154"/>
                    <a:pt x="180" y="154"/>
                    <a:pt x="190" y="154"/>
                  </a:cubicBezTo>
                  <a:lnTo>
                    <a:pt x="245" y="150"/>
                  </a:lnTo>
                  <a:cubicBezTo>
                    <a:pt x="255" y="150"/>
                    <a:pt x="265" y="149"/>
                    <a:pt x="275" y="148"/>
                  </a:cubicBezTo>
                  <a:cubicBezTo>
                    <a:pt x="298" y="147"/>
                    <a:pt x="320" y="137"/>
                    <a:pt x="333" y="120"/>
                  </a:cubicBezTo>
                  <a:cubicBezTo>
                    <a:pt x="357" y="96"/>
                    <a:pt x="357" y="59"/>
                    <a:pt x="333" y="35"/>
                  </a:cubicBezTo>
                  <a:cubicBezTo>
                    <a:pt x="320" y="18"/>
                    <a:pt x="298" y="7"/>
                    <a:pt x="275" y="6"/>
                  </a:cubicBezTo>
                  <a:cubicBezTo>
                    <a:pt x="265" y="5"/>
                    <a:pt x="255" y="5"/>
                    <a:pt x="245" y="5"/>
                  </a:cubicBezTo>
                  <a:lnTo>
                    <a:pt x="190" y="2"/>
                  </a:lnTo>
                  <a:cubicBezTo>
                    <a:pt x="178" y="1"/>
                    <a:pt x="166" y="1"/>
                    <a:pt x="15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03" name="Google Shape;103;p11"/>
            <p:cNvSpPr/>
            <p:nvPr/>
          </p:nvSpPr>
          <p:spPr>
            <a:xfrm>
              <a:off x="4822800" y="2395325"/>
              <a:ext cx="807450" cy="598825"/>
            </a:xfrm>
            <a:custGeom>
              <a:avLst/>
              <a:gdLst/>
              <a:ahLst/>
              <a:cxnLst/>
              <a:rect l="l" t="t" r="r" b="b"/>
              <a:pathLst>
                <a:path w="32298" h="23953" extrusionOk="0">
                  <a:moveTo>
                    <a:pt x="5555" y="1"/>
                  </a:moveTo>
                  <a:cubicBezTo>
                    <a:pt x="3688" y="1"/>
                    <a:pt x="1707" y="413"/>
                    <a:pt x="0" y="571"/>
                  </a:cubicBezTo>
                  <a:cubicBezTo>
                    <a:pt x="2931" y="938"/>
                    <a:pt x="4272" y="2206"/>
                    <a:pt x="6023" y="3779"/>
                  </a:cubicBezTo>
                  <a:cubicBezTo>
                    <a:pt x="7865" y="5435"/>
                    <a:pt x="9279" y="7799"/>
                    <a:pt x="10017" y="10455"/>
                  </a:cubicBezTo>
                  <a:cubicBezTo>
                    <a:pt x="10241" y="11259"/>
                    <a:pt x="10409" y="12099"/>
                    <a:pt x="10773" y="12822"/>
                  </a:cubicBezTo>
                  <a:cubicBezTo>
                    <a:pt x="11147" y="13561"/>
                    <a:pt x="11706" y="14129"/>
                    <a:pt x="12295" y="14611"/>
                  </a:cubicBezTo>
                  <a:cubicBezTo>
                    <a:pt x="15119" y="16922"/>
                    <a:pt x="18633" y="17424"/>
                    <a:pt x="21910" y="18507"/>
                  </a:cubicBezTo>
                  <a:cubicBezTo>
                    <a:pt x="22992" y="18864"/>
                    <a:pt x="24051" y="19287"/>
                    <a:pt x="25081" y="19772"/>
                  </a:cubicBezTo>
                  <a:cubicBezTo>
                    <a:pt x="26833" y="20595"/>
                    <a:pt x="28937" y="21544"/>
                    <a:pt x="30375" y="23061"/>
                  </a:cubicBezTo>
                  <a:cubicBezTo>
                    <a:pt x="30682" y="23384"/>
                    <a:pt x="31130" y="23952"/>
                    <a:pt x="31503" y="23952"/>
                  </a:cubicBezTo>
                  <a:cubicBezTo>
                    <a:pt x="31688" y="23952"/>
                    <a:pt x="31855" y="23813"/>
                    <a:pt x="31977" y="23437"/>
                  </a:cubicBezTo>
                  <a:cubicBezTo>
                    <a:pt x="32297" y="22448"/>
                    <a:pt x="32268" y="20901"/>
                    <a:pt x="31982" y="19913"/>
                  </a:cubicBezTo>
                  <a:cubicBezTo>
                    <a:pt x="31609" y="18622"/>
                    <a:pt x="30656" y="17722"/>
                    <a:pt x="29677" y="17069"/>
                  </a:cubicBezTo>
                  <a:cubicBezTo>
                    <a:pt x="27475" y="15600"/>
                    <a:pt x="24964" y="15023"/>
                    <a:pt x="22573" y="14102"/>
                  </a:cubicBezTo>
                  <a:cubicBezTo>
                    <a:pt x="20181" y="13180"/>
                    <a:pt x="17756" y="11773"/>
                    <a:pt x="16373" y="9204"/>
                  </a:cubicBezTo>
                  <a:cubicBezTo>
                    <a:pt x="15763" y="8075"/>
                    <a:pt x="15389" y="6778"/>
                    <a:pt x="14833" y="5608"/>
                  </a:cubicBezTo>
                  <a:cubicBezTo>
                    <a:pt x="13503" y="2812"/>
                    <a:pt x="10931" y="1449"/>
                    <a:pt x="8419" y="466"/>
                  </a:cubicBezTo>
                  <a:cubicBezTo>
                    <a:pt x="7538" y="121"/>
                    <a:pt x="6563" y="1"/>
                    <a:pt x="555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04" name="Google Shape;104;p11"/>
            <p:cNvSpPr/>
            <p:nvPr/>
          </p:nvSpPr>
          <p:spPr>
            <a:xfrm>
              <a:off x="4999325" y="2416675"/>
              <a:ext cx="14800" cy="4675"/>
            </a:xfrm>
            <a:custGeom>
              <a:avLst/>
              <a:gdLst/>
              <a:ahLst/>
              <a:cxnLst/>
              <a:rect l="l" t="t" r="r" b="b"/>
              <a:pathLst>
                <a:path w="592" h="187" extrusionOk="0">
                  <a:moveTo>
                    <a:pt x="227" y="1"/>
                  </a:moveTo>
                  <a:cubicBezTo>
                    <a:pt x="221" y="1"/>
                    <a:pt x="215" y="1"/>
                    <a:pt x="209" y="1"/>
                  </a:cubicBezTo>
                  <a:cubicBezTo>
                    <a:pt x="169" y="1"/>
                    <a:pt x="129" y="4"/>
                    <a:pt x="89" y="9"/>
                  </a:cubicBezTo>
                  <a:cubicBezTo>
                    <a:pt x="65" y="9"/>
                    <a:pt x="43" y="19"/>
                    <a:pt x="26" y="36"/>
                  </a:cubicBezTo>
                  <a:cubicBezTo>
                    <a:pt x="10" y="52"/>
                    <a:pt x="0" y="74"/>
                    <a:pt x="0" y="98"/>
                  </a:cubicBezTo>
                  <a:cubicBezTo>
                    <a:pt x="0" y="121"/>
                    <a:pt x="10" y="143"/>
                    <a:pt x="26" y="160"/>
                  </a:cubicBezTo>
                  <a:cubicBezTo>
                    <a:pt x="41" y="173"/>
                    <a:pt x="62" y="187"/>
                    <a:pt x="84" y="187"/>
                  </a:cubicBezTo>
                  <a:cubicBezTo>
                    <a:pt x="86" y="187"/>
                    <a:pt x="87" y="187"/>
                    <a:pt x="89" y="187"/>
                  </a:cubicBezTo>
                  <a:lnTo>
                    <a:pt x="89" y="186"/>
                  </a:lnTo>
                  <a:cubicBezTo>
                    <a:pt x="127" y="180"/>
                    <a:pt x="165" y="178"/>
                    <a:pt x="204" y="176"/>
                  </a:cubicBezTo>
                  <a:cubicBezTo>
                    <a:pt x="216" y="176"/>
                    <a:pt x="229" y="177"/>
                    <a:pt x="243" y="177"/>
                  </a:cubicBezTo>
                  <a:cubicBezTo>
                    <a:pt x="249" y="177"/>
                    <a:pt x="256" y="176"/>
                    <a:pt x="263" y="176"/>
                  </a:cubicBezTo>
                  <a:lnTo>
                    <a:pt x="278" y="174"/>
                  </a:lnTo>
                  <a:lnTo>
                    <a:pt x="278" y="174"/>
                  </a:lnTo>
                  <a:cubicBezTo>
                    <a:pt x="280" y="174"/>
                    <a:pt x="282" y="175"/>
                    <a:pt x="284" y="175"/>
                  </a:cubicBezTo>
                  <a:cubicBezTo>
                    <a:pt x="286" y="175"/>
                    <a:pt x="288" y="174"/>
                    <a:pt x="290" y="174"/>
                  </a:cubicBezTo>
                  <a:lnTo>
                    <a:pt x="322" y="174"/>
                  </a:lnTo>
                  <a:cubicBezTo>
                    <a:pt x="332" y="174"/>
                    <a:pt x="342" y="175"/>
                    <a:pt x="351" y="175"/>
                  </a:cubicBezTo>
                  <a:cubicBezTo>
                    <a:pt x="365" y="175"/>
                    <a:pt x="379" y="174"/>
                    <a:pt x="392" y="169"/>
                  </a:cubicBezTo>
                  <a:lnTo>
                    <a:pt x="404" y="169"/>
                  </a:lnTo>
                  <a:cubicBezTo>
                    <a:pt x="414" y="169"/>
                    <a:pt x="425" y="169"/>
                    <a:pt x="434" y="170"/>
                  </a:cubicBezTo>
                  <a:cubicBezTo>
                    <a:pt x="453" y="171"/>
                    <a:pt x="471" y="172"/>
                    <a:pt x="489" y="174"/>
                  </a:cubicBezTo>
                  <a:cubicBezTo>
                    <a:pt x="497" y="175"/>
                    <a:pt x="504" y="175"/>
                    <a:pt x="512" y="175"/>
                  </a:cubicBezTo>
                  <a:cubicBezTo>
                    <a:pt x="526" y="175"/>
                    <a:pt x="540" y="174"/>
                    <a:pt x="554" y="172"/>
                  </a:cubicBezTo>
                  <a:cubicBezTo>
                    <a:pt x="583" y="168"/>
                    <a:pt x="592" y="124"/>
                    <a:pt x="571" y="105"/>
                  </a:cubicBezTo>
                  <a:cubicBezTo>
                    <a:pt x="539" y="77"/>
                    <a:pt x="498" y="63"/>
                    <a:pt x="458" y="50"/>
                  </a:cubicBezTo>
                  <a:lnTo>
                    <a:pt x="428" y="39"/>
                  </a:lnTo>
                  <a:lnTo>
                    <a:pt x="413" y="35"/>
                  </a:lnTo>
                  <a:lnTo>
                    <a:pt x="411" y="34"/>
                  </a:lnTo>
                  <a:lnTo>
                    <a:pt x="411" y="34"/>
                  </a:lnTo>
                  <a:cubicBezTo>
                    <a:pt x="408" y="32"/>
                    <a:pt x="404" y="29"/>
                    <a:pt x="401" y="27"/>
                  </a:cubicBezTo>
                  <a:cubicBezTo>
                    <a:pt x="392" y="22"/>
                    <a:pt x="383" y="19"/>
                    <a:pt x="373" y="17"/>
                  </a:cubicBezTo>
                  <a:cubicBezTo>
                    <a:pt x="363" y="15"/>
                    <a:pt x="352" y="14"/>
                    <a:pt x="343" y="13"/>
                  </a:cubicBezTo>
                  <a:cubicBezTo>
                    <a:pt x="328" y="11"/>
                    <a:pt x="313" y="8"/>
                    <a:pt x="298" y="6"/>
                  </a:cubicBezTo>
                  <a:cubicBezTo>
                    <a:pt x="295" y="6"/>
                    <a:pt x="289" y="5"/>
                    <a:pt x="285" y="5"/>
                  </a:cubicBezTo>
                  <a:lnTo>
                    <a:pt x="285" y="5"/>
                  </a:lnTo>
                  <a:cubicBezTo>
                    <a:pt x="285" y="5"/>
                    <a:pt x="285" y="5"/>
                    <a:pt x="285" y="5"/>
                  </a:cubicBezTo>
                  <a:cubicBezTo>
                    <a:pt x="265" y="2"/>
                    <a:pt x="246" y="1"/>
                    <a:pt x="22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05" name="Google Shape;105;p11"/>
            <p:cNvSpPr/>
            <p:nvPr/>
          </p:nvSpPr>
          <p:spPr>
            <a:xfrm>
              <a:off x="4999025" y="2416600"/>
              <a:ext cx="5025" cy="4925"/>
            </a:xfrm>
            <a:custGeom>
              <a:avLst/>
              <a:gdLst/>
              <a:ahLst/>
              <a:cxnLst/>
              <a:rect l="l" t="t" r="r" b="b"/>
              <a:pathLst>
                <a:path w="201" h="197" extrusionOk="0">
                  <a:moveTo>
                    <a:pt x="101" y="1"/>
                  </a:moveTo>
                  <a:cubicBezTo>
                    <a:pt x="49" y="1"/>
                    <a:pt x="0" y="46"/>
                    <a:pt x="3" y="99"/>
                  </a:cubicBezTo>
                  <a:cubicBezTo>
                    <a:pt x="4" y="153"/>
                    <a:pt x="47" y="197"/>
                    <a:pt x="101" y="197"/>
                  </a:cubicBezTo>
                  <a:cubicBezTo>
                    <a:pt x="152" y="197"/>
                    <a:pt x="201" y="153"/>
                    <a:pt x="199" y="99"/>
                  </a:cubicBezTo>
                  <a:cubicBezTo>
                    <a:pt x="198" y="45"/>
                    <a:pt x="154" y="2"/>
                    <a:pt x="1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06" name="Google Shape;106;p11"/>
            <p:cNvSpPr/>
            <p:nvPr/>
          </p:nvSpPr>
          <p:spPr>
            <a:xfrm>
              <a:off x="5016350" y="2430825"/>
              <a:ext cx="14400" cy="4225"/>
            </a:xfrm>
            <a:custGeom>
              <a:avLst/>
              <a:gdLst/>
              <a:ahLst/>
              <a:cxnLst/>
              <a:rect l="l" t="t" r="r" b="b"/>
              <a:pathLst>
                <a:path w="576" h="169" extrusionOk="0">
                  <a:moveTo>
                    <a:pt x="414" y="0"/>
                  </a:moveTo>
                  <a:cubicBezTo>
                    <a:pt x="375" y="0"/>
                    <a:pt x="335" y="2"/>
                    <a:pt x="296" y="5"/>
                  </a:cubicBezTo>
                  <a:cubicBezTo>
                    <a:pt x="214" y="13"/>
                    <a:pt x="132" y="28"/>
                    <a:pt x="52" y="49"/>
                  </a:cubicBezTo>
                  <a:cubicBezTo>
                    <a:pt x="19" y="57"/>
                    <a:pt x="0" y="91"/>
                    <a:pt x="9" y="125"/>
                  </a:cubicBezTo>
                  <a:cubicBezTo>
                    <a:pt x="17" y="151"/>
                    <a:pt x="42" y="169"/>
                    <a:pt x="69" y="169"/>
                  </a:cubicBezTo>
                  <a:cubicBezTo>
                    <a:pt x="74" y="169"/>
                    <a:pt x="79" y="168"/>
                    <a:pt x="84" y="167"/>
                  </a:cubicBezTo>
                  <a:cubicBezTo>
                    <a:pt x="120" y="158"/>
                    <a:pt x="157" y="150"/>
                    <a:pt x="195" y="144"/>
                  </a:cubicBezTo>
                  <a:lnTo>
                    <a:pt x="223" y="139"/>
                  </a:lnTo>
                  <a:lnTo>
                    <a:pt x="238" y="137"/>
                  </a:lnTo>
                  <a:lnTo>
                    <a:pt x="241" y="137"/>
                  </a:lnTo>
                  <a:cubicBezTo>
                    <a:pt x="259" y="135"/>
                    <a:pt x="280" y="133"/>
                    <a:pt x="300" y="131"/>
                  </a:cubicBezTo>
                  <a:cubicBezTo>
                    <a:pt x="336" y="128"/>
                    <a:pt x="374" y="127"/>
                    <a:pt x="412" y="126"/>
                  </a:cubicBezTo>
                  <a:lnTo>
                    <a:pt x="468" y="126"/>
                  </a:lnTo>
                  <a:cubicBezTo>
                    <a:pt x="471" y="126"/>
                    <a:pt x="474" y="126"/>
                    <a:pt x="477" y="126"/>
                  </a:cubicBezTo>
                  <a:cubicBezTo>
                    <a:pt x="497" y="126"/>
                    <a:pt x="516" y="123"/>
                    <a:pt x="536" y="116"/>
                  </a:cubicBezTo>
                  <a:cubicBezTo>
                    <a:pt x="555" y="111"/>
                    <a:pt x="569" y="94"/>
                    <a:pt x="573" y="73"/>
                  </a:cubicBezTo>
                  <a:cubicBezTo>
                    <a:pt x="576" y="53"/>
                    <a:pt x="565" y="32"/>
                    <a:pt x="547" y="22"/>
                  </a:cubicBezTo>
                  <a:cubicBezTo>
                    <a:pt x="537" y="16"/>
                    <a:pt x="525" y="11"/>
                    <a:pt x="513" y="6"/>
                  </a:cubicBezTo>
                  <a:cubicBezTo>
                    <a:pt x="500" y="3"/>
                    <a:pt x="487" y="2"/>
                    <a:pt x="475" y="2"/>
                  </a:cubicBezTo>
                  <a:cubicBezTo>
                    <a:pt x="455" y="1"/>
                    <a:pt x="436" y="0"/>
                    <a:pt x="41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07" name="Google Shape;107;p11"/>
            <p:cNvSpPr/>
            <p:nvPr/>
          </p:nvSpPr>
          <p:spPr>
            <a:xfrm>
              <a:off x="5136400" y="2735125"/>
              <a:ext cx="10200" cy="3250"/>
            </a:xfrm>
            <a:custGeom>
              <a:avLst/>
              <a:gdLst/>
              <a:ahLst/>
              <a:cxnLst/>
              <a:rect l="l" t="t" r="r" b="b"/>
              <a:pathLst>
                <a:path w="408" h="130" extrusionOk="0">
                  <a:moveTo>
                    <a:pt x="131" y="0"/>
                  </a:moveTo>
                  <a:cubicBezTo>
                    <a:pt x="102" y="1"/>
                    <a:pt x="72" y="5"/>
                    <a:pt x="43" y="10"/>
                  </a:cubicBezTo>
                  <a:cubicBezTo>
                    <a:pt x="18" y="17"/>
                    <a:pt x="1" y="39"/>
                    <a:pt x="1" y="65"/>
                  </a:cubicBezTo>
                  <a:cubicBezTo>
                    <a:pt x="2" y="88"/>
                    <a:pt x="17" y="116"/>
                    <a:pt x="43" y="120"/>
                  </a:cubicBezTo>
                  <a:lnTo>
                    <a:pt x="43" y="119"/>
                  </a:lnTo>
                  <a:cubicBezTo>
                    <a:pt x="72" y="126"/>
                    <a:pt x="102" y="129"/>
                    <a:pt x="131" y="130"/>
                  </a:cubicBezTo>
                  <a:lnTo>
                    <a:pt x="205" y="130"/>
                  </a:lnTo>
                  <a:cubicBezTo>
                    <a:pt x="229" y="130"/>
                    <a:pt x="255" y="130"/>
                    <a:pt x="279" y="129"/>
                  </a:cubicBezTo>
                  <a:cubicBezTo>
                    <a:pt x="292" y="129"/>
                    <a:pt x="305" y="128"/>
                    <a:pt x="318" y="127"/>
                  </a:cubicBezTo>
                  <a:cubicBezTo>
                    <a:pt x="327" y="127"/>
                    <a:pt x="337" y="126"/>
                    <a:pt x="346" y="124"/>
                  </a:cubicBezTo>
                  <a:cubicBezTo>
                    <a:pt x="356" y="120"/>
                    <a:pt x="365" y="116"/>
                    <a:pt x="373" y="110"/>
                  </a:cubicBezTo>
                  <a:cubicBezTo>
                    <a:pt x="408" y="90"/>
                    <a:pt x="408" y="39"/>
                    <a:pt x="373" y="19"/>
                  </a:cubicBezTo>
                  <a:cubicBezTo>
                    <a:pt x="365" y="13"/>
                    <a:pt x="356" y="9"/>
                    <a:pt x="346" y="6"/>
                  </a:cubicBezTo>
                  <a:cubicBezTo>
                    <a:pt x="337" y="3"/>
                    <a:pt x="327" y="2"/>
                    <a:pt x="319" y="2"/>
                  </a:cubicBezTo>
                  <a:cubicBezTo>
                    <a:pt x="305" y="2"/>
                    <a:pt x="293" y="1"/>
                    <a:pt x="279" y="1"/>
                  </a:cubicBezTo>
                  <a:cubicBezTo>
                    <a:pt x="255" y="0"/>
                    <a:pt x="230" y="0"/>
                    <a:pt x="20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08" name="Google Shape;108;p11"/>
            <p:cNvSpPr/>
            <p:nvPr/>
          </p:nvSpPr>
          <p:spPr>
            <a:xfrm>
              <a:off x="5140125" y="2750750"/>
              <a:ext cx="19950" cy="2875"/>
            </a:xfrm>
            <a:custGeom>
              <a:avLst/>
              <a:gdLst/>
              <a:ahLst/>
              <a:cxnLst/>
              <a:rect l="l" t="t" r="r" b="b"/>
              <a:pathLst>
                <a:path w="798" h="115" extrusionOk="0">
                  <a:moveTo>
                    <a:pt x="407" y="1"/>
                  </a:moveTo>
                  <a:lnTo>
                    <a:pt x="53" y="4"/>
                  </a:lnTo>
                  <a:cubicBezTo>
                    <a:pt x="24" y="4"/>
                    <a:pt x="1" y="27"/>
                    <a:pt x="0" y="56"/>
                  </a:cubicBezTo>
                  <a:cubicBezTo>
                    <a:pt x="1" y="85"/>
                    <a:pt x="24" y="108"/>
                    <a:pt x="53" y="109"/>
                  </a:cubicBezTo>
                  <a:lnTo>
                    <a:pt x="53" y="112"/>
                  </a:lnTo>
                  <a:lnTo>
                    <a:pt x="407" y="114"/>
                  </a:lnTo>
                  <a:lnTo>
                    <a:pt x="538" y="114"/>
                  </a:lnTo>
                  <a:cubicBezTo>
                    <a:pt x="554" y="113"/>
                    <a:pt x="571" y="109"/>
                    <a:pt x="584" y="108"/>
                  </a:cubicBezTo>
                  <a:lnTo>
                    <a:pt x="670" y="103"/>
                  </a:lnTo>
                  <a:cubicBezTo>
                    <a:pt x="701" y="103"/>
                    <a:pt x="733" y="99"/>
                    <a:pt x="764" y="90"/>
                  </a:cubicBezTo>
                  <a:cubicBezTo>
                    <a:pt x="797" y="81"/>
                    <a:pt x="797" y="34"/>
                    <a:pt x="764" y="25"/>
                  </a:cubicBezTo>
                  <a:cubicBezTo>
                    <a:pt x="733" y="16"/>
                    <a:pt x="701" y="12"/>
                    <a:pt x="670" y="12"/>
                  </a:cubicBezTo>
                  <a:lnTo>
                    <a:pt x="584" y="7"/>
                  </a:lnTo>
                  <a:cubicBezTo>
                    <a:pt x="571" y="6"/>
                    <a:pt x="555" y="2"/>
                    <a:pt x="53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09" name="Google Shape;109;p11"/>
            <p:cNvSpPr/>
            <p:nvPr/>
          </p:nvSpPr>
          <p:spPr>
            <a:xfrm>
              <a:off x="5574550" y="2840650"/>
              <a:ext cx="12700" cy="3500"/>
            </a:xfrm>
            <a:custGeom>
              <a:avLst/>
              <a:gdLst/>
              <a:ahLst/>
              <a:cxnLst/>
              <a:rect l="l" t="t" r="r" b="b"/>
              <a:pathLst>
                <a:path w="508" h="140" extrusionOk="0">
                  <a:moveTo>
                    <a:pt x="54" y="1"/>
                  </a:moveTo>
                  <a:cubicBezTo>
                    <a:pt x="26" y="1"/>
                    <a:pt x="1" y="31"/>
                    <a:pt x="3" y="58"/>
                  </a:cubicBezTo>
                  <a:cubicBezTo>
                    <a:pt x="3" y="88"/>
                    <a:pt x="28" y="113"/>
                    <a:pt x="59" y="114"/>
                  </a:cubicBezTo>
                  <a:lnTo>
                    <a:pt x="275" y="136"/>
                  </a:lnTo>
                  <a:cubicBezTo>
                    <a:pt x="309" y="139"/>
                    <a:pt x="344" y="140"/>
                    <a:pt x="379" y="140"/>
                  </a:cubicBezTo>
                  <a:lnTo>
                    <a:pt x="435" y="140"/>
                  </a:lnTo>
                  <a:cubicBezTo>
                    <a:pt x="437" y="140"/>
                    <a:pt x="440" y="140"/>
                    <a:pt x="442" y="140"/>
                  </a:cubicBezTo>
                  <a:cubicBezTo>
                    <a:pt x="461" y="140"/>
                    <a:pt x="482" y="139"/>
                    <a:pt x="495" y="124"/>
                  </a:cubicBezTo>
                  <a:cubicBezTo>
                    <a:pt x="506" y="113"/>
                    <a:pt x="508" y="96"/>
                    <a:pt x="500" y="83"/>
                  </a:cubicBezTo>
                  <a:cubicBezTo>
                    <a:pt x="490" y="62"/>
                    <a:pt x="468" y="58"/>
                    <a:pt x="447" y="54"/>
                  </a:cubicBezTo>
                  <a:lnTo>
                    <a:pt x="396" y="43"/>
                  </a:lnTo>
                  <a:cubicBezTo>
                    <a:pt x="357" y="36"/>
                    <a:pt x="318" y="28"/>
                    <a:pt x="278" y="24"/>
                  </a:cubicBezTo>
                  <a:lnTo>
                    <a:pt x="59" y="1"/>
                  </a:lnTo>
                  <a:cubicBezTo>
                    <a:pt x="57" y="1"/>
                    <a:pt x="56" y="1"/>
                    <a:pt x="5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10" name="Google Shape;110;p11"/>
            <p:cNvSpPr/>
            <p:nvPr/>
          </p:nvSpPr>
          <p:spPr>
            <a:xfrm>
              <a:off x="5569225" y="2853800"/>
              <a:ext cx="12600" cy="3100"/>
            </a:xfrm>
            <a:custGeom>
              <a:avLst/>
              <a:gdLst/>
              <a:ahLst/>
              <a:cxnLst/>
              <a:rect l="l" t="t" r="r" b="b"/>
              <a:pathLst>
                <a:path w="504" h="124" extrusionOk="0">
                  <a:moveTo>
                    <a:pt x="180" y="1"/>
                  </a:moveTo>
                  <a:cubicBezTo>
                    <a:pt x="148" y="1"/>
                    <a:pt x="117" y="1"/>
                    <a:pt x="85" y="1"/>
                  </a:cubicBezTo>
                  <a:cubicBezTo>
                    <a:pt x="84" y="1"/>
                    <a:pt x="82" y="1"/>
                    <a:pt x="81" y="1"/>
                  </a:cubicBezTo>
                  <a:cubicBezTo>
                    <a:pt x="1" y="1"/>
                    <a:pt x="1" y="123"/>
                    <a:pt x="81" y="123"/>
                  </a:cubicBezTo>
                  <a:cubicBezTo>
                    <a:pt x="82" y="123"/>
                    <a:pt x="84" y="123"/>
                    <a:pt x="85" y="123"/>
                  </a:cubicBezTo>
                  <a:lnTo>
                    <a:pt x="86" y="123"/>
                  </a:lnTo>
                  <a:cubicBezTo>
                    <a:pt x="122" y="123"/>
                    <a:pt x="157" y="124"/>
                    <a:pt x="193" y="124"/>
                  </a:cubicBezTo>
                  <a:cubicBezTo>
                    <a:pt x="220" y="124"/>
                    <a:pt x="248" y="124"/>
                    <a:pt x="275" y="122"/>
                  </a:cubicBezTo>
                  <a:lnTo>
                    <a:pt x="365" y="119"/>
                  </a:lnTo>
                  <a:cubicBezTo>
                    <a:pt x="383" y="119"/>
                    <a:pt x="401" y="117"/>
                    <a:pt x="418" y="113"/>
                  </a:cubicBezTo>
                  <a:cubicBezTo>
                    <a:pt x="430" y="110"/>
                    <a:pt x="433" y="105"/>
                    <a:pt x="442" y="104"/>
                  </a:cubicBezTo>
                  <a:cubicBezTo>
                    <a:pt x="452" y="103"/>
                    <a:pt x="458" y="101"/>
                    <a:pt x="467" y="99"/>
                  </a:cubicBezTo>
                  <a:cubicBezTo>
                    <a:pt x="503" y="93"/>
                    <a:pt x="503" y="33"/>
                    <a:pt x="467" y="25"/>
                  </a:cubicBezTo>
                  <a:cubicBezTo>
                    <a:pt x="458" y="23"/>
                    <a:pt x="450" y="21"/>
                    <a:pt x="442" y="20"/>
                  </a:cubicBezTo>
                  <a:cubicBezTo>
                    <a:pt x="436" y="19"/>
                    <a:pt x="430" y="17"/>
                    <a:pt x="424" y="14"/>
                  </a:cubicBezTo>
                  <a:cubicBezTo>
                    <a:pt x="408" y="8"/>
                    <a:pt x="392" y="6"/>
                    <a:pt x="375" y="6"/>
                  </a:cubicBezTo>
                  <a:cubicBezTo>
                    <a:pt x="372" y="6"/>
                    <a:pt x="369" y="6"/>
                    <a:pt x="365" y="6"/>
                  </a:cubicBezTo>
                  <a:lnTo>
                    <a:pt x="274" y="2"/>
                  </a:lnTo>
                  <a:cubicBezTo>
                    <a:pt x="243" y="1"/>
                    <a:pt x="211" y="1"/>
                    <a:pt x="18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11" name="Google Shape;111;p11"/>
            <p:cNvSpPr/>
            <p:nvPr/>
          </p:nvSpPr>
          <p:spPr>
            <a:xfrm>
              <a:off x="5394250" y="2848825"/>
              <a:ext cx="14175" cy="2750"/>
            </a:xfrm>
            <a:custGeom>
              <a:avLst/>
              <a:gdLst/>
              <a:ahLst/>
              <a:cxnLst/>
              <a:rect l="l" t="t" r="r" b="b"/>
              <a:pathLst>
                <a:path w="567" h="110" extrusionOk="0">
                  <a:moveTo>
                    <a:pt x="102" y="1"/>
                  </a:moveTo>
                  <a:cubicBezTo>
                    <a:pt x="92" y="1"/>
                    <a:pt x="82" y="1"/>
                    <a:pt x="72" y="2"/>
                  </a:cubicBezTo>
                  <a:cubicBezTo>
                    <a:pt x="1" y="2"/>
                    <a:pt x="1" y="108"/>
                    <a:pt x="72" y="108"/>
                  </a:cubicBezTo>
                  <a:cubicBezTo>
                    <a:pt x="84" y="108"/>
                    <a:pt x="97" y="109"/>
                    <a:pt x="110" y="109"/>
                  </a:cubicBezTo>
                  <a:cubicBezTo>
                    <a:pt x="116" y="109"/>
                    <a:pt x="122" y="109"/>
                    <a:pt x="129" y="108"/>
                  </a:cubicBezTo>
                  <a:cubicBezTo>
                    <a:pt x="146" y="107"/>
                    <a:pt x="168" y="104"/>
                    <a:pt x="188" y="104"/>
                  </a:cubicBezTo>
                  <a:lnTo>
                    <a:pt x="303" y="100"/>
                  </a:lnTo>
                  <a:cubicBezTo>
                    <a:pt x="379" y="98"/>
                    <a:pt x="459" y="100"/>
                    <a:pt x="534" y="87"/>
                  </a:cubicBezTo>
                  <a:cubicBezTo>
                    <a:pt x="566" y="82"/>
                    <a:pt x="566" y="28"/>
                    <a:pt x="534" y="23"/>
                  </a:cubicBezTo>
                  <a:cubicBezTo>
                    <a:pt x="459" y="10"/>
                    <a:pt x="379" y="12"/>
                    <a:pt x="303" y="10"/>
                  </a:cubicBezTo>
                  <a:lnTo>
                    <a:pt x="191" y="6"/>
                  </a:lnTo>
                  <a:cubicBezTo>
                    <a:pt x="171" y="6"/>
                    <a:pt x="151" y="4"/>
                    <a:pt x="132" y="2"/>
                  </a:cubicBezTo>
                  <a:cubicBezTo>
                    <a:pt x="122" y="1"/>
                    <a:pt x="112" y="1"/>
                    <a:pt x="10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12" name="Google Shape;112;p11"/>
            <p:cNvSpPr/>
            <p:nvPr/>
          </p:nvSpPr>
          <p:spPr>
            <a:xfrm>
              <a:off x="5178525" y="2618350"/>
              <a:ext cx="15000" cy="3650"/>
            </a:xfrm>
            <a:custGeom>
              <a:avLst/>
              <a:gdLst/>
              <a:ahLst/>
              <a:cxnLst/>
              <a:rect l="l" t="t" r="r" b="b"/>
              <a:pathLst>
                <a:path w="600" h="146" extrusionOk="0">
                  <a:moveTo>
                    <a:pt x="240" y="1"/>
                  </a:moveTo>
                  <a:cubicBezTo>
                    <a:pt x="222" y="1"/>
                    <a:pt x="204" y="1"/>
                    <a:pt x="186" y="3"/>
                  </a:cubicBezTo>
                  <a:cubicBezTo>
                    <a:pt x="137" y="3"/>
                    <a:pt x="90" y="9"/>
                    <a:pt x="44" y="24"/>
                  </a:cubicBezTo>
                  <a:cubicBezTo>
                    <a:pt x="17" y="31"/>
                    <a:pt x="0" y="57"/>
                    <a:pt x="4" y="84"/>
                  </a:cubicBezTo>
                  <a:cubicBezTo>
                    <a:pt x="8" y="111"/>
                    <a:pt x="31" y="132"/>
                    <a:pt x="58" y="132"/>
                  </a:cubicBezTo>
                  <a:cubicBezTo>
                    <a:pt x="69" y="133"/>
                    <a:pt x="79" y="134"/>
                    <a:pt x="89" y="134"/>
                  </a:cubicBezTo>
                  <a:cubicBezTo>
                    <a:pt x="100" y="134"/>
                    <a:pt x="110" y="133"/>
                    <a:pt x="121" y="132"/>
                  </a:cubicBezTo>
                  <a:cubicBezTo>
                    <a:pt x="142" y="131"/>
                    <a:pt x="163" y="130"/>
                    <a:pt x="183" y="130"/>
                  </a:cubicBezTo>
                  <a:cubicBezTo>
                    <a:pt x="195" y="130"/>
                    <a:pt x="208" y="130"/>
                    <a:pt x="221" y="130"/>
                  </a:cubicBezTo>
                  <a:cubicBezTo>
                    <a:pt x="251" y="130"/>
                    <a:pt x="281" y="131"/>
                    <a:pt x="311" y="131"/>
                  </a:cubicBezTo>
                  <a:cubicBezTo>
                    <a:pt x="355" y="133"/>
                    <a:pt x="395" y="137"/>
                    <a:pt x="436" y="141"/>
                  </a:cubicBezTo>
                  <a:cubicBezTo>
                    <a:pt x="459" y="143"/>
                    <a:pt x="485" y="145"/>
                    <a:pt x="510" y="145"/>
                  </a:cubicBezTo>
                  <a:cubicBezTo>
                    <a:pt x="529" y="145"/>
                    <a:pt x="547" y="144"/>
                    <a:pt x="564" y="140"/>
                  </a:cubicBezTo>
                  <a:cubicBezTo>
                    <a:pt x="591" y="132"/>
                    <a:pt x="599" y="100"/>
                    <a:pt x="580" y="81"/>
                  </a:cubicBezTo>
                  <a:cubicBezTo>
                    <a:pt x="548" y="51"/>
                    <a:pt x="497" y="35"/>
                    <a:pt x="455" y="25"/>
                  </a:cubicBezTo>
                  <a:cubicBezTo>
                    <a:pt x="408" y="14"/>
                    <a:pt x="362" y="7"/>
                    <a:pt x="315" y="4"/>
                  </a:cubicBezTo>
                  <a:cubicBezTo>
                    <a:pt x="289" y="2"/>
                    <a:pt x="265" y="1"/>
                    <a:pt x="24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 1">
  <p:cSld name="CUSTOM_14"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p13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9pPr>
          </a:lstStyle>
          <a:p>
            <a:endParaRPr/>
          </a:p>
        </p:txBody>
      </p:sp>
      <p:sp>
        <p:nvSpPr>
          <p:cNvPr id="116" name="Google Shape;116;p13"/>
          <p:cNvSpPr txBox="1">
            <a:spLocks noGrp="1"/>
          </p:cNvSpPr>
          <p:nvPr>
            <p:ph type="title" idx="2"/>
          </p:nvPr>
        </p:nvSpPr>
        <p:spPr>
          <a:xfrm>
            <a:off x="3656148" y="4690904"/>
            <a:ext cx="2337600" cy="106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17" name="Google Shape;117;p13"/>
          <p:cNvSpPr txBox="1">
            <a:spLocks noGrp="1"/>
          </p:cNvSpPr>
          <p:nvPr>
            <p:ph type="title" idx="3"/>
          </p:nvPr>
        </p:nvSpPr>
        <p:spPr>
          <a:xfrm>
            <a:off x="6198247" y="4690904"/>
            <a:ext cx="2337600" cy="106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18" name="Google Shape;118;p13"/>
          <p:cNvSpPr txBox="1">
            <a:spLocks noGrp="1"/>
          </p:cNvSpPr>
          <p:nvPr>
            <p:ph type="title" idx="4"/>
          </p:nvPr>
        </p:nvSpPr>
        <p:spPr>
          <a:xfrm>
            <a:off x="3656148" y="4130500"/>
            <a:ext cx="2337600" cy="76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119" name="Google Shape;119;p13"/>
          <p:cNvSpPr txBox="1">
            <a:spLocks noGrp="1"/>
          </p:cNvSpPr>
          <p:nvPr>
            <p:ph type="title" idx="5"/>
          </p:nvPr>
        </p:nvSpPr>
        <p:spPr>
          <a:xfrm>
            <a:off x="6198248" y="4130500"/>
            <a:ext cx="2337600" cy="76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120" name="Google Shape;120;p13"/>
          <p:cNvSpPr txBox="1">
            <a:spLocks noGrp="1"/>
          </p:cNvSpPr>
          <p:nvPr>
            <p:ph type="title" idx="6"/>
          </p:nvPr>
        </p:nvSpPr>
        <p:spPr>
          <a:xfrm>
            <a:off x="8740347" y="4690904"/>
            <a:ext cx="2337600" cy="106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21" name="Google Shape;121;p13"/>
          <p:cNvSpPr txBox="1">
            <a:spLocks noGrp="1"/>
          </p:cNvSpPr>
          <p:nvPr>
            <p:ph type="title" idx="7"/>
          </p:nvPr>
        </p:nvSpPr>
        <p:spPr>
          <a:xfrm>
            <a:off x="8740347" y="4130500"/>
            <a:ext cx="2337600" cy="76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122" name="Google Shape;122;p13"/>
          <p:cNvSpPr txBox="1">
            <a:spLocks noGrp="1"/>
          </p:cNvSpPr>
          <p:nvPr>
            <p:ph type="title" idx="8"/>
          </p:nvPr>
        </p:nvSpPr>
        <p:spPr>
          <a:xfrm>
            <a:off x="1114051" y="4690904"/>
            <a:ext cx="2337600" cy="106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23" name="Google Shape;123;p13"/>
          <p:cNvSpPr txBox="1">
            <a:spLocks noGrp="1"/>
          </p:cNvSpPr>
          <p:nvPr>
            <p:ph type="title" idx="9"/>
          </p:nvPr>
        </p:nvSpPr>
        <p:spPr>
          <a:xfrm>
            <a:off x="1114051" y="4130500"/>
            <a:ext cx="2337600" cy="76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124" name="Google Shape;124;p13"/>
          <p:cNvSpPr txBox="1">
            <a:spLocks noGrp="1"/>
          </p:cNvSpPr>
          <p:nvPr>
            <p:ph type="title" idx="13" hasCustomPrompt="1"/>
          </p:nvPr>
        </p:nvSpPr>
        <p:spPr>
          <a:xfrm>
            <a:off x="1114051" y="3169920"/>
            <a:ext cx="2337600" cy="106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53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r>
              <a:t>xx%</a:t>
            </a:r>
          </a:p>
        </p:txBody>
      </p:sp>
      <p:sp>
        <p:nvSpPr>
          <p:cNvPr id="125" name="Google Shape;125;p13"/>
          <p:cNvSpPr txBox="1">
            <a:spLocks noGrp="1"/>
          </p:cNvSpPr>
          <p:nvPr>
            <p:ph type="title" idx="14" hasCustomPrompt="1"/>
          </p:nvPr>
        </p:nvSpPr>
        <p:spPr>
          <a:xfrm>
            <a:off x="3656151" y="3169920"/>
            <a:ext cx="2337600" cy="106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53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r>
              <a:t>xx%</a:t>
            </a:r>
          </a:p>
        </p:txBody>
      </p:sp>
      <p:sp>
        <p:nvSpPr>
          <p:cNvPr id="126" name="Google Shape;126;p13"/>
          <p:cNvSpPr txBox="1">
            <a:spLocks noGrp="1"/>
          </p:cNvSpPr>
          <p:nvPr>
            <p:ph type="title" idx="15" hasCustomPrompt="1"/>
          </p:nvPr>
        </p:nvSpPr>
        <p:spPr>
          <a:xfrm>
            <a:off x="6198251" y="3169920"/>
            <a:ext cx="2337600" cy="106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53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r>
              <a:t>xx%</a:t>
            </a:r>
          </a:p>
        </p:txBody>
      </p:sp>
      <p:sp>
        <p:nvSpPr>
          <p:cNvPr id="127" name="Google Shape;127;p13"/>
          <p:cNvSpPr txBox="1">
            <a:spLocks noGrp="1"/>
          </p:cNvSpPr>
          <p:nvPr>
            <p:ph type="title" idx="16" hasCustomPrompt="1"/>
          </p:nvPr>
        </p:nvSpPr>
        <p:spPr>
          <a:xfrm>
            <a:off x="8740351" y="3169920"/>
            <a:ext cx="2337600" cy="106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53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r>
              <a:t>xx%</a:t>
            </a:r>
          </a:p>
        </p:txBody>
      </p:sp>
      <p:grpSp>
        <p:nvGrpSpPr>
          <p:cNvPr id="128" name="Google Shape;128;p13"/>
          <p:cNvGrpSpPr/>
          <p:nvPr/>
        </p:nvGrpSpPr>
        <p:grpSpPr>
          <a:xfrm>
            <a:off x="-2264365" y="593371"/>
            <a:ext cx="14570679" cy="3262632"/>
            <a:chOff x="-1698274" y="778703"/>
            <a:chExt cx="10928009" cy="2446974"/>
          </a:xfrm>
        </p:grpSpPr>
        <p:sp>
          <p:nvSpPr>
            <p:cNvPr id="129" name="Google Shape;129;p13"/>
            <p:cNvSpPr/>
            <p:nvPr/>
          </p:nvSpPr>
          <p:spPr>
            <a:xfrm rot="-385521">
              <a:off x="-1666583" y="1383116"/>
              <a:ext cx="10864626" cy="1238147"/>
            </a:xfrm>
            <a:custGeom>
              <a:avLst/>
              <a:gdLst/>
              <a:ahLst/>
              <a:cxnLst/>
              <a:rect l="l" t="t" r="r" b="b"/>
              <a:pathLst>
                <a:path w="58779" h="15039" extrusionOk="0">
                  <a:moveTo>
                    <a:pt x="40" y="251"/>
                  </a:moveTo>
                  <a:cubicBezTo>
                    <a:pt x="0" y="251"/>
                    <a:pt x="108" y="313"/>
                    <a:pt x="425" y="472"/>
                  </a:cubicBezTo>
                  <a:cubicBezTo>
                    <a:pt x="883" y="701"/>
                    <a:pt x="1509" y="808"/>
                    <a:pt x="2169" y="870"/>
                  </a:cubicBezTo>
                  <a:lnTo>
                    <a:pt x="2169" y="870"/>
                  </a:lnTo>
                  <a:cubicBezTo>
                    <a:pt x="1206" y="656"/>
                    <a:pt x="142" y="251"/>
                    <a:pt x="40" y="251"/>
                  </a:cubicBezTo>
                  <a:close/>
                  <a:moveTo>
                    <a:pt x="10025" y="1"/>
                  </a:moveTo>
                  <a:cubicBezTo>
                    <a:pt x="9252" y="1"/>
                    <a:pt x="8347" y="54"/>
                    <a:pt x="7228" y="181"/>
                  </a:cubicBezTo>
                  <a:cubicBezTo>
                    <a:pt x="5795" y="343"/>
                    <a:pt x="4856" y="538"/>
                    <a:pt x="3475" y="957"/>
                  </a:cubicBezTo>
                  <a:lnTo>
                    <a:pt x="3475" y="957"/>
                  </a:lnTo>
                  <a:cubicBezTo>
                    <a:pt x="3050" y="932"/>
                    <a:pt x="2602" y="911"/>
                    <a:pt x="2169" y="870"/>
                  </a:cubicBezTo>
                  <a:lnTo>
                    <a:pt x="2169" y="870"/>
                  </a:lnTo>
                  <a:cubicBezTo>
                    <a:pt x="2516" y="947"/>
                    <a:pt x="2850" y="1000"/>
                    <a:pt x="3121" y="1000"/>
                  </a:cubicBezTo>
                  <a:cubicBezTo>
                    <a:pt x="3256" y="1000"/>
                    <a:pt x="3376" y="987"/>
                    <a:pt x="3474" y="957"/>
                  </a:cubicBezTo>
                  <a:cubicBezTo>
                    <a:pt x="3474" y="957"/>
                    <a:pt x="3475" y="957"/>
                    <a:pt x="3475" y="957"/>
                  </a:cubicBezTo>
                  <a:lnTo>
                    <a:pt x="3475" y="957"/>
                  </a:lnTo>
                  <a:cubicBezTo>
                    <a:pt x="3921" y="982"/>
                    <a:pt x="4343" y="1010"/>
                    <a:pt x="4696" y="1067"/>
                  </a:cubicBezTo>
                  <a:cubicBezTo>
                    <a:pt x="6111" y="1291"/>
                    <a:pt x="7522" y="1547"/>
                    <a:pt x="8918" y="1867"/>
                  </a:cubicBezTo>
                  <a:cubicBezTo>
                    <a:pt x="11944" y="2558"/>
                    <a:pt x="14923" y="3538"/>
                    <a:pt x="17647" y="5046"/>
                  </a:cubicBezTo>
                  <a:cubicBezTo>
                    <a:pt x="21049" y="6930"/>
                    <a:pt x="23627" y="7708"/>
                    <a:pt x="26956" y="9717"/>
                  </a:cubicBezTo>
                  <a:cubicBezTo>
                    <a:pt x="33431" y="13626"/>
                    <a:pt x="41225" y="15038"/>
                    <a:pt x="48933" y="15038"/>
                  </a:cubicBezTo>
                  <a:cubicBezTo>
                    <a:pt x="51669" y="15038"/>
                    <a:pt x="54395" y="14860"/>
                    <a:pt x="57046" y="14552"/>
                  </a:cubicBezTo>
                  <a:cubicBezTo>
                    <a:pt x="57853" y="14459"/>
                    <a:pt x="58778" y="13851"/>
                    <a:pt x="58687" y="13045"/>
                  </a:cubicBezTo>
                  <a:cubicBezTo>
                    <a:pt x="58643" y="12668"/>
                    <a:pt x="58365" y="12363"/>
                    <a:pt x="58068" y="12126"/>
                  </a:cubicBezTo>
                  <a:cubicBezTo>
                    <a:pt x="56243" y="10673"/>
                    <a:pt x="53649" y="10981"/>
                    <a:pt x="51319" y="10871"/>
                  </a:cubicBezTo>
                  <a:cubicBezTo>
                    <a:pt x="49167" y="10768"/>
                    <a:pt x="47138" y="9869"/>
                    <a:pt x="44999" y="9606"/>
                  </a:cubicBezTo>
                  <a:cubicBezTo>
                    <a:pt x="33862" y="8232"/>
                    <a:pt x="26530" y="2093"/>
                    <a:pt x="18708" y="1371"/>
                  </a:cubicBezTo>
                  <a:cubicBezTo>
                    <a:pt x="14172" y="953"/>
                    <a:pt x="13284" y="1"/>
                    <a:pt x="1002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30" name="Google Shape;130;p13"/>
            <p:cNvSpPr/>
            <p:nvPr/>
          </p:nvSpPr>
          <p:spPr>
            <a:xfrm rot="-385539">
              <a:off x="1529708" y="1945575"/>
              <a:ext cx="63862" cy="22832"/>
            </a:xfrm>
            <a:custGeom>
              <a:avLst/>
              <a:gdLst/>
              <a:ahLst/>
              <a:cxnLst/>
              <a:rect l="l" t="t" r="r" b="b"/>
              <a:pathLst>
                <a:path w="552" h="193" extrusionOk="0">
                  <a:moveTo>
                    <a:pt x="480" y="0"/>
                  </a:moveTo>
                  <a:cubicBezTo>
                    <a:pt x="344" y="6"/>
                    <a:pt x="210" y="27"/>
                    <a:pt x="75" y="42"/>
                  </a:cubicBezTo>
                  <a:cubicBezTo>
                    <a:pt x="55" y="43"/>
                    <a:pt x="36" y="51"/>
                    <a:pt x="23" y="64"/>
                  </a:cubicBezTo>
                  <a:cubicBezTo>
                    <a:pt x="9" y="78"/>
                    <a:pt x="0" y="97"/>
                    <a:pt x="0" y="117"/>
                  </a:cubicBezTo>
                  <a:cubicBezTo>
                    <a:pt x="2" y="152"/>
                    <a:pt x="31" y="192"/>
                    <a:pt x="70" y="192"/>
                  </a:cubicBezTo>
                  <a:cubicBezTo>
                    <a:pt x="71" y="192"/>
                    <a:pt x="73" y="192"/>
                    <a:pt x="75" y="192"/>
                  </a:cubicBezTo>
                  <a:cubicBezTo>
                    <a:pt x="218" y="178"/>
                    <a:pt x="359" y="168"/>
                    <a:pt x="499" y="144"/>
                  </a:cubicBezTo>
                  <a:cubicBezTo>
                    <a:pt x="533" y="137"/>
                    <a:pt x="550" y="103"/>
                    <a:pt x="552" y="73"/>
                  </a:cubicBezTo>
                  <a:cubicBezTo>
                    <a:pt x="552" y="67"/>
                    <a:pt x="552" y="60"/>
                    <a:pt x="550" y="54"/>
                  </a:cubicBezTo>
                  <a:cubicBezTo>
                    <a:pt x="540" y="22"/>
                    <a:pt x="512" y="1"/>
                    <a:pt x="48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31" name="Google Shape;131;p13"/>
            <p:cNvSpPr/>
            <p:nvPr/>
          </p:nvSpPr>
          <p:spPr>
            <a:xfrm rot="-385539">
              <a:off x="1573975" y="1888878"/>
              <a:ext cx="50095" cy="26973"/>
            </a:xfrm>
            <a:custGeom>
              <a:avLst/>
              <a:gdLst/>
              <a:ahLst/>
              <a:cxnLst/>
              <a:rect l="l" t="t" r="r" b="b"/>
              <a:pathLst>
                <a:path w="433" h="228" extrusionOk="0">
                  <a:moveTo>
                    <a:pt x="128" y="203"/>
                  </a:moveTo>
                  <a:cubicBezTo>
                    <a:pt x="126" y="204"/>
                    <a:pt x="126" y="204"/>
                    <a:pt x="126" y="204"/>
                  </a:cubicBezTo>
                  <a:cubicBezTo>
                    <a:pt x="126" y="204"/>
                    <a:pt x="127" y="204"/>
                    <a:pt x="128" y="203"/>
                  </a:cubicBezTo>
                  <a:close/>
                  <a:moveTo>
                    <a:pt x="302" y="0"/>
                  </a:moveTo>
                  <a:cubicBezTo>
                    <a:pt x="267" y="3"/>
                    <a:pt x="235" y="8"/>
                    <a:pt x="202" y="17"/>
                  </a:cubicBezTo>
                  <a:cubicBezTo>
                    <a:pt x="138" y="36"/>
                    <a:pt x="79" y="68"/>
                    <a:pt x="28" y="111"/>
                  </a:cubicBezTo>
                  <a:cubicBezTo>
                    <a:pt x="1" y="134"/>
                    <a:pt x="3" y="184"/>
                    <a:pt x="28" y="208"/>
                  </a:cubicBezTo>
                  <a:cubicBezTo>
                    <a:pt x="41" y="221"/>
                    <a:pt x="58" y="227"/>
                    <a:pt x="76" y="227"/>
                  </a:cubicBezTo>
                  <a:cubicBezTo>
                    <a:pt x="93" y="227"/>
                    <a:pt x="110" y="221"/>
                    <a:pt x="124" y="208"/>
                  </a:cubicBezTo>
                  <a:lnTo>
                    <a:pt x="123" y="206"/>
                  </a:lnTo>
                  <a:cubicBezTo>
                    <a:pt x="126" y="204"/>
                    <a:pt x="128" y="202"/>
                    <a:pt x="131" y="200"/>
                  </a:cubicBezTo>
                  <a:lnTo>
                    <a:pt x="131" y="200"/>
                  </a:lnTo>
                  <a:cubicBezTo>
                    <a:pt x="131" y="200"/>
                    <a:pt x="129" y="202"/>
                    <a:pt x="128" y="203"/>
                  </a:cubicBezTo>
                  <a:lnTo>
                    <a:pt x="128" y="203"/>
                  </a:lnTo>
                  <a:cubicBezTo>
                    <a:pt x="128" y="203"/>
                    <a:pt x="129" y="202"/>
                    <a:pt x="129" y="202"/>
                  </a:cubicBezTo>
                  <a:cubicBezTo>
                    <a:pt x="135" y="198"/>
                    <a:pt x="140" y="194"/>
                    <a:pt x="145" y="190"/>
                  </a:cubicBezTo>
                  <a:cubicBezTo>
                    <a:pt x="156" y="183"/>
                    <a:pt x="167" y="177"/>
                    <a:pt x="179" y="170"/>
                  </a:cubicBezTo>
                  <a:cubicBezTo>
                    <a:pt x="184" y="167"/>
                    <a:pt x="190" y="165"/>
                    <a:pt x="197" y="162"/>
                  </a:cubicBezTo>
                  <a:cubicBezTo>
                    <a:pt x="197" y="161"/>
                    <a:pt x="198" y="161"/>
                    <a:pt x="199" y="161"/>
                  </a:cubicBezTo>
                  <a:lnTo>
                    <a:pt x="199" y="161"/>
                  </a:lnTo>
                  <a:cubicBezTo>
                    <a:pt x="199" y="161"/>
                    <a:pt x="199" y="161"/>
                    <a:pt x="199" y="161"/>
                  </a:cubicBezTo>
                  <a:cubicBezTo>
                    <a:pt x="200" y="161"/>
                    <a:pt x="201" y="160"/>
                    <a:pt x="203" y="159"/>
                  </a:cubicBezTo>
                  <a:lnTo>
                    <a:pt x="203" y="159"/>
                  </a:lnTo>
                  <a:cubicBezTo>
                    <a:pt x="202" y="160"/>
                    <a:pt x="200" y="160"/>
                    <a:pt x="199" y="161"/>
                  </a:cubicBezTo>
                  <a:lnTo>
                    <a:pt x="199" y="161"/>
                  </a:lnTo>
                  <a:cubicBezTo>
                    <a:pt x="199" y="161"/>
                    <a:pt x="200" y="160"/>
                    <a:pt x="203" y="159"/>
                  </a:cubicBezTo>
                  <a:cubicBezTo>
                    <a:pt x="204" y="158"/>
                    <a:pt x="204" y="158"/>
                    <a:pt x="205" y="158"/>
                  </a:cubicBezTo>
                  <a:lnTo>
                    <a:pt x="205" y="158"/>
                  </a:lnTo>
                  <a:cubicBezTo>
                    <a:pt x="205" y="158"/>
                    <a:pt x="204" y="159"/>
                    <a:pt x="203" y="159"/>
                  </a:cubicBezTo>
                  <a:lnTo>
                    <a:pt x="203" y="159"/>
                  </a:lnTo>
                  <a:cubicBezTo>
                    <a:pt x="204" y="159"/>
                    <a:pt x="205" y="158"/>
                    <a:pt x="205" y="158"/>
                  </a:cubicBezTo>
                  <a:lnTo>
                    <a:pt x="205" y="158"/>
                  </a:lnTo>
                  <a:cubicBezTo>
                    <a:pt x="217" y="153"/>
                    <a:pt x="230" y="149"/>
                    <a:pt x="242" y="146"/>
                  </a:cubicBezTo>
                  <a:cubicBezTo>
                    <a:pt x="256" y="142"/>
                    <a:pt x="267" y="140"/>
                    <a:pt x="280" y="136"/>
                  </a:cubicBezTo>
                  <a:lnTo>
                    <a:pt x="300" y="133"/>
                  </a:lnTo>
                  <a:lnTo>
                    <a:pt x="303" y="133"/>
                  </a:lnTo>
                  <a:cubicBezTo>
                    <a:pt x="300" y="134"/>
                    <a:pt x="299" y="134"/>
                    <a:pt x="299" y="134"/>
                  </a:cubicBezTo>
                  <a:cubicBezTo>
                    <a:pt x="299" y="134"/>
                    <a:pt x="305" y="133"/>
                    <a:pt x="306" y="133"/>
                  </a:cubicBezTo>
                  <a:cubicBezTo>
                    <a:pt x="319" y="132"/>
                    <a:pt x="333" y="131"/>
                    <a:pt x="345" y="131"/>
                  </a:cubicBezTo>
                  <a:cubicBezTo>
                    <a:pt x="348" y="131"/>
                    <a:pt x="350" y="131"/>
                    <a:pt x="352" y="131"/>
                  </a:cubicBezTo>
                  <a:cubicBezTo>
                    <a:pt x="362" y="131"/>
                    <a:pt x="373" y="129"/>
                    <a:pt x="382" y="126"/>
                  </a:cubicBezTo>
                  <a:cubicBezTo>
                    <a:pt x="391" y="123"/>
                    <a:pt x="398" y="120"/>
                    <a:pt x="405" y="116"/>
                  </a:cubicBezTo>
                  <a:cubicBezTo>
                    <a:pt x="422" y="106"/>
                    <a:pt x="433" y="88"/>
                    <a:pt x="432" y="69"/>
                  </a:cubicBezTo>
                  <a:cubicBezTo>
                    <a:pt x="432" y="49"/>
                    <a:pt x="421" y="32"/>
                    <a:pt x="405" y="22"/>
                  </a:cubicBezTo>
                  <a:cubicBezTo>
                    <a:pt x="398" y="16"/>
                    <a:pt x="391" y="11"/>
                    <a:pt x="382" y="8"/>
                  </a:cubicBezTo>
                  <a:cubicBezTo>
                    <a:pt x="370" y="4"/>
                    <a:pt x="357" y="0"/>
                    <a:pt x="34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32" name="Google Shape;132;p13"/>
            <p:cNvSpPr/>
            <p:nvPr/>
          </p:nvSpPr>
          <p:spPr>
            <a:xfrm rot="-385539">
              <a:off x="4421442" y="2155283"/>
              <a:ext cx="121939" cy="30285"/>
            </a:xfrm>
            <a:custGeom>
              <a:avLst/>
              <a:gdLst/>
              <a:ahLst/>
              <a:cxnLst/>
              <a:rect l="l" t="t" r="r" b="b"/>
              <a:pathLst>
                <a:path w="1054" h="256" extrusionOk="0">
                  <a:moveTo>
                    <a:pt x="893" y="3"/>
                  </a:moveTo>
                  <a:cubicBezTo>
                    <a:pt x="864" y="4"/>
                    <a:pt x="836" y="6"/>
                    <a:pt x="807" y="9"/>
                  </a:cubicBezTo>
                  <a:cubicBezTo>
                    <a:pt x="750" y="14"/>
                    <a:pt x="694" y="20"/>
                    <a:pt x="637" y="26"/>
                  </a:cubicBezTo>
                  <a:lnTo>
                    <a:pt x="295" y="63"/>
                  </a:lnTo>
                  <a:cubicBezTo>
                    <a:pt x="258" y="67"/>
                    <a:pt x="220" y="70"/>
                    <a:pt x="183" y="77"/>
                  </a:cubicBezTo>
                  <a:cubicBezTo>
                    <a:pt x="150" y="83"/>
                    <a:pt x="119" y="90"/>
                    <a:pt x="88" y="100"/>
                  </a:cubicBezTo>
                  <a:cubicBezTo>
                    <a:pt x="1" y="124"/>
                    <a:pt x="19" y="253"/>
                    <a:pt x="109" y="253"/>
                  </a:cubicBezTo>
                  <a:lnTo>
                    <a:pt x="128" y="254"/>
                  </a:lnTo>
                  <a:lnTo>
                    <a:pt x="143" y="254"/>
                  </a:lnTo>
                  <a:cubicBezTo>
                    <a:pt x="125" y="254"/>
                    <a:pt x="162" y="256"/>
                    <a:pt x="161" y="256"/>
                  </a:cubicBezTo>
                  <a:lnTo>
                    <a:pt x="194" y="256"/>
                  </a:lnTo>
                  <a:cubicBezTo>
                    <a:pt x="222" y="256"/>
                    <a:pt x="251" y="251"/>
                    <a:pt x="279" y="247"/>
                  </a:cubicBezTo>
                  <a:lnTo>
                    <a:pt x="449" y="230"/>
                  </a:lnTo>
                  <a:cubicBezTo>
                    <a:pt x="563" y="217"/>
                    <a:pt x="678" y="205"/>
                    <a:pt x="791" y="191"/>
                  </a:cubicBezTo>
                  <a:cubicBezTo>
                    <a:pt x="828" y="186"/>
                    <a:pt x="866" y="184"/>
                    <a:pt x="902" y="177"/>
                  </a:cubicBezTo>
                  <a:cubicBezTo>
                    <a:pt x="918" y="174"/>
                    <a:pt x="932" y="169"/>
                    <a:pt x="946" y="166"/>
                  </a:cubicBezTo>
                  <a:cubicBezTo>
                    <a:pt x="955" y="164"/>
                    <a:pt x="963" y="162"/>
                    <a:pt x="972" y="160"/>
                  </a:cubicBezTo>
                  <a:cubicBezTo>
                    <a:pt x="989" y="155"/>
                    <a:pt x="1004" y="146"/>
                    <a:pt x="1017" y="135"/>
                  </a:cubicBezTo>
                  <a:cubicBezTo>
                    <a:pt x="1054" y="106"/>
                    <a:pt x="1042" y="38"/>
                    <a:pt x="1002" y="18"/>
                  </a:cubicBezTo>
                  <a:cubicBezTo>
                    <a:pt x="967" y="1"/>
                    <a:pt x="930" y="4"/>
                    <a:pt x="893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33" name="Google Shape;133;p13"/>
            <p:cNvSpPr/>
            <p:nvPr/>
          </p:nvSpPr>
          <p:spPr>
            <a:xfrm rot="-385539">
              <a:off x="7815186" y="1857746"/>
              <a:ext cx="100189" cy="35017"/>
            </a:xfrm>
            <a:custGeom>
              <a:avLst/>
              <a:gdLst/>
              <a:ahLst/>
              <a:cxnLst/>
              <a:rect l="l" t="t" r="r" b="b"/>
              <a:pathLst>
                <a:path w="866" h="296" extrusionOk="0">
                  <a:moveTo>
                    <a:pt x="770" y="0"/>
                  </a:moveTo>
                  <a:cubicBezTo>
                    <a:pt x="750" y="1"/>
                    <a:pt x="730" y="4"/>
                    <a:pt x="711" y="10"/>
                  </a:cubicBezTo>
                  <a:lnTo>
                    <a:pt x="622" y="30"/>
                  </a:lnTo>
                  <a:lnTo>
                    <a:pt x="434" y="72"/>
                  </a:lnTo>
                  <a:lnTo>
                    <a:pt x="61" y="154"/>
                  </a:lnTo>
                  <a:cubicBezTo>
                    <a:pt x="23" y="166"/>
                    <a:pt x="1" y="205"/>
                    <a:pt x="11" y="243"/>
                  </a:cubicBezTo>
                  <a:cubicBezTo>
                    <a:pt x="20" y="275"/>
                    <a:pt x="49" y="295"/>
                    <a:pt x="81" y="295"/>
                  </a:cubicBezTo>
                  <a:cubicBezTo>
                    <a:pt x="87" y="295"/>
                    <a:pt x="93" y="295"/>
                    <a:pt x="99" y="293"/>
                  </a:cubicBezTo>
                  <a:lnTo>
                    <a:pt x="100" y="293"/>
                  </a:lnTo>
                  <a:lnTo>
                    <a:pt x="474" y="215"/>
                  </a:lnTo>
                  <a:lnTo>
                    <a:pt x="659" y="176"/>
                  </a:lnTo>
                  <a:lnTo>
                    <a:pt x="752" y="157"/>
                  </a:lnTo>
                  <a:cubicBezTo>
                    <a:pt x="771" y="154"/>
                    <a:pt x="790" y="149"/>
                    <a:pt x="807" y="139"/>
                  </a:cubicBezTo>
                  <a:cubicBezTo>
                    <a:pt x="826" y="128"/>
                    <a:pt x="841" y="111"/>
                    <a:pt x="851" y="92"/>
                  </a:cubicBezTo>
                  <a:cubicBezTo>
                    <a:pt x="865" y="69"/>
                    <a:pt x="857" y="38"/>
                    <a:pt x="833" y="23"/>
                  </a:cubicBezTo>
                  <a:cubicBezTo>
                    <a:pt x="814" y="10"/>
                    <a:pt x="793" y="2"/>
                    <a:pt x="7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34" name="Google Shape;134;p13"/>
            <p:cNvSpPr/>
            <p:nvPr/>
          </p:nvSpPr>
          <p:spPr>
            <a:xfrm rot="-385539">
              <a:off x="7930569" y="1884292"/>
              <a:ext cx="102156" cy="37738"/>
            </a:xfrm>
            <a:custGeom>
              <a:avLst/>
              <a:gdLst/>
              <a:ahLst/>
              <a:cxnLst/>
              <a:rect l="l" t="t" r="r" b="b"/>
              <a:pathLst>
                <a:path w="883" h="319" extrusionOk="0">
                  <a:moveTo>
                    <a:pt x="794" y="1"/>
                  </a:moveTo>
                  <a:cubicBezTo>
                    <a:pt x="768" y="1"/>
                    <a:pt x="742" y="8"/>
                    <a:pt x="717" y="14"/>
                  </a:cubicBezTo>
                  <a:cubicBezTo>
                    <a:pt x="685" y="21"/>
                    <a:pt x="653" y="31"/>
                    <a:pt x="622" y="39"/>
                  </a:cubicBezTo>
                  <a:cubicBezTo>
                    <a:pt x="561" y="56"/>
                    <a:pt x="500" y="73"/>
                    <a:pt x="439" y="91"/>
                  </a:cubicBezTo>
                  <a:cubicBezTo>
                    <a:pt x="379" y="108"/>
                    <a:pt x="318" y="125"/>
                    <a:pt x="258" y="145"/>
                  </a:cubicBezTo>
                  <a:lnTo>
                    <a:pt x="70" y="206"/>
                  </a:lnTo>
                  <a:cubicBezTo>
                    <a:pt x="0" y="222"/>
                    <a:pt x="20" y="319"/>
                    <a:pt x="81" y="319"/>
                  </a:cubicBezTo>
                  <a:cubicBezTo>
                    <a:pt x="87" y="319"/>
                    <a:pt x="93" y="318"/>
                    <a:pt x="100" y="316"/>
                  </a:cubicBezTo>
                  <a:lnTo>
                    <a:pt x="100" y="317"/>
                  </a:lnTo>
                  <a:lnTo>
                    <a:pt x="293" y="276"/>
                  </a:lnTo>
                  <a:cubicBezTo>
                    <a:pt x="356" y="264"/>
                    <a:pt x="417" y="248"/>
                    <a:pt x="478" y="233"/>
                  </a:cubicBezTo>
                  <a:cubicBezTo>
                    <a:pt x="539" y="219"/>
                    <a:pt x="601" y="204"/>
                    <a:pt x="662" y="188"/>
                  </a:cubicBezTo>
                  <a:cubicBezTo>
                    <a:pt x="694" y="179"/>
                    <a:pt x="727" y="172"/>
                    <a:pt x="757" y="163"/>
                  </a:cubicBezTo>
                  <a:cubicBezTo>
                    <a:pt x="798" y="150"/>
                    <a:pt x="847" y="140"/>
                    <a:pt x="867" y="99"/>
                  </a:cubicBezTo>
                  <a:cubicBezTo>
                    <a:pt x="883" y="70"/>
                    <a:pt x="873" y="33"/>
                    <a:pt x="845" y="15"/>
                  </a:cubicBezTo>
                  <a:cubicBezTo>
                    <a:pt x="829" y="4"/>
                    <a:pt x="812" y="1"/>
                    <a:pt x="79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35" name="Google Shape;135;p13"/>
            <p:cNvSpPr/>
            <p:nvPr/>
          </p:nvSpPr>
          <p:spPr>
            <a:xfrm rot="-385539">
              <a:off x="4535615" y="2206830"/>
              <a:ext cx="70456" cy="17627"/>
            </a:xfrm>
            <a:custGeom>
              <a:avLst/>
              <a:gdLst/>
              <a:ahLst/>
              <a:cxnLst/>
              <a:rect l="l" t="t" r="r" b="b"/>
              <a:pathLst>
                <a:path w="609" h="149" extrusionOk="0">
                  <a:moveTo>
                    <a:pt x="574" y="1"/>
                  </a:moveTo>
                  <a:cubicBezTo>
                    <a:pt x="553" y="1"/>
                    <a:pt x="534" y="8"/>
                    <a:pt x="514" y="14"/>
                  </a:cubicBezTo>
                  <a:cubicBezTo>
                    <a:pt x="492" y="19"/>
                    <a:pt x="471" y="25"/>
                    <a:pt x="449" y="31"/>
                  </a:cubicBezTo>
                  <a:cubicBezTo>
                    <a:pt x="406" y="44"/>
                    <a:pt x="362" y="54"/>
                    <a:pt x="316" y="62"/>
                  </a:cubicBezTo>
                  <a:cubicBezTo>
                    <a:pt x="250" y="73"/>
                    <a:pt x="184" y="78"/>
                    <a:pt x="117" y="78"/>
                  </a:cubicBezTo>
                  <a:cubicBezTo>
                    <a:pt x="94" y="78"/>
                    <a:pt x="71" y="78"/>
                    <a:pt x="49" y="76"/>
                  </a:cubicBezTo>
                  <a:cubicBezTo>
                    <a:pt x="48" y="76"/>
                    <a:pt x="47" y="76"/>
                    <a:pt x="46" y="76"/>
                  </a:cubicBezTo>
                  <a:cubicBezTo>
                    <a:pt x="0" y="76"/>
                    <a:pt x="0" y="146"/>
                    <a:pt x="46" y="146"/>
                  </a:cubicBezTo>
                  <a:cubicBezTo>
                    <a:pt x="47" y="146"/>
                    <a:pt x="48" y="146"/>
                    <a:pt x="49" y="146"/>
                  </a:cubicBezTo>
                  <a:cubicBezTo>
                    <a:pt x="77" y="148"/>
                    <a:pt x="106" y="149"/>
                    <a:pt x="135" y="149"/>
                  </a:cubicBezTo>
                  <a:cubicBezTo>
                    <a:pt x="200" y="149"/>
                    <a:pt x="266" y="144"/>
                    <a:pt x="330" y="134"/>
                  </a:cubicBezTo>
                  <a:cubicBezTo>
                    <a:pt x="377" y="127"/>
                    <a:pt x="422" y="118"/>
                    <a:pt x="467" y="106"/>
                  </a:cubicBezTo>
                  <a:cubicBezTo>
                    <a:pt x="488" y="99"/>
                    <a:pt x="509" y="92"/>
                    <a:pt x="530" y="84"/>
                  </a:cubicBezTo>
                  <a:cubicBezTo>
                    <a:pt x="553" y="75"/>
                    <a:pt x="582" y="68"/>
                    <a:pt x="597" y="48"/>
                  </a:cubicBezTo>
                  <a:cubicBezTo>
                    <a:pt x="608" y="34"/>
                    <a:pt x="608" y="6"/>
                    <a:pt x="585" y="1"/>
                  </a:cubicBezTo>
                  <a:cubicBezTo>
                    <a:pt x="582" y="1"/>
                    <a:pt x="578" y="1"/>
                    <a:pt x="57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 2">
  <p:cSld name="CUSTOM_14_1"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14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9pPr>
          </a:lstStyle>
          <a:p>
            <a:endParaRPr/>
          </a:p>
        </p:txBody>
      </p:sp>
      <p:sp>
        <p:nvSpPr>
          <p:cNvPr id="138" name="Google Shape;138;p14"/>
          <p:cNvSpPr txBox="1">
            <a:spLocks noGrp="1"/>
          </p:cNvSpPr>
          <p:nvPr>
            <p:ph type="title" idx="2"/>
          </p:nvPr>
        </p:nvSpPr>
        <p:spPr>
          <a:xfrm>
            <a:off x="5036524" y="2872779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39" name="Google Shape;139;p14"/>
          <p:cNvSpPr txBox="1">
            <a:spLocks noGrp="1"/>
          </p:cNvSpPr>
          <p:nvPr>
            <p:ph type="title" idx="3"/>
          </p:nvPr>
        </p:nvSpPr>
        <p:spPr>
          <a:xfrm>
            <a:off x="1380557" y="4926000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40" name="Google Shape;140;p14"/>
          <p:cNvSpPr txBox="1">
            <a:spLocks noGrp="1"/>
          </p:cNvSpPr>
          <p:nvPr>
            <p:ph type="title" idx="4"/>
          </p:nvPr>
        </p:nvSpPr>
        <p:spPr>
          <a:xfrm>
            <a:off x="5036524" y="2562879"/>
            <a:ext cx="2147200" cy="513200"/>
          </a:xfrm>
          <a:prstGeom prst="rect">
            <a:avLst/>
          </a:prstGeom>
        </p:spPr>
        <p:txBody>
          <a:bodyPr spcFirstLastPara="1" wrap="square" lIns="91425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41" name="Google Shape;141;p14"/>
          <p:cNvSpPr txBox="1">
            <a:spLocks noGrp="1"/>
          </p:cNvSpPr>
          <p:nvPr>
            <p:ph type="title" idx="5"/>
          </p:nvPr>
        </p:nvSpPr>
        <p:spPr>
          <a:xfrm>
            <a:off x="1380557" y="4615999"/>
            <a:ext cx="2147200" cy="51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42" name="Google Shape;142;p14"/>
          <p:cNvSpPr txBox="1">
            <a:spLocks noGrp="1"/>
          </p:cNvSpPr>
          <p:nvPr>
            <p:ph type="title" idx="6"/>
          </p:nvPr>
        </p:nvSpPr>
        <p:spPr>
          <a:xfrm>
            <a:off x="5036549" y="4926000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43" name="Google Shape;143;p14"/>
          <p:cNvSpPr txBox="1">
            <a:spLocks noGrp="1"/>
          </p:cNvSpPr>
          <p:nvPr>
            <p:ph type="title" idx="7"/>
          </p:nvPr>
        </p:nvSpPr>
        <p:spPr>
          <a:xfrm>
            <a:off x="5036549" y="4615999"/>
            <a:ext cx="2147200" cy="51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44" name="Google Shape;144;p14"/>
          <p:cNvSpPr txBox="1">
            <a:spLocks noGrp="1"/>
          </p:cNvSpPr>
          <p:nvPr>
            <p:ph type="title" idx="8"/>
          </p:nvPr>
        </p:nvSpPr>
        <p:spPr>
          <a:xfrm>
            <a:off x="1380533" y="2872779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45" name="Google Shape;145;p14"/>
          <p:cNvSpPr txBox="1">
            <a:spLocks noGrp="1"/>
          </p:cNvSpPr>
          <p:nvPr>
            <p:ph type="title" idx="9"/>
          </p:nvPr>
        </p:nvSpPr>
        <p:spPr>
          <a:xfrm>
            <a:off x="1380533" y="2562879"/>
            <a:ext cx="2147200" cy="51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46" name="Google Shape;146;p14"/>
          <p:cNvSpPr txBox="1">
            <a:spLocks noGrp="1"/>
          </p:cNvSpPr>
          <p:nvPr>
            <p:ph type="title" idx="13" hasCustomPrompt="1"/>
          </p:nvPr>
        </p:nvSpPr>
        <p:spPr>
          <a:xfrm>
            <a:off x="1380581" y="1494367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47" name="Google Shape;147;p14"/>
          <p:cNvSpPr txBox="1">
            <a:spLocks noGrp="1"/>
          </p:cNvSpPr>
          <p:nvPr>
            <p:ph type="title" idx="14" hasCustomPrompt="1"/>
          </p:nvPr>
        </p:nvSpPr>
        <p:spPr>
          <a:xfrm>
            <a:off x="5036525" y="1494367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48" name="Google Shape;148;p14"/>
          <p:cNvSpPr txBox="1">
            <a:spLocks noGrp="1"/>
          </p:cNvSpPr>
          <p:nvPr>
            <p:ph type="title" idx="15" hasCustomPrompt="1"/>
          </p:nvPr>
        </p:nvSpPr>
        <p:spPr>
          <a:xfrm>
            <a:off x="1380599" y="3547588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49" name="Google Shape;149;p14"/>
          <p:cNvSpPr txBox="1">
            <a:spLocks noGrp="1"/>
          </p:cNvSpPr>
          <p:nvPr>
            <p:ph type="title" idx="16" hasCustomPrompt="1"/>
          </p:nvPr>
        </p:nvSpPr>
        <p:spPr>
          <a:xfrm>
            <a:off x="5036544" y="3547588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50" name="Google Shape;150;p14"/>
          <p:cNvSpPr txBox="1">
            <a:spLocks noGrp="1"/>
          </p:cNvSpPr>
          <p:nvPr>
            <p:ph type="title" idx="17"/>
          </p:nvPr>
        </p:nvSpPr>
        <p:spPr>
          <a:xfrm>
            <a:off x="8692515" y="2872779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51" name="Google Shape;151;p14"/>
          <p:cNvSpPr txBox="1">
            <a:spLocks noGrp="1"/>
          </p:cNvSpPr>
          <p:nvPr>
            <p:ph type="title" idx="18"/>
          </p:nvPr>
        </p:nvSpPr>
        <p:spPr>
          <a:xfrm>
            <a:off x="8692515" y="2562879"/>
            <a:ext cx="2147200" cy="513200"/>
          </a:xfrm>
          <a:prstGeom prst="rect">
            <a:avLst/>
          </a:prstGeom>
        </p:spPr>
        <p:txBody>
          <a:bodyPr spcFirstLastPara="1" wrap="square" lIns="91425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52" name="Google Shape;152;p14"/>
          <p:cNvSpPr txBox="1">
            <a:spLocks noGrp="1"/>
          </p:cNvSpPr>
          <p:nvPr>
            <p:ph type="title" idx="19"/>
          </p:nvPr>
        </p:nvSpPr>
        <p:spPr>
          <a:xfrm>
            <a:off x="8692515" y="4926000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53" name="Google Shape;153;p14"/>
          <p:cNvSpPr txBox="1">
            <a:spLocks noGrp="1"/>
          </p:cNvSpPr>
          <p:nvPr>
            <p:ph type="title" idx="20"/>
          </p:nvPr>
        </p:nvSpPr>
        <p:spPr>
          <a:xfrm>
            <a:off x="8692515" y="4615999"/>
            <a:ext cx="2147200" cy="51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54" name="Google Shape;154;p14"/>
          <p:cNvSpPr txBox="1">
            <a:spLocks noGrp="1"/>
          </p:cNvSpPr>
          <p:nvPr>
            <p:ph type="title" idx="21" hasCustomPrompt="1"/>
          </p:nvPr>
        </p:nvSpPr>
        <p:spPr>
          <a:xfrm>
            <a:off x="8692515" y="1494367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55" name="Google Shape;155;p14"/>
          <p:cNvSpPr txBox="1">
            <a:spLocks noGrp="1"/>
          </p:cNvSpPr>
          <p:nvPr>
            <p:ph type="title" idx="22" hasCustomPrompt="1"/>
          </p:nvPr>
        </p:nvSpPr>
        <p:spPr>
          <a:xfrm>
            <a:off x="8692515" y="3547588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grpSp>
        <p:nvGrpSpPr>
          <p:cNvPr id="156" name="Google Shape;156;p14"/>
          <p:cNvGrpSpPr/>
          <p:nvPr/>
        </p:nvGrpSpPr>
        <p:grpSpPr>
          <a:xfrm>
            <a:off x="5729194" y="-2356691"/>
            <a:ext cx="6616353" cy="4906852"/>
            <a:chOff x="4822800" y="2395325"/>
            <a:chExt cx="807450" cy="598825"/>
          </a:xfrm>
        </p:grpSpPr>
        <p:sp>
          <p:nvSpPr>
            <p:cNvPr id="157" name="Google Shape;157;p14"/>
            <p:cNvSpPr/>
            <p:nvPr/>
          </p:nvSpPr>
          <p:spPr>
            <a:xfrm>
              <a:off x="5094575" y="2654525"/>
              <a:ext cx="12650" cy="3625"/>
            </a:xfrm>
            <a:custGeom>
              <a:avLst/>
              <a:gdLst/>
              <a:ahLst/>
              <a:cxnLst/>
              <a:rect l="l" t="t" r="r" b="b"/>
              <a:pathLst>
                <a:path w="506" h="145" extrusionOk="0">
                  <a:moveTo>
                    <a:pt x="70" y="0"/>
                  </a:moveTo>
                  <a:cubicBezTo>
                    <a:pt x="34" y="0"/>
                    <a:pt x="0" y="37"/>
                    <a:pt x="2" y="72"/>
                  </a:cubicBezTo>
                  <a:cubicBezTo>
                    <a:pt x="3" y="107"/>
                    <a:pt x="32" y="145"/>
                    <a:pt x="70" y="145"/>
                  </a:cubicBezTo>
                  <a:cubicBezTo>
                    <a:pt x="71" y="145"/>
                    <a:pt x="73" y="145"/>
                    <a:pt x="74" y="145"/>
                  </a:cubicBezTo>
                  <a:cubicBezTo>
                    <a:pt x="143" y="138"/>
                    <a:pt x="210" y="133"/>
                    <a:pt x="279" y="127"/>
                  </a:cubicBezTo>
                  <a:cubicBezTo>
                    <a:pt x="312" y="124"/>
                    <a:pt x="346" y="121"/>
                    <a:pt x="379" y="118"/>
                  </a:cubicBezTo>
                  <a:cubicBezTo>
                    <a:pt x="398" y="116"/>
                    <a:pt x="416" y="112"/>
                    <a:pt x="435" y="109"/>
                  </a:cubicBezTo>
                  <a:cubicBezTo>
                    <a:pt x="452" y="107"/>
                    <a:pt x="467" y="102"/>
                    <a:pt x="483" y="97"/>
                  </a:cubicBezTo>
                  <a:cubicBezTo>
                    <a:pt x="505" y="88"/>
                    <a:pt x="505" y="56"/>
                    <a:pt x="483" y="48"/>
                  </a:cubicBezTo>
                  <a:cubicBezTo>
                    <a:pt x="467" y="42"/>
                    <a:pt x="452" y="38"/>
                    <a:pt x="435" y="36"/>
                  </a:cubicBezTo>
                  <a:cubicBezTo>
                    <a:pt x="416" y="33"/>
                    <a:pt x="398" y="29"/>
                    <a:pt x="379" y="27"/>
                  </a:cubicBezTo>
                  <a:cubicBezTo>
                    <a:pt x="346" y="22"/>
                    <a:pt x="312" y="21"/>
                    <a:pt x="279" y="18"/>
                  </a:cubicBezTo>
                  <a:cubicBezTo>
                    <a:pt x="210" y="11"/>
                    <a:pt x="143" y="7"/>
                    <a:pt x="74" y="0"/>
                  </a:cubicBezTo>
                  <a:cubicBezTo>
                    <a:pt x="73" y="0"/>
                    <a:pt x="71" y="0"/>
                    <a:pt x="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58" name="Google Shape;158;p14"/>
            <p:cNvSpPr/>
            <p:nvPr/>
          </p:nvSpPr>
          <p:spPr>
            <a:xfrm>
              <a:off x="5106150" y="2668325"/>
              <a:ext cx="8925" cy="3875"/>
            </a:xfrm>
            <a:custGeom>
              <a:avLst/>
              <a:gdLst/>
              <a:ahLst/>
              <a:cxnLst/>
              <a:rect l="l" t="t" r="r" b="b"/>
              <a:pathLst>
                <a:path w="357" h="155" extrusionOk="0">
                  <a:moveTo>
                    <a:pt x="154" y="1"/>
                  </a:moveTo>
                  <a:cubicBezTo>
                    <a:pt x="128" y="1"/>
                    <a:pt x="101" y="2"/>
                    <a:pt x="75" y="3"/>
                  </a:cubicBezTo>
                  <a:cubicBezTo>
                    <a:pt x="34" y="3"/>
                    <a:pt x="1" y="36"/>
                    <a:pt x="0" y="78"/>
                  </a:cubicBezTo>
                  <a:cubicBezTo>
                    <a:pt x="1" y="119"/>
                    <a:pt x="34" y="151"/>
                    <a:pt x="75" y="152"/>
                  </a:cubicBezTo>
                  <a:cubicBezTo>
                    <a:pt x="104" y="152"/>
                    <a:pt x="133" y="154"/>
                    <a:pt x="161" y="154"/>
                  </a:cubicBezTo>
                  <a:cubicBezTo>
                    <a:pt x="171" y="154"/>
                    <a:pt x="180" y="154"/>
                    <a:pt x="190" y="154"/>
                  </a:cubicBezTo>
                  <a:lnTo>
                    <a:pt x="245" y="150"/>
                  </a:lnTo>
                  <a:cubicBezTo>
                    <a:pt x="255" y="150"/>
                    <a:pt x="265" y="149"/>
                    <a:pt x="275" y="148"/>
                  </a:cubicBezTo>
                  <a:cubicBezTo>
                    <a:pt x="298" y="147"/>
                    <a:pt x="320" y="137"/>
                    <a:pt x="333" y="120"/>
                  </a:cubicBezTo>
                  <a:cubicBezTo>
                    <a:pt x="357" y="96"/>
                    <a:pt x="357" y="59"/>
                    <a:pt x="333" y="35"/>
                  </a:cubicBezTo>
                  <a:cubicBezTo>
                    <a:pt x="320" y="18"/>
                    <a:pt x="298" y="7"/>
                    <a:pt x="275" y="6"/>
                  </a:cubicBezTo>
                  <a:cubicBezTo>
                    <a:pt x="265" y="5"/>
                    <a:pt x="255" y="5"/>
                    <a:pt x="245" y="5"/>
                  </a:cubicBezTo>
                  <a:lnTo>
                    <a:pt x="190" y="2"/>
                  </a:lnTo>
                  <a:cubicBezTo>
                    <a:pt x="178" y="1"/>
                    <a:pt x="166" y="1"/>
                    <a:pt x="15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59" name="Google Shape;159;p14"/>
            <p:cNvSpPr/>
            <p:nvPr/>
          </p:nvSpPr>
          <p:spPr>
            <a:xfrm>
              <a:off x="4822800" y="2395325"/>
              <a:ext cx="807450" cy="598825"/>
            </a:xfrm>
            <a:custGeom>
              <a:avLst/>
              <a:gdLst/>
              <a:ahLst/>
              <a:cxnLst/>
              <a:rect l="l" t="t" r="r" b="b"/>
              <a:pathLst>
                <a:path w="32298" h="23953" extrusionOk="0">
                  <a:moveTo>
                    <a:pt x="5555" y="1"/>
                  </a:moveTo>
                  <a:cubicBezTo>
                    <a:pt x="3688" y="1"/>
                    <a:pt x="1707" y="413"/>
                    <a:pt x="0" y="571"/>
                  </a:cubicBezTo>
                  <a:cubicBezTo>
                    <a:pt x="2931" y="938"/>
                    <a:pt x="4272" y="2206"/>
                    <a:pt x="6023" y="3779"/>
                  </a:cubicBezTo>
                  <a:cubicBezTo>
                    <a:pt x="7865" y="5435"/>
                    <a:pt x="9279" y="7799"/>
                    <a:pt x="10017" y="10455"/>
                  </a:cubicBezTo>
                  <a:cubicBezTo>
                    <a:pt x="10241" y="11259"/>
                    <a:pt x="10409" y="12099"/>
                    <a:pt x="10773" y="12822"/>
                  </a:cubicBezTo>
                  <a:cubicBezTo>
                    <a:pt x="11147" y="13561"/>
                    <a:pt x="11706" y="14129"/>
                    <a:pt x="12295" y="14611"/>
                  </a:cubicBezTo>
                  <a:cubicBezTo>
                    <a:pt x="15119" y="16922"/>
                    <a:pt x="18633" y="17424"/>
                    <a:pt x="21910" y="18507"/>
                  </a:cubicBezTo>
                  <a:cubicBezTo>
                    <a:pt x="22992" y="18864"/>
                    <a:pt x="24051" y="19287"/>
                    <a:pt x="25081" y="19772"/>
                  </a:cubicBezTo>
                  <a:cubicBezTo>
                    <a:pt x="26833" y="20595"/>
                    <a:pt x="28937" y="21544"/>
                    <a:pt x="30375" y="23061"/>
                  </a:cubicBezTo>
                  <a:cubicBezTo>
                    <a:pt x="30682" y="23384"/>
                    <a:pt x="31130" y="23952"/>
                    <a:pt x="31503" y="23952"/>
                  </a:cubicBezTo>
                  <a:cubicBezTo>
                    <a:pt x="31688" y="23952"/>
                    <a:pt x="31855" y="23813"/>
                    <a:pt x="31977" y="23437"/>
                  </a:cubicBezTo>
                  <a:cubicBezTo>
                    <a:pt x="32297" y="22448"/>
                    <a:pt x="32268" y="20901"/>
                    <a:pt x="31982" y="19913"/>
                  </a:cubicBezTo>
                  <a:cubicBezTo>
                    <a:pt x="31609" y="18622"/>
                    <a:pt x="30656" y="17722"/>
                    <a:pt x="29677" y="17069"/>
                  </a:cubicBezTo>
                  <a:cubicBezTo>
                    <a:pt x="27475" y="15600"/>
                    <a:pt x="24964" y="15023"/>
                    <a:pt x="22573" y="14102"/>
                  </a:cubicBezTo>
                  <a:cubicBezTo>
                    <a:pt x="20181" y="13180"/>
                    <a:pt x="17756" y="11773"/>
                    <a:pt x="16373" y="9204"/>
                  </a:cubicBezTo>
                  <a:cubicBezTo>
                    <a:pt x="15763" y="8075"/>
                    <a:pt x="15389" y="6778"/>
                    <a:pt x="14833" y="5608"/>
                  </a:cubicBezTo>
                  <a:cubicBezTo>
                    <a:pt x="13503" y="2812"/>
                    <a:pt x="10931" y="1449"/>
                    <a:pt x="8419" y="466"/>
                  </a:cubicBezTo>
                  <a:cubicBezTo>
                    <a:pt x="7538" y="121"/>
                    <a:pt x="6563" y="1"/>
                    <a:pt x="555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0" name="Google Shape;160;p14"/>
            <p:cNvSpPr/>
            <p:nvPr/>
          </p:nvSpPr>
          <p:spPr>
            <a:xfrm>
              <a:off x="4999325" y="2416675"/>
              <a:ext cx="14800" cy="4675"/>
            </a:xfrm>
            <a:custGeom>
              <a:avLst/>
              <a:gdLst/>
              <a:ahLst/>
              <a:cxnLst/>
              <a:rect l="l" t="t" r="r" b="b"/>
              <a:pathLst>
                <a:path w="592" h="187" extrusionOk="0">
                  <a:moveTo>
                    <a:pt x="227" y="1"/>
                  </a:moveTo>
                  <a:cubicBezTo>
                    <a:pt x="221" y="1"/>
                    <a:pt x="215" y="1"/>
                    <a:pt x="209" y="1"/>
                  </a:cubicBezTo>
                  <a:cubicBezTo>
                    <a:pt x="169" y="1"/>
                    <a:pt x="129" y="4"/>
                    <a:pt x="89" y="9"/>
                  </a:cubicBezTo>
                  <a:cubicBezTo>
                    <a:pt x="65" y="9"/>
                    <a:pt x="43" y="19"/>
                    <a:pt x="26" y="36"/>
                  </a:cubicBezTo>
                  <a:cubicBezTo>
                    <a:pt x="10" y="52"/>
                    <a:pt x="0" y="74"/>
                    <a:pt x="0" y="98"/>
                  </a:cubicBezTo>
                  <a:cubicBezTo>
                    <a:pt x="0" y="121"/>
                    <a:pt x="10" y="143"/>
                    <a:pt x="26" y="160"/>
                  </a:cubicBezTo>
                  <a:cubicBezTo>
                    <a:pt x="41" y="173"/>
                    <a:pt x="62" y="187"/>
                    <a:pt x="84" y="187"/>
                  </a:cubicBezTo>
                  <a:cubicBezTo>
                    <a:pt x="86" y="187"/>
                    <a:pt x="87" y="187"/>
                    <a:pt x="89" y="187"/>
                  </a:cubicBezTo>
                  <a:lnTo>
                    <a:pt x="89" y="186"/>
                  </a:lnTo>
                  <a:cubicBezTo>
                    <a:pt x="127" y="180"/>
                    <a:pt x="165" y="178"/>
                    <a:pt x="204" y="176"/>
                  </a:cubicBezTo>
                  <a:cubicBezTo>
                    <a:pt x="216" y="176"/>
                    <a:pt x="229" y="177"/>
                    <a:pt x="243" y="177"/>
                  </a:cubicBezTo>
                  <a:cubicBezTo>
                    <a:pt x="249" y="177"/>
                    <a:pt x="256" y="176"/>
                    <a:pt x="263" y="176"/>
                  </a:cubicBezTo>
                  <a:lnTo>
                    <a:pt x="278" y="174"/>
                  </a:lnTo>
                  <a:lnTo>
                    <a:pt x="278" y="174"/>
                  </a:lnTo>
                  <a:cubicBezTo>
                    <a:pt x="280" y="174"/>
                    <a:pt x="282" y="175"/>
                    <a:pt x="284" y="175"/>
                  </a:cubicBezTo>
                  <a:cubicBezTo>
                    <a:pt x="286" y="175"/>
                    <a:pt x="288" y="174"/>
                    <a:pt x="290" y="174"/>
                  </a:cubicBezTo>
                  <a:lnTo>
                    <a:pt x="322" y="174"/>
                  </a:lnTo>
                  <a:cubicBezTo>
                    <a:pt x="332" y="174"/>
                    <a:pt x="342" y="175"/>
                    <a:pt x="351" y="175"/>
                  </a:cubicBezTo>
                  <a:cubicBezTo>
                    <a:pt x="365" y="175"/>
                    <a:pt x="379" y="174"/>
                    <a:pt x="392" y="169"/>
                  </a:cubicBezTo>
                  <a:lnTo>
                    <a:pt x="404" y="169"/>
                  </a:lnTo>
                  <a:cubicBezTo>
                    <a:pt x="414" y="169"/>
                    <a:pt x="425" y="169"/>
                    <a:pt x="434" y="170"/>
                  </a:cubicBezTo>
                  <a:cubicBezTo>
                    <a:pt x="453" y="171"/>
                    <a:pt x="471" y="172"/>
                    <a:pt x="489" y="174"/>
                  </a:cubicBezTo>
                  <a:cubicBezTo>
                    <a:pt x="497" y="175"/>
                    <a:pt x="504" y="175"/>
                    <a:pt x="512" y="175"/>
                  </a:cubicBezTo>
                  <a:cubicBezTo>
                    <a:pt x="526" y="175"/>
                    <a:pt x="540" y="174"/>
                    <a:pt x="554" y="172"/>
                  </a:cubicBezTo>
                  <a:cubicBezTo>
                    <a:pt x="583" y="168"/>
                    <a:pt x="592" y="124"/>
                    <a:pt x="571" y="105"/>
                  </a:cubicBezTo>
                  <a:cubicBezTo>
                    <a:pt x="539" y="77"/>
                    <a:pt x="498" y="63"/>
                    <a:pt x="458" y="50"/>
                  </a:cubicBezTo>
                  <a:lnTo>
                    <a:pt x="428" y="39"/>
                  </a:lnTo>
                  <a:lnTo>
                    <a:pt x="413" y="35"/>
                  </a:lnTo>
                  <a:lnTo>
                    <a:pt x="411" y="34"/>
                  </a:lnTo>
                  <a:lnTo>
                    <a:pt x="411" y="34"/>
                  </a:lnTo>
                  <a:cubicBezTo>
                    <a:pt x="408" y="32"/>
                    <a:pt x="404" y="29"/>
                    <a:pt x="401" y="27"/>
                  </a:cubicBezTo>
                  <a:cubicBezTo>
                    <a:pt x="392" y="22"/>
                    <a:pt x="383" y="19"/>
                    <a:pt x="373" y="17"/>
                  </a:cubicBezTo>
                  <a:cubicBezTo>
                    <a:pt x="363" y="15"/>
                    <a:pt x="352" y="14"/>
                    <a:pt x="343" y="13"/>
                  </a:cubicBezTo>
                  <a:cubicBezTo>
                    <a:pt x="328" y="11"/>
                    <a:pt x="313" y="8"/>
                    <a:pt x="298" y="6"/>
                  </a:cubicBezTo>
                  <a:cubicBezTo>
                    <a:pt x="295" y="6"/>
                    <a:pt x="289" y="5"/>
                    <a:pt x="285" y="5"/>
                  </a:cubicBezTo>
                  <a:lnTo>
                    <a:pt x="285" y="5"/>
                  </a:lnTo>
                  <a:cubicBezTo>
                    <a:pt x="285" y="5"/>
                    <a:pt x="285" y="5"/>
                    <a:pt x="285" y="5"/>
                  </a:cubicBezTo>
                  <a:cubicBezTo>
                    <a:pt x="265" y="2"/>
                    <a:pt x="246" y="1"/>
                    <a:pt x="22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1" name="Google Shape;161;p14"/>
            <p:cNvSpPr/>
            <p:nvPr/>
          </p:nvSpPr>
          <p:spPr>
            <a:xfrm>
              <a:off x="4999025" y="2416600"/>
              <a:ext cx="5025" cy="4925"/>
            </a:xfrm>
            <a:custGeom>
              <a:avLst/>
              <a:gdLst/>
              <a:ahLst/>
              <a:cxnLst/>
              <a:rect l="l" t="t" r="r" b="b"/>
              <a:pathLst>
                <a:path w="201" h="197" extrusionOk="0">
                  <a:moveTo>
                    <a:pt x="101" y="1"/>
                  </a:moveTo>
                  <a:cubicBezTo>
                    <a:pt x="49" y="1"/>
                    <a:pt x="0" y="46"/>
                    <a:pt x="3" y="99"/>
                  </a:cubicBezTo>
                  <a:cubicBezTo>
                    <a:pt x="4" y="153"/>
                    <a:pt x="47" y="197"/>
                    <a:pt x="101" y="197"/>
                  </a:cubicBezTo>
                  <a:cubicBezTo>
                    <a:pt x="152" y="197"/>
                    <a:pt x="201" y="153"/>
                    <a:pt x="199" y="99"/>
                  </a:cubicBezTo>
                  <a:cubicBezTo>
                    <a:pt x="198" y="45"/>
                    <a:pt x="154" y="2"/>
                    <a:pt x="1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2" name="Google Shape;162;p14"/>
            <p:cNvSpPr/>
            <p:nvPr/>
          </p:nvSpPr>
          <p:spPr>
            <a:xfrm>
              <a:off x="5016350" y="2430825"/>
              <a:ext cx="14400" cy="4225"/>
            </a:xfrm>
            <a:custGeom>
              <a:avLst/>
              <a:gdLst/>
              <a:ahLst/>
              <a:cxnLst/>
              <a:rect l="l" t="t" r="r" b="b"/>
              <a:pathLst>
                <a:path w="576" h="169" extrusionOk="0">
                  <a:moveTo>
                    <a:pt x="414" y="0"/>
                  </a:moveTo>
                  <a:cubicBezTo>
                    <a:pt x="375" y="0"/>
                    <a:pt x="335" y="2"/>
                    <a:pt x="296" y="5"/>
                  </a:cubicBezTo>
                  <a:cubicBezTo>
                    <a:pt x="214" y="13"/>
                    <a:pt x="132" y="28"/>
                    <a:pt x="52" y="49"/>
                  </a:cubicBezTo>
                  <a:cubicBezTo>
                    <a:pt x="19" y="57"/>
                    <a:pt x="0" y="91"/>
                    <a:pt x="9" y="125"/>
                  </a:cubicBezTo>
                  <a:cubicBezTo>
                    <a:pt x="17" y="151"/>
                    <a:pt x="42" y="169"/>
                    <a:pt x="69" y="169"/>
                  </a:cubicBezTo>
                  <a:cubicBezTo>
                    <a:pt x="74" y="169"/>
                    <a:pt x="79" y="168"/>
                    <a:pt x="84" y="167"/>
                  </a:cubicBezTo>
                  <a:cubicBezTo>
                    <a:pt x="120" y="158"/>
                    <a:pt x="157" y="150"/>
                    <a:pt x="195" y="144"/>
                  </a:cubicBezTo>
                  <a:lnTo>
                    <a:pt x="223" y="139"/>
                  </a:lnTo>
                  <a:lnTo>
                    <a:pt x="238" y="137"/>
                  </a:lnTo>
                  <a:lnTo>
                    <a:pt x="241" y="137"/>
                  </a:lnTo>
                  <a:cubicBezTo>
                    <a:pt x="259" y="135"/>
                    <a:pt x="280" y="133"/>
                    <a:pt x="300" y="131"/>
                  </a:cubicBezTo>
                  <a:cubicBezTo>
                    <a:pt x="336" y="128"/>
                    <a:pt x="374" y="127"/>
                    <a:pt x="412" y="126"/>
                  </a:cubicBezTo>
                  <a:lnTo>
                    <a:pt x="468" y="126"/>
                  </a:lnTo>
                  <a:cubicBezTo>
                    <a:pt x="471" y="126"/>
                    <a:pt x="474" y="126"/>
                    <a:pt x="477" y="126"/>
                  </a:cubicBezTo>
                  <a:cubicBezTo>
                    <a:pt x="497" y="126"/>
                    <a:pt x="516" y="123"/>
                    <a:pt x="536" y="116"/>
                  </a:cubicBezTo>
                  <a:cubicBezTo>
                    <a:pt x="555" y="111"/>
                    <a:pt x="569" y="94"/>
                    <a:pt x="573" y="73"/>
                  </a:cubicBezTo>
                  <a:cubicBezTo>
                    <a:pt x="576" y="53"/>
                    <a:pt x="565" y="32"/>
                    <a:pt x="547" y="22"/>
                  </a:cubicBezTo>
                  <a:cubicBezTo>
                    <a:pt x="537" y="16"/>
                    <a:pt x="525" y="11"/>
                    <a:pt x="513" y="6"/>
                  </a:cubicBezTo>
                  <a:cubicBezTo>
                    <a:pt x="500" y="3"/>
                    <a:pt x="487" y="2"/>
                    <a:pt x="475" y="2"/>
                  </a:cubicBezTo>
                  <a:cubicBezTo>
                    <a:pt x="455" y="1"/>
                    <a:pt x="436" y="0"/>
                    <a:pt x="41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3" name="Google Shape;163;p14"/>
            <p:cNvSpPr/>
            <p:nvPr/>
          </p:nvSpPr>
          <p:spPr>
            <a:xfrm>
              <a:off x="5136400" y="2735125"/>
              <a:ext cx="10200" cy="3250"/>
            </a:xfrm>
            <a:custGeom>
              <a:avLst/>
              <a:gdLst/>
              <a:ahLst/>
              <a:cxnLst/>
              <a:rect l="l" t="t" r="r" b="b"/>
              <a:pathLst>
                <a:path w="408" h="130" extrusionOk="0">
                  <a:moveTo>
                    <a:pt x="131" y="0"/>
                  </a:moveTo>
                  <a:cubicBezTo>
                    <a:pt x="102" y="1"/>
                    <a:pt x="72" y="5"/>
                    <a:pt x="43" y="10"/>
                  </a:cubicBezTo>
                  <a:cubicBezTo>
                    <a:pt x="18" y="17"/>
                    <a:pt x="1" y="39"/>
                    <a:pt x="1" y="65"/>
                  </a:cubicBezTo>
                  <a:cubicBezTo>
                    <a:pt x="2" y="88"/>
                    <a:pt x="17" y="116"/>
                    <a:pt x="43" y="120"/>
                  </a:cubicBezTo>
                  <a:lnTo>
                    <a:pt x="43" y="119"/>
                  </a:lnTo>
                  <a:cubicBezTo>
                    <a:pt x="72" y="126"/>
                    <a:pt x="102" y="129"/>
                    <a:pt x="131" y="130"/>
                  </a:cubicBezTo>
                  <a:lnTo>
                    <a:pt x="205" y="130"/>
                  </a:lnTo>
                  <a:cubicBezTo>
                    <a:pt x="229" y="130"/>
                    <a:pt x="255" y="130"/>
                    <a:pt x="279" y="129"/>
                  </a:cubicBezTo>
                  <a:cubicBezTo>
                    <a:pt x="292" y="129"/>
                    <a:pt x="305" y="128"/>
                    <a:pt x="318" y="127"/>
                  </a:cubicBezTo>
                  <a:cubicBezTo>
                    <a:pt x="327" y="127"/>
                    <a:pt x="337" y="126"/>
                    <a:pt x="346" y="124"/>
                  </a:cubicBezTo>
                  <a:cubicBezTo>
                    <a:pt x="356" y="120"/>
                    <a:pt x="365" y="116"/>
                    <a:pt x="373" y="110"/>
                  </a:cubicBezTo>
                  <a:cubicBezTo>
                    <a:pt x="408" y="90"/>
                    <a:pt x="408" y="39"/>
                    <a:pt x="373" y="19"/>
                  </a:cubicBezTo>
                  <a:cubicBezTo>
                    <a:pt x="365" y="13"/>
                    <a:pt x="356" y="9"/>
                    <a:pt x="346" y="6"/>
                  </a:cubicBezTo>
                  <a:cubicBezTo>
                    <a:pt x="337" y="3"/>
                    <a:pt x="327" y="2"/>
                    <a:pt x="319" y="2"/>
                  </a:cubicBezTo>
                  <a:cubicBezTo>
                    <a:pt x="305" y="2"/>
                    <a:pt x="293" y="1"/>
                    <a:pt x="279" y="1"/>
                  </a:cubicBezTo>
                  <a:cubicBezTo>
                    <a:pt x="255" y="0"/>
                    <a:pt x="230" y="0"/>
                    <a:pt x="20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4" name="Google Shape;164;p14"/>
            <p:cNvSpPr/>
            <p:nvPr/>
          </p:nvSpPr>
          <p:spPr>
            <a:xfrm>
              <a:off x="5140125" y="2750750"/>
              <a:ext cx="19950" cy="2875"/>
            </a:xfrm>
            <a:custGeom>
              <a:avLst/>
              <a:gdLst/>
              <a:ahLst/>
              <a:cxnLst/>
              <a:rect l="l" t="t" r="r" b="b"/>
              <a:pathLst>
                <a:path w="798" h="115" extrusionOk="0">
                  <a:moveTo>
                    <a:pt x="407" y="1"/>
                  </a:moveTo>
                  <a:lnTo>
                    <a:pt x="53" y="4"/>
                  </a:lnTo>
                  <a:cubicBezTo>
                    <a:pt x="24" y="4"/>
                    <a:pt x="1" y="27"/>
                    <a:pt x="0" y="56"/>
                  </a:cubicBezTo>
                  <a:cubicBezTo>
                    <a:pt x="1" y="85"/>
                    <a:pt x="24" y="108"/>
                    <a:pt x="53" y="109"/>
                  </a:cubicBezTo>
                  <a:lnTo>
                    <a:pt x="53" y="112"/>
                  </a:lnTo>
                  <a:lnTo>
                    <a:pt x="407" y="114"/>
                  </a:lnTo>
                  <a:lnTo>
                    <a:pt x="538" y="114"/>
                  </a:lnTo>
                  <a:cubicBezTo>
                    <a:pt x="554" y="113"/>
                    <a:pt x="571" y="109"/>
                    <a:pt x="584" y="108"/>
                  </a:cubicBezTo>
                  <a:lnTo>
                    <a:pt x="670" y="103"/>
                  </a:lnTo>
                  <a:cubicBezTo>
                    <a:pt x="701" y="103"/>
                    <a:pt x="733" y="99"/>
                    <a:pt x="764" y="90"/>
                  </a:cubicBezTo>
                  <a:cubicBezTo>
                    <a:pt x="797" y="81"/>
                    <a:pt x="797" y="34"/>
                    <a:pt x="764" y="25"/>
                  </a:cubicBezTo>
                  <a:cubicBezTo>
                    <a:pt x="733" y="16"/>
                    <a:pt x="701" y="12"/>
                    <a:pt x="670" y="12"/>
                  </a:cubicBezTo>
                  <a:lnTo>
                    <a:pt x="584" y="7"/>
                  </a:lnTo>
                  <a:cubicBezTo>
                    <a:pt x="571" y="6"/>
                    <a:pt x="555" y="2"/>
                    <a:pt x="53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5" name="Google Shape;165;p14"/>
            <p:cNvSpPr/>
            <p:nvPr/>
          </p:nvSpPr>
          <p:spPr>
            <a:xfrm>
              <a:off x="5574550" y="2840650"/>
              <a:ext cx="12700" cy="3500"/>
            </a:xfrm>
            <a:custGeom>
              <a:avLst/>
              <a:gdLst/>
              <a:ahLst/>
              <a:cxnLst/>
              <a:rect l="l" t="t" r="r" b="b"/>
              <a:pathLst>
                <a:path w="508" h="140" extrusionOk="0">
                  <a:moveTo>
                    <a:pt x="54" y="1"/>
                  </a:moveTo>
                  <a:cubicBezTo>
                    <a:pt x="26" y="1"/>
                    <a:pt x="1" y="31"/>
                    <a:pt x="3" y="58"/>
                  </a:cubicBezTo>
                  <a:cubicBezTo>
                    <a:pt x="3" y="88"/>
                    <a:pt x="28" y="113"/>
                    <a:pt x="59" y="114"/>
                  </a:cubicBezTo>
                  <a:lnTo>
                    <a:pt x="275" y="136"/>
                  </a:lnTo>
                  <a:cubicBezTo>
                    <a:pt x="309" y="139"/>
                    <a:pt x="344" y="140"/>
                    <a:pt x="379" y="140"/>
                  </a:cubicBezTo>
                  <a:lnTo>
                    <a:pt x="435" y="140"/>
                  </a:lnTo>
                  <a:cubicBezTo>
                    <a:pt x="437" y="140"/>
                    <a:pt x="440" y="140"/>
                    <a:pt x="442" y="140"/>
                  </a:cubicBezTo>
                  <a:cubicBezTo>
                    <a:pt x="461" y="140"/>
                    <a:pt x="482" y="139"/>
                    <a:pt x="495" y="124"/>
                  </a:cubicBezTo>
                  <a:cubicBezTo>
                    <a:pt x="506" y="113"/>
                    <a:pt x="508" y="96"/>
                    <a:pt x="500" y="83"/>
                  </a:cubicBezTo>
                  <a:cubicBezTo>
                    <a:pt x="490" y="62"/>
                    <a:pt x="468" y="58"/>
                    <a:pt x="447" y="54"/>
                  </a:cubicBezTo>
                  <a:lnTo>
                    <a:pt x="396" y="43"/>
                  </a:lnTo>
                  <a:cubicBezTo>
                    <a:pt x="357" y="36"/>
                    <a:pt x="318" y="28"/>
                    <a:pt x="278" y="24"/>
                  </a:cubicBezTo>
                  <a:lnTo>
                    <a:pt x="59" y="1"/>
                  </a:lnTo>
                  <a:cubicBezTo>
                    <a:pt x="57" y="1"/>
                    <a:pt x="56" y="1"/>
                    <a:pt x="5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6" name="Google Shape;166;p14"/>
            <p:cNvSpPr/>
            <p:nvPr/>
          </p:nvSpPr>
          <p:spPr>
            <a:xfrm>
              <a:off x="5569225" y="2853800"/>
              <a:ext cx="12600" cy="3100"/>
            </a:xfrm>
            <a:custGeom>
              <a:avLst/>
              <a:gdLst/>
              <a:ahLst/>
              <a:cxnLst/>
              <a:rect l="l" t="t" r="r" b="b"/>
              <a:pathLst>
                <a:path w="504" h="124" extrusionOk="0">
                  <a:moveTo>
                    <a:pt x="180" y="1"/>
                  </a:moveTo>
                  <a:cubicBezTo>
                    <a:pt x="148" y="1"/>
                    <a:pt x="117" y="1"/>
                    <a:pt x="85" y="1"/>
                  </a:cubicBezTo>
                  <a:cubicBezTo>
                    <a:pt x="84" y="1"/>
                    <a:pt x="82" y="1"/>
                    <a:pt x="81" y="1"/>
                  </a:cubicBezTo>
                  <a:cubicBezTo>
                    <a:pt x="1" y="1"/>
                    <a:pt x="1" y="123"/>
                    <a:pt x="81" y="123"/>
                  </a:cubicBezTo>
                  <a:cubicBezTo>
                    <a:pt x="82" y="123"/>
                    <a:pt x="84" y="123"/>
                    <a:pt x="85" y="123"/>
                  </a:cubicBezTo>
                  <a:lnTo>
                    <a:pt x="86" y="123"/>
                  </a:lnTo>
                  <a:cubicBezTo>
                    <a:pt x="122" y="123"/>
                    <a:pt x="157" y="124"/>
                    <a:pt x="193" y="124"/>
                  </a:cubicBezTo>
                  <a:cubicBezTo>
                    <a:pt x="220" y="124"/>
                    <a:pt x="248" y="124"/>
                    <a:pt x="275" y="122"/>
                  </a:cubicBezTo>
                  <a:lnTo>
                    <a:pt x="365" y="119"/>
                  </a:lnTo>
                  <a:cubicBezTo>
                    <a:pt x="383" y="119"/>
                    <a:pt x="401" y="117"/>
                    <a:pt x="418" y="113"/>
                  </a:cubicBezTo>
                  <a:cubicBezTo>
                    <a:pt x="430" y="110"/>
                    <a:pt x="433" y="105"/>
                    <a:pt x="442" y="104"/>
                  </a:cubicBezTo>
                  <a:cubicBezTo>
                    <a:pt x="452" y="103"/>
                    <a:pt x="458" y="101"/>
                    <a:pt x="467" y="99"/>
                  </a:cubicBezTo>
                  <a:cubicBezTo>
                    <a:pt x="503" y="93"/>
                    <a:pt x="503" y="33"/>
                    <a:pt x="467" y="25"/>
                  </a:cubicBezTo>
                  <a:cubicBezTo>
                    <a:pt x="458" y="23"/>
                    <a:pt x="450" y="21"/>
                    <a:pt x="442" y="20"/>
                  </a:cubicBezTo>
                  <a:cubicBezTo>
                    <a:pt x="436" y="19"/>
                    <a:pt x="430" y="17"/>
                    <a:pt x="424" y="14"/>
                  </a:cubicBezTo>
                  <a:cubicBezTo>
                    <a:pt x="408" y="8"/>
                    <a:pt x="392" y="6"/>
                    <a:pt x="375" y="6"/>
                  </a:cubicBezTo>
                  <a:cubicBezTo>
                    <a:pt x="372" y="6"/>
                    <a:pt x="369" y="6"/>
                    <a:pt x="365" y="6"/>
                  </a:cubicBezTo>
                  <a:lnTo>
                    <a:pt x="274" y="2"/>
                  </a:lnTo>
                  <a:cubicBezTo>
                    <a:pt x="243" y="1"/>
                    <a:pt x="211" y="1"/>
                    <a:pt x="18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7" name="Google Shape;167;p14"/>
            <p:cNvSpPr/>
            <p:nvPr/>
          </p:nvSpPr>
          <p:spPr>
            <a:xfrm>
              <a:off x="5394250" y="2848825"/>
              <a:ext cx="14175" cy="2750"/>
            </a:xfrm>
            <a:custGeom>
              <a:avLst/>
              <a:gdLst/>
              <a:ahLst/>
              <a:cxnLst/>
              <a:rect l="l" t="t" r="r" b="b"/>
              <a:pathLst>
                <a:path w="567" h="110" extrusionOk="0">
                  <a:moveTo>
                    <a:pt x="102" y="1"/>
                  </a:moveTo>
                  <a:cubicBezTo>
                    <a:pt x="92" y="1"/>
                    <a:pt x="82" y="1"/>
                    <a:pt x="72" y="2"/>
                  </a:cubicBezTo>
                  <a:cubicBezTo>
                    <a:pt x="1" y="2"/>
                    <a:pt x="1" y="108"/>
                    <a:pt x="72" y="108"/>
                  </a:cubicBezTo>
                  <a:cubicBezTo>
                    <a:pt x="84" y="108"/>
                    <a:pt x="97" y="109"/>
                    <a:pt x="110" y="109"/>
                  </a:cubicBezTo>
                  <a:cubicBezTo>
                    <a:pt x="116" y="109"/>
                    <a:pt x="122" y="109"/>
                    <a:pt x="129" y="108"/>
                  </a:cubicBezTo>
                  <a:cubicBezTo>
                    <a:pt x="146" y="107"/>
                    <a:pt x="168" y="104"/>
                    <a:pt x="188" y="104"/>
                  </a:cubicBezTo>
                  <a:lnTo>
                    <a:pt x="303" y="100"/>
                  </a:lnTo>
                  <a:cubicBezTo>
                    <a:pt x="379" y="98"/>
                    <a:pt x="459" y="100"/>
                    <a:pt x="534" y="87"/>
                  </a:cubicBezTo>
                  <a:cubicBezTo>
                    <a:pt x="566" y="82"/>
                    <a:pt x="566" y="28"/>
                    <a:pt x="534" y="23"/>
                  </a:cubicBezTo>
                  <a:cubicBezTo>
                    <a:pt x="459" y="10"/>
                    <a:pt x="379" y="12"/>
                    <a:pt x="303" y="10"/>
                  </a:cubicBezTo>
                  <a:lnTo>
                    <a:pt x="191" y="6"/>
                  </a:lnTo>
                  <a:cubicBezTo>
                    <a:pt x="171" y="6"/>
                    <a:pt x="151" y="4"/>
                    <a:pt x="132" y="2"/>
                  </a:cubicBezTo>
                  <a:cubicBezTo>
                    <a:pt x="122" y="1"/>
                    <a:pt x="112" y="1"/>
                    <a:pt x="10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8" name="Google Shape;168;p14"/>
            <p:cNvSpPr/>
            <p:nvPr/>
          </p:nvSpPr>
          <p:spPr>
            <a:xfrm>
              <a:off x="5178525" y="2618350"/>
              <a:ext cx="15000" cy="3650"/>
            </a:xfrm>
            <a:custGeom>
              <a:avLst/>
              <a:gdLst/>
              <a:ahLst/>
              <a:cxnLst/>
              <a:rect l="l" t="t" r="r" b="b"/>
              <a:pathLst>
                <a:path w="600" h="146" extrusionOk="0">
                  <a:moveTo>
                    <a:pt x="240" y="1"/>
                  </a:moveTo>
                  <a:cubicBezTo>
                    <a:pt x="222" y="1"/>
                    <a:pt x="204" y="1"/>
                    <a:pt x="186" y="3"/>
                  </a:cubicBezTo>
                  <a:cubicBezTo>
                    <a:pt x="137" y="3"/>
                    <a:pt x="90" y="9"/>
                    <a:pt x="44" y="24"/>
                  </a:cubicBezTo>
                  <a:cubicBezTo>
                    <a:pt x="17" y="31"/>
                    <a:pt x="0" y="57"/>
                    <a:pt x="4" y="84"/>
                  </a:cubicBezTo>
                  <a:cubicBezTo>
                    <a:pt x="8" y="111"/>
                    <a:pt x="31" y="132"/>
                    <a:pt x="58" y="132"/>
                  </a:cubicBezTo>
                  <a:cubicBezTo>
                    <a:pt x="69" y="133"/>
                    <a:pt x="79" y="134"/>
                    <a:pt x="89" y="134"/>
                  </a:cubicBezTo>
                  <a:cubicBezTo>
                    <a:pt x="100" y="134"/>
                    <a:pt x="110" y="133"/>
                    <a:pt x="121" y="132"/>
                  </a:cubicBezTo>
                  <a:cubicBezTo>
                    <a:pt x="142" y="131"/>
                    <a:pt x="163" y="130"/>
                    <a:pt x="183" y="130"/>
                  </a:cubicBezTo>
                  <a:cubicBezTo>
                    <a:pt x="195" y="130"/>
                    <a:pt x="208" y="130"/>
                    <a:pt x="221" y="130"/>
                  </a:cubicBezTo>
                  <a:cubicBezTo>
                    <a:pt x="251" y="130"/>
                    <a:pt x="281" y="131"/>
                    <a:pt x="311" y="131"/>
                  </a:cubicBezTo>
                  <a:cubicBezTo>
                    <a:pt x="355" y="133"/>
                    <a:pt x="395" y="137"/>
                    <a:pt x="436" y="141"/>
                  </a:cubicBezTo>
                  <a:cubicBezTo>
                    <a:pt x="459" y="143"/>
                    <a:pt x="485" y="145"/>
                    <a:pt x="510" y="145"/>
                  </a:cubicBezTo>
                  <a:cubicBezTo>
                    <a:pt x="529" y="145"/>
                    <a:pt x="547" y="144"/>
                    <a:pt x="564" y="140"/>
                  </a:cubicBezTo>
                  <a:cubicBezTo>
                    <a:pt x="591" y="132"/>
                    <a:pt x="599" y="100"/>
                    <a:pt x="580" y="81"/>
                  </a:cubicBezTo>
                  <a:cubicBezTo>
                    <a:pt x="548" y="51"/>
                    <a:pt x="497" y="35"/>
                    <a:pt x="455" y="25"/>
                  </a:cubicBezTo>
                  <a:cubicBezTo>
                    <a:pt x="408" y="14"/>
                    <a:pt x="362" y="7"/>
                    <a:pt x="315" y="4"/>
                  </a:cubicBezTo>
                  <a:cubicBezTo>
                    <a:pt x="289" y="2"/>
                    <a:pt x="265" y="1"/>
                    <a:pt x="24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grpSp>
        <p:nvGrpSpPr>
          <p:cNvPr id="169" name="Google Shape;169;p14"/>
          <p:cNvGrpSpPr/>
          <p:nvPr/>
        </p:nvGrpSpPr>
        <p:grpSpPr>
          <a:xfrm flipH="1">
            <a:off x="8093941" y="5917719"/>
            <a:ext cx="4251604" cy="1156044"/>
            <a:chOff x="1296625" y="5272425"/>
            <a:chExt cx="751450" cy="204325"/>
          </a:xfrm>
        </p:grpSpPr>
        <p:sp>
          <p:nvSpPr>
            <p:cNvPr id="170" name="Google Shape;170;p14"/>
            <p:cNvSpPr/>
            <p:nvPr/>
          </p:nvSpPr>
          <p:spPr>
            <a:xfrm>
              <a:off x="1296625" y="5272425"/>
              <a:ext cx="751450" cy="204325"/>
            </a:xfrm>
            <a:custGeom>
              <a:avLst/>
              <a:gdLst/>
              <a:ahLst/>
              <a:cxnLst/>
              <a:rect l="l" t="t" r="r" b="b"/>
              <a:pathLst>
                <a:path w="30058" h="8173" extrusionOk="0">
                  <a:moveTo>
                    <a:pt x="1831" y="0"/>
                  </a:moveTo>
                  <a:cubicBezTo>
                    <a:pt x="1359" y="0"/>
                    <a:pt x="921" y="261"/>
                    <a:pt x="576" y="977"/>
                  </a:cubicBezTo>
                  <a:cubicBezTo>
                    <a:pt x="0" y="2170"/>
                    <a:pt x="458" y="4179"/>
                    <a:pt x="1209" y="5205"/>
                  </a:cubicBezTo>
                  <a:cubicBezTo>
                    <a:pt x="2352" y="6765"/>
                    <a:pt x="4549" y="7016"/>
                    <a:pt x="6482" y="7078"/>
                  </a:cubicBezTo>
                  <a:cubicBezTo>
                    <a:pt x="12255" y="7267"/>
                    <a:pt x="18061" y="6994"/>
                    <a:pt x="23788" y="7750"/>
                  </a:cubicBezTo>
                  <a:cubicBezTo>
                    <a:pt x="25169" y="7932"/>
                    <a:pt x="26573" y="8173"/>
                    <a:pt x="27959" y="8173"/>
                  </a:cubicBezTo>
                  <a:cubicBezTo>
                    <a:pt x="28665" y="8173"/>
                    <a:pt x="29367" y="8110"/>
                    <a:pt x="30058" y="7945"/>
                  </a:cubicBezTo>
                  <a:cubicBezTo>
                    <a:pt x="26482" y="6211"/>
                    <a:pt x="22600" y="5194"/>
                    <a:pt x="18632" y="4954"/>
                  </a:cubicBezTo>
                  <a:cubicBezTo>
                    <a:pt x="16764" y="4841"/>
                    <a:pt x="14885" y="4902"/>
                    <a:pt x="13025" y="4685"/>
                  </a:cubicBezTo>
                  <a:cubicBezTo>
                    <a:pt x="9662" y="4293"/>
                    <a:pt x="6423" y="2958"/>
                    <a:pt x="3732" y="908"/>
                  </a:cubicBezTo>
                  <a:cubicBezTo>
                    <a:pt x="3126" y="447"/>
                    <a:pt x="2449" y="0"/>
                    <a:pt x="183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71" name="Google Shape;171;p14"/>
            <p:cNvSpPr/>
            <p:nvPr/>
          </p:nvSpPr>
          <p:spPr>
            <a:xfrm>
              <a:off x="1429850" y="5340900"/>
              <a:ext cx="17250" cy="14500"/>
            </a:xfrm>
            <a:custGeom>
              <a:avLst/>
              <a:gdLst/>
              <a:ahLst/>
              <a:cxnLst/>
              <a:rect l="l" t="t" r="r" b="b"/>
              <a:pathLst>
                <a:path w="690" h="580" extrusionOk="0">
                  <a:moveTo>
                    <a:pt x="217" y="194"/>
                  </a:moveTo>
                  <a:cubicBezTo>
                    <a:pt x="217" y="194"/>
                    <a:pt x="218" y="195"/>
                    <a:pt x="219" y="196"/>
                  </a:cubicBezTo>
                  <a:lnTo>
                    <a:pt x="219" y="196"/>
                  </a:lnTo>
                  <a:lnTo>
                    <a:pt x="218" y="196"/>
                  </a:lnTo>
                  <a:cubicBezTo>
                    <a:pt x="217" y="194"/>
                    <a:pt x="217" y="194"/>
                    <a:pt x="217" y="194"/>
                  </a:cubicBezTo>
                  <a:close/>
                  <a:moveTo>
                    <a:pt x="364" y="341"/>
                  </a:moveTo>
                  <a:cubicBezTo>
                    <a:pt x="365" y="342"/>
                    <a:pt x="365" y="342"/>
                    <a:pt x="366" y="342"/>
                  </a:cubicBezTo>
                  <a:lnTo>
                    <a:pt x="364" y="341"/>
                  </a:lnTo>
                  <a:close/>
                  <a:moveTo>
                    <a:pt x="68" y="0"/>
                  </a:moveTo>
                  <a:cubicBezTo>
                    <a:pt x="56" y="0"/>
                    <a:pt x="46" y="3"/>
                    <a:pt x="37" y="8"/>
                  </a:cubicBezTo>
                  <a:cubicBezTo>
                    <a:pt x="6" y="28"/>
                    <a:pt x="1" y="61"/>
                    <a:pt x="15" y="94"/>
                  </a:cubicBezTo>
                  <a:cubicBezTo>
                    <a:pt x="59" y="194"/>
                    <a:pt x="122" y="285"/>
                    <a:pt x="199" y="363"/>
                  </a:cubicBezTo>
                  <a:cubicBezTo>
                    <a:pt x="239" y="403"/>
                    <a:pt x="282" y="438"/>
                    <a:pt x="328" y="471"/>
                  </a:cubicBezTo>
                  <a:cubicBezTo>
                    <a:pt x="374" y="503"/>
                    <a:pt x="425" y="528"/>
                    <a:pt x="478" y="545"/>
                  </a:cubicBezTo>
                  <a:cubicBezTo>
                    <a:pt x="506" y="554"/>
                    <a:pt x="534" y="563"/>
                    <a:pt x="563" y="569"/>
                  </a:cubicBezTo>
                  <a:cubicBezTo>
                    <a:pt x="585" y="576"/>
                    <a:pt x="608" y="579"/>
                    <a:pt x="631" y="579"/>
                  </a:cubicBezTo>
                  <a:cubicBezTo>
                    <a:pt x="641" y="579"/>
                    <a:pt x="650" y="579"/>
                    <a:pt x="660" y="578"/>
                  </a:cubicBezTo>
                  <a:cubicBezTo>
                    <a:pt x="689" y="573"/>
                    <a:pt x="686" y="535"/>
                    <a:pt x="667" y="522"/>
                  </a:cubicBezTo>
                  <a:cubicBezTo>
                    <a:pt x="647" y="508"/>
                    <a:pt x="625" y="497"/>
                    <a:pt x="602" y="489"/>
                  </a:cubicBezTo>
                  <a:cubicBezTo>
                    <a:pt x="579" y="479"/>
                    <a:pt x="557" y="468"/>
                    <a:pt x="534" y="455"/>
                  </a:cubicBezTo>
                  <a:cubicBezTo>
                    <a:pt x="491" y="431"/>
                    <a:pt x="450" y="400"/>
                    <a:pt x="408" y="373"/>
                  </a:cubicBezTo>
                  <a:cubicBezTo>
                    <a:pt x="397" y="367"/>
                    <a:pt x="388" y="359"/>
                    <a:pt x="377" y="352"/>
                  </a:cubicBezTo>
                  <a:lnTo>
                    <a:pt x="365" y="341"/>
                  </a:lnTo>
                  <a:cubicBezTo>
                    <a:pt x="364" y="341"/>
                    <a:pt x="363" y="340"/>
                    <a:pt x="363" y="340"/>
                  </a:cubicBezTo>
                  <a:lnTo>
                    <a:pt x="363" y="340"/>
                  </a:lnTo>
                  <a:lnTo>
                    <a:pt x="356" y="335"/>
                  </a:lnTo>
                  <a:cubicBezTo>
                    <a:pt x="336" y="319"/>
                    <a:pt x="317" y="302"/>
                    <a:pt x="299" y="284"/>
                  </a:cubicBezTo>
                  <a:cubicBezTo>
                    <a:pt x="281" y="268"/>
                    <a:pt x="263" y="249"/>
                    <a:pt x="247" y="230"/>
                  </a:cubicBezTo>
                  <a:cubicBezTo>
                    <a:pt x="238" y="221"/>
                    <a:pt x="231" y="212"/>
                    <a:pt x="223" y="201"/>
                  </a:cubicBezTo>
                  <a:lnTo>
                    <a:pt x="219" y="197"/>
                  </a:lnTo>
                  <a:cubicBezTo>
                    <a:pt x="214" y="190"/>
                    <a:pt x="211" y="185"/>
                    <a:pt x="206" y="179"/>
                  </a:cubicBezTo>
                  <a:cubicBezTo>
                    <a:pt x="173" y="133"/>
                    <a:pt x="144" y="83"/>
                    <a:pt x="121" y="30"/>
                  </a:cubicBezTo>
                  <a:cubicBezTo>
                    <a:pt x="113" y="11"/>
                    <a:pt x="90" y="0"/>
                    <a:pt x="6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72" name="Google Shape;172;p14"/>
            <p:cNvSpPr/>
            <p:nvPr/>
          </p:nvSpPr>
          <p:spPr>
            <a:xfrm>
              <a:off x="1436300" y="5366700"/>
              <a:ext cx="19050" cy="9500"/>
            </a:xfrm>
            <a:custGeom>
              <a:avLst/>
              <a:gdLst/>
              <a:ahLst/>
              <a:cxnLst/>
              <a:rect l="l" t="t" r="r" b="b"/>
              <a:pathLst>
                <a:path w="762" h="380" extrusionOk="0">
                  <a:moveTo>
                    <a:pt x="556" y="240"/>
                  </a:moveTo>
                  <a:lnTo>
                    <a:pt x="556" y="240"/>
                  </a:lnTo>
                  <a:cubicBezTo>
                    <a:pt x="558" y="240"/>
                    <a:pt x="560" y="240"/>
                    <a:pt x="562" y="240"/>
                  </a:cubicBezTo>
                  <a:cubicBezTo>
                    <a:pt x="562" y="240"/>
                    <a:pt x="558" y="240"/>
                    <a:pt x="556" y="240"/>
                  </a:cubicBezTo>
                  <a:close/>
                  <a:moveTo>
                    <a:pt x="65" y="0"/>
                  </a:moveTo>
                  <a:cubicBezTo>
                    <a:pt x="50" y="0"/>
                    <a:pt x="35" y="6"/>
                    <a:pt x="23" y="18"/>
                  </a:cubicBezTo>
                  <a:cubicBezTo>
                    <a:pt x="0" y="41"/>
                    <a:pt x="0" y="78"/>
                    <a:pt x="23" y="102"/>
                  </a:cubicBezTo>
                  <a:cubicBezTo>
                    <a:pt x="169" y="252"/>
                    <a:pt x="361" y="348"/>
                    <a:pt x="567" y="375"/>
                  </a:cubicBezTo>
                  <a:cubicBezTo>
                    <a:pt x="584" y="378"/>
                    <a:pt x="600" y="380"/>
                    <a:pt x="617" y="380"/>
                  </a:cubicBezTo>
                  <a:cubicBezTo>
                    <a:pt x="656" y="380"/>
                    <a:pt x="695" y="372"/>
                    <a:pt x="731" y="356"/>
                  </a:cubicBezTo>
                  <a:cubicBezTo>
                    <a:pt x="749" y="350"/>
                    <a:pt x="760" y="333"/>
                    <a:pt x="761" y="313"/>
                  </a:cubicBezTo>
                  <a:cubicBezTo>
                    <a:pt x="761" y="290"/>
                    <a:pt x="742" y="275"/>
                    <a:pt x="722" y="269"/>
                  </a:cubicBezTo>
                  <a:cubicBezTo>
                    <a:pt x="700" y="261"/>
                    <a:pt x="677" y="255"/>
                    <a:pt x="653" y="252"/>
                  </a:cubicBezTo>
                  <a:cubicBezTo>
                    <a:pt x="638" y="249"/>
                    <a:pt x="622" y="248"/>
                    <a:pt x="607" y="246"/>
                  </a:cubicBezTo>
                  <a:cubicBezTo>
                    <a:pt x="603" y="246"/>
                    <a:pt x="600" y="245"/>
                    <a:pt x="597" y="245"/>
                  </a:cubicBezTo>
                  <a:cubicBezTo>
                    <a:pt x="598" y="245"/>
                    <a:pt x="599" y="245"/>
                    <a:pt x="600" y="245"/>
                  </a:cubicBezTo>
                  <a:lnTo>
                    <a:pt x="600" y="245"/>
                  </a:lnTo>
                  <a:cubicBezTo>
                    <a:pt x="599" y="245"/>
                    <a:pt x="597" y="245"/>
                    <a:pt x="595" y="245"/>
                  </a:cubicBezTo>
                  <a:cubicBezTo>
                    <a:pt x="586" y="243"/>
                    <a:pt x="577" y="242"/>
                    <a:pt x="568" y="241"/>
                  </a:cubicBezTo>
                  <a:lnTo>
                    <a:pt x="560" y="240"/>
                  </a:lnTo>
                  <a:cubicBezTo>
                    <a:pt x="556" y="240"/>
                    <a:pt x="554" y="240"/>
                    <a:pt x="555" y="240"/>
                  </a:cubicBezTo>
                  <a:cubicBezTo>
                    <a:pt x="555" y="240"/>
                    <a:pt x="555" y="240"/>
                    <a:pt x="556" y="240"/>
                  </a:cubicBezTo>
                  <a:lnTo>
                    <a:pt x="556" y="240"/>
                  </a:lnTo>
                  <a:cubicBezTo>
                    <a:pt x="553" y="240"/>
                    <a:pt x="550" y="239"/>
                    <a:pt x="546" y="238"/>
                  </a:cubicBezTo>
                  <a:cubicBezTo>
                    <a:pt x="534" y="236"/>
                    <a:pt x="520" y="234"/>
                    <a:pt x="508" y="231"/>
                  </a:cubicBezTo>
                  <a:cubicBezTo>
                    <a:pt x="460" y="220"/>
                    <a:pt x="412" y="207"/>
                    <a:pt x="367" y="189"/>
                  </a:cubicBezTo>
                  <a:lnTo>
                    <a:pt x="358" y="184"/>
                  </a:lnTo>
                  <a:lnTo>
                    <a:pt x="339" y="176"/>
                  </a:lnTo>
                  <a:cubicBezTo>
                    <a:pt x="325" y="171"/>
                    <a:pt x="313" y="164"/>
                    <a:pt x="301" y="158"/>
                  </a:cubicBezTo>
                  <a:cubicBezTo>
                    <a:pt x="276" y="145"/>
                    <a:pt x="253" y="132"/>
                    <a:pt x="230" y="117"/>
                  </a:cubicBezTo>
                  <a:cubicBezTo>
                    <a:pt x="218" y="110"/>
                    <a:pt x="207" y="101"/>
                    <a:pt x="195" y="93"/>
                  </a:cubicBezTo>
                  <a:lnTo>
                    <a:pt x="178" y="81"/>
                  </a:lnTo>
                  <a:lnTo>
                    <a:pt x="176" y="79"/>
                  </a:lnTo>
                  <a:lnTo>
                    <a:pt x="170" y="74"/>
                  </a:lnTo>
                  <a:cubicBezTo>
                    <a:pt x="148" y="57"/>
                    <a:pt x="127" y="38"/>
                    <a:pt x="107" y="18"/>
                  </a:cubicBezTo>
                  <a:cubicBezTo>
                    <a:pt x="95" y="6"/>
                    <a:pt x="80" y="0"/>
                    <a:pt x="6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 1">
  <p:cSld name="CUSTOM_15"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15"/>
          <p:cNvSpPr txBox="1">
            <a:spLocks noGrp="1"/>
          </p:cNvSpPr>
          <p:nvPr>
            <p:ph type="ctrTitle"/>
          </p:nvPr>
        </p:nvSpPr>
        <p:spPr>
          <a:xfrm flipH="1">
            <a:off x="6835200" y="2479567"/>
            <a:ext cx="4396800" cy="1380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8000">
                <a:solidFill>
                  <a:schemeClr val="accent2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endParaRPr/>
          </a:p>
        </p:txBody>
      </p:sp>
      <p:sp>
        <p:nvSpPr>
          <p:cNvPr id="175" name="Google Shape;175;p15"/>
          <p:cNvSpPr txBox="1">
            <a:spLocks noGrp="1"/>
          </p:cNvSpPr>
          <p:nvPr>
            <p:ph type="subTitle" idx="1"/>
          </p:nvPr>
        </p:nvSpPr>
        <p:spPr>
          <a:xfrm flipH="1">
            <a:off x="6835167" y="4112551"/>
            <a:ext cx="4396800" cy="894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grpSp>
        <p:nvGrpSpPr>
          <p:cNvPr id="176" name="Google Shape;176;p15"/>
          <p:cNvGrpSpPr/>
          <p:nvPr/>
        </p:nvGrpSpPr>
        <p:grpSpPr>
          <a:xfrm rot="509245" flipH="1">
            <a:off x="-1354374" y="2488817"/>
            <a:ext cx="8633820" cy="4623888"/>
            <a:chOff x="-859800" y="-489834"/>
            <a:chExt cx="6475026" cy="3467735"/>
          </a:xfrm>
        </p:grpSpPr>
        <p:sp>
          <p:nvSpPr>
            <p:cNvPr id="177" name="Google Shape;177;p15"/>
            <p:cNvSpPr/>
            <p:nvPr/>
          </p:nvSpPr>
          <p:spPr>
            <a:xfrm>
              <a:off x="-859800" y="-489834"/>
              <a:ext cx="6475026" cy="3467735"/>
            </a:xfrm>
            <a:custGeom>
              <a:avLst/>
              <a:gdLst/>
              <a:ahLst/>
              <a:cxnLst/>
              <a:rect l="l" t="t" r="r" b="b"/>
              <a:pathLst>
                <a:path w="40144" h="21499" extrusionOk="0">
                  <a:moveTo>
                    <a:pt x="37082" y="1"/>
                  </a:moveTo>
                  <a:cubicBezTo>
                    <a:pt x="37030" y="1"/>
                    <a:pt x="36980" y="3"/>
                    <a:pt x="36931" y="7"/>
                  </a:cubicBezTo>
                  <a:cubicBezTo>
                    <a:pt x="35241" y="146"/>
                    <a:pt x="34183" y="2200"/>
                    <a:pt x="32993" y="3189"/>
                  </a:cubicBezTo>
                  <a:cubicBezTo>
                    <a:pt x="30766" y="5040"/>
                    <a:pt x="27809" y="5923"/>
                    <a:pt x="25130" y="6891"/>
                  </a:cubicBezTo>
                  <a:cubicBezTo>
                    <a:pt x="19428" y="8949"/>
                    <a:pt x="13925" y="11546"/>
                    <a:pt x="8151" y="13394"/>
                  </a:cubicBezTo>
                  <a:cubicBezTo>
                    <a:pt x="6456" y="13936"/>
                    <a:pt x="4716" y="14423"/>
                    <a:pt x="3194" y="15346"/>
                  </a:cubicBezTo>
                  <a:cubicBezTo>
                    <a:pt x="1671" y="16271"/>
                    <a:pt x="361" y="17718"/>
                    <a:pt x="70" y="19475"/>
                  </a:cubicBezTo>
                  <a:cubicBezTo>
                    <a:pt x="6" y="19869"/>
                    <a:pt x="1" y="20307"/>
                    <a:pt x="236" y="20630"/>
                  </a:cubicBezTo>
                  <a:cubicBezTo>
                    <a:pt x="405" y="20866"/>
                    <a:pt x="676" y="21007"/>
                    <a:pt x="945" y="21115"/>
                  </a:cubicBezTo>
                  <a:cubicBezTo>
                    <a:pt x="1608" y="21382"/>
                    <a:pt x="2310" y="21498"/>
                    <a:pt x="3020" y="21498"/>
                  </a:cubicBezTo>
                  <a:cubicBezTo>
                    <a:pt x="4181" y="21498"/>
                    <a:pt x="5363" y="21188"/>
                    <a:pt x="6433" y="20718"/>
                  </a:cubicBezTo>
                  <a:cubicBezTo>
                    <a:pt x="8157" y="19961"/>
                    <a:pt x="9679" y="18818"/>
                    <a:pt x="11294" y="17848"/>
                  </a:cubicBezTo>
                  <a:cubicBezTo>
                    <a:pt x="15824" y="15125"/>
                    <a:pt x="21022" y="13783"/>
                    <a:pt x="25991" y="11988"/>
                  </a:cubicBezTo>
                  <a:cubicBezTo>
                    <a:pt x="30566" y="10335"/>
                    <a:pt x="35249" y="8146"/>
                    <a:pt x="38462" y="4366"/>
                  </a:cubicBezTo>
                  <a:cubicBezTo>
                    <a:pt x="39191" y="3509"/>
                    <a:pt x="40144" y="2493"/>
                    <a:pt x="39551" y="1320"/>
                  </a:cubicBezTo>
                  <a:cubicBezTo>
                    <a:pt x="39166" y="560"/>
                    <a:pt x="37955" y="1"/>
                    <a:pt x="37082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grpSp>
          <p:nvGrpSpPr>
            <p:cNvPr id="178" name="Google Shape;178;p15"/>
            <p:cNvGrpSpPr/>
            <p:nvPr/>
          </p:nvGrpSpPr>
          <p:grpSpPr>
            <a:xfrm>
              <a:off x="2219922" y="1563358"/>
              <a:ext cx="239200" cy="60809"/>
              <a:chOff x="2701150" y="1792225"/>
              <a:chExt cx="37075" cy="9425"/>
            </a:xfrm>
          </p:grpSpPr>
          <p:sp>
            <p:nvSpPr>
              <p:cNvPr id="179" name="Google Shape;179;p15"/>
              <p:cNvSpPr/>
              <p:nvPr/>
            </p:nvSpPr>
            <p:spPr>
              <a:xfrm>
                <a:off x="2701150" y="1792225"/>
                <a:ext cx="19100" cy="5050"/>
              </a:xfrm>
              <a:custGeom>
                <a:avLst/>
                <a:gdLst/>
                <a:ahLst/>
                <a:cxnLst/>
                <a:rect l="l" t="t" r="r" b="b"/>
                <a:pathLst>
                  <a:path w="764" h="202" extrusionOk="0">
                    <a:moveTo>
                      <a:pt x="673" y="1"/>
                    </a:moveTo>
                    <a:cubicBezTo>
                      <a:pt x="659" y="1"/>
                      <a:pt x="644" y="3"/>
                      <a:pt x="630" y="4"/>
                    </a:cubicBezTo>
                    <a:cubicBezTo>
                      <a:pt x="604" y="6"/>
                      <a:pt x="577" y="8"/>
                      <a:pt x="552" y="10"/>
                    </a:cubicBezTo>
                    <a:cubicBezTo>
                      <a:pt x="492" y="17"/>
                      <a:pt x="433" y="26"/>
                      <a:pt x="373" y="35"/>
                    </a:cubicBezTo>
                    <a:cubicBezTo>
                      <a:pt x="264" y="51"/>
                      <a:pt x="155" y="70"/>
                      <a:pt x="45" y="87"/>
                    </a:cubicBezTo>
                    <a:cubicBezTo>
                      <a:pt x="17" y="91"/>
                      <a:pt x="0" y="125"/>
                      <a:pt x="4" y="150"/>
                    </a:cubicBezTo>
                    <a:cubicBezTo>
                      <a:pt x="7" y="175"/>
                      <a:pt x="31" y="201"/>
                      <a:pt x="58" y="201"/>
                    </a:cubicBezTo>
                    <a:cubicBezTo>
                      <a:pt x="59" y="201"/>
                      <a:pt x="60" y="201"/>
                      <a:pt x="61" y="201"/>
                    </a:cubicBezTo>
                    <a:cubicBezTo>
                      <a:pt x="171" y="190"/>
                      <a:pt x="281" y="179"/>
                      <a:pt x="392" y="168"/>
                    </a:cubicBezTo>
                    <a:cubicBezTo>
                      <a:pt x="448" y="162"/>
                      <a:pt x="505" y="155"/>
                      <a:pt x="561" y="147"/>
                    </a:cubicBezTo>
                    <a:cubicBezTo>
                      <a:pt x="590" y="143"/>
                      <a:pt x="619" y="138"/>
                      <a:pt x="647" y="133"/>
                    </a:cubicBezTo>
                    <a:cubicBezTo>
                      <a:pt x="662" y="131"/>
                      <a:pt x="676" y="129"/>
                      <a:pt x="690" y="125"/>
                    </a:cubicBezTo>
                    <a:cubicBezTo>
                      <a:pt x="708" y="120"/>
                      <a:pt x="725" y="111"/>
                      <a:pt x="738" y="97"/>
                    </a:cubicBezTo>
                    <a:cubicBezTo>
                      <a:pt x="764" y="78"/>
                      <a:pt x="757" y="28"/>
                      <a:pt x="728" y="16"/>
                    </a:cubicBezTo>
                    <a:cubicBezTo>
                      <a:pt x="711" y="6"/>
                      <a:pt x="692" y="2"/>
                      <a:pt x="673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180" name="Google Shape;180;p15"/>
              <p:cNvSpPr/>
              <p:nvPr/>
            </p:nvSpPr>
            <p:spPr>
              <a:xfrm>
                <a:off x="2720900" y="1795025"/>
                <a:ext cx="17325" cy="6625"/>
              </a:xfrm>
              <a:custGeom>
                <a:avLst/>
                <a:gdLst/>
                <a:ahLst/>
                <a:cxnLst/>
                <a:rect l="l" t="t" r="r" b="b"/>
                <a:pathLst>
                  <a:path w="693" h="265" extrusionOk="0">
                    <a:moveTo>
                      <a:pt x="590" y="0"/>
                    </a:moveTo>
                    <a:cubicBezTo>
                      <a:pt x="573" y="3"/>
                      <a:pt x="557" y="5"/>
                      <a:pt x="541" y="10"/>
                    </a:cubicBezTo>
                    <a:lnTo>
                      <a:pt x="471" y="23"/>
                    </a:lnTo>
                    <a:cubicBezTo>
                      <a:pt x="426" y="34"/>
                      <a:pt x="380" y="43"/>
                      <a:pt x="335" y="54"/>
                    </a:cubicBezTo>
                    <a:lnTo>
                      <a:pt x="62" y="121"/>
                    </a:lnTo>
                    <a:cubicBezTo>
                      <a:pt x="23" y="133"/>
                      <a:pt x="0" y="172"/>
                      <a:pt x="11" y="211"/>
                    </a:cubicBezTo>
                    <a:cubicBezTo>
                      <a:pt x="20" y="244"/>
                      <a:pt x="51" y="265"/>
                      <a:pt x="83" y="265"/>
                    </a:cubicBezTo>
                    <a:cubicBezTo>
                      <a:pt x="89" y="265"/>
                      <a:pt x="94" y="264"/>
                      <a:pt x="100" y="263"/>
                    </a:cubicBezTo>
                    <a:lnTo>
                      <a:pt x="100" y="264"/>
                    </a:lnTo>
                    <a:lnTo>
                      <a:pt x="377" y="204"/>
                    </a:lnTo>
                    <a:cubicBezTo>
                      <a:pt x="423" y="195"/>
                      <a:pt x="468" y="185"/>
                      <a:pt x="512" y="173"/>
                    </a:cubicBezTo>
                    <a:lnTo>
                      <a:pt x="581" y="156"/>
                    </a:lnTo>
                    <a:cubicBezTo>
                      <a:pt x="608" y="150"/>
                      <a:pt x="633" y="139"/>
                      <a:pt x="656" y="124"/>
                    </a:cubicBezTo>
                    <a:cubicBezTo>
                      <a:pt x="680" y="109"/>
                      <a:pt x="692" y="79"/>
                      <a:pt x="685" y="51"/>
                    </a:cubicBezTo>
                    <a:cubicBezTo>
                      <a:pt x="676" y="25"/>
                      <a:pt x="652" y="6"/>
                      <a:pt x="624" y="5"/>
                    </a:cubicBezTo>
                    <a:cubicBezTo>
                      <a:pt x="613" y="3"/>
                      <a:pt x="601" y="2"/>
                      <a:pt x="59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181" name="Google Shape;181;p15"/>
            <p:cNvGrpSpPr/>
            <p:nvPr/>
          </p:nvGrpSpPr>
          <p:grpSpPr>
            <a:xfrm>
              <a:off x="3776397" y="509596"/>
              <a:ext cx="239200" cy="60809"/>
              <a:chOff x="2701150" y="1792225"/>
              <a:chExt cx="37075" cy="9425"/>
            </a:xfrm>
          </p:grpSpPr>
          <p:sp>
            <p:nvSpPr>
              <p:cNvPr id="182" name="Google Shape;182;p15"/>
              <p:cNvSpPr/>
              <p:nvPr/>
            </p:nvSpPr>
            <p:spPr>
              <a:xfrm>
                <a:off x="2701150" y="1792225"/>
                <a:ext cx="19100" cy="5050"/>
              </a:xfrm>
              <a:custGeom>
                <a:avLst/>
                <a:gdLst/>
                <a:ahLst/>
                <a:cxnLst/>
                <a:rect l="l" t="t" r="r" b="b"/>
                <a:pathLst>
                  <a:path w="764" h="202" extrusionOk="0">
                    <a:moveTo>
                      <a:pt x="673" y="1"/>
                    </a:moveTo>
                    <a:cubicBezTo>
                      <a:pt x="659" y="1"/>
                      <a:pt x="644" y="3"/>
                      <a:pt x="630" y="4"/>
                    </a:cubicBezTo>
                    <a:cubicBezTo>
                      <a:pt x="604" y="6"/>
                      <a:pt x="577" y="8"/>
                      <a:pt x="552" y="10"/>
                    </a:cubicBezTo>
                    <a:cubicBezTo>
                      <a:pt x="492" y="17"/>
                      <a:pt x="433" y="26"/>
                      <a:pt x="373" y="35"/>
                    </a:cubicBezTo>
                    <a:cubicBezTo>
                      <a:pt x="264" y="51"/>
                      <a:pt x="155" y="70"/>
                      <a:pt x="45" y="87"/>
                    </a:cubicBezTo>
                    <a:cubicBezTo>
                      <a:pt x="17" y="91"/>
                      <a:pt x="0" y="125"/>
                      <a:pt x="4" y="150"/>
                    </a:cubicBezTo>
                    <a:cubicBezTo>
                      <a:pt x="7" y="175"/>
                      <a:pt x="31" y="201"/>
                      <a:pt x="58" y="201"/>
                    </a:cubicBezTo>
                    <a:cubicBezTo>
                      <a:pt x="59" y="201"/>
                      <a:pt x="60" y="201"/>
                      <a:pt x="61" y="201"/>
                    </a:cubicBezTo>
                    <a:cubicBezTo>
                      <a:pt x="171" y="190"/>
                      <a:pt x="281" y="179"/>
                      <a:pt x="392" y="168"/>
                    </a:cubicBezTo>
                    <a:cubicBezTo>
                      <a:pt x="448" y="162"/>
                      <a:pt x="505" y="155"/>
                      <a:pt x="561" y="147"/>
                    </a:cubicBezTo>
                    <a:cubicBezTo>
                      <a:pt x="590" y="143"/>
                      <a:pt x="619" y="138"/>
                      <a:pt x="647" y="133"/>
                    </a:cubicBezTo>
                    <a:cubicBezTo>
                      <a:pt x="662" y="131"/>
                      <a:pt x="676" y="129"/>
                      <a:pt x="690" y="125"/>
                    </a:cubicBezTo>
                    <a:cubicBezTo>
                      <a:pt x="708" y="120"/>
                      <a:pt x="725" y="111"/>
                      <a:pt x="738" y="97"/>
                    </a:cubicBezTo>
                    <a:cubicBezTo>
                      <a:pt x="764" y="78"/>
                      <a:pt x="757" y="28"/>
                      <a:pt x="728" y="16"/>
                    </a:cubicBezTo>
                    <a:cubicBezTo>
                      <a:pt x="711" y="6"/>
                      <a:pt x="692" y="2"/>
                      <a:pt x="673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183" name="Google Shape;183;p15"/>
              <p:cNvSpPr/>
              <p:nvPr/>
            </p:nvSpPr>
            <p:spPr>
              <a:xfrm>
                <a:off x="2720900" y="1795025"/>
                <a:ext cx="17325" cy="6625"/>
              </a:xfrm>
              <a:custGeom>
                <a:avLst/>
                <a:gdLst/>
                <a:ahLst/>
                <a:cxnLst/>
                <a:rect l="l" t="t" r="r" b="b"/>
                <a:pathLst>
                  <a:path w="693" h="265" extrusionOk="0">
                    <a:moveTo>
                      <a:pt x="590" y="0"/>
                    </a:moveTo>
                    <a:cubicBezTo>
                      <a:pt x="573" y="3"/>
                      <a:pt x="557" y="5"/>
                      <a:pt x="541" y="10"/>
                    </a:cubicBezTo>
                    <a:lnTo>
                      <a:pt x="471" y="23"/>
                    </a:lnTo>
                    <a:cubicBezTo>
                      <a:pt x="426" y="34"/>
                      <a:pt x="380" y="43"/>
                      <a:pt x="335" y="54"/>
                    </a:cubicBezTo>
                    <a:lnTo>
                      <a:pt x="62" y="121"/>
                    </a:lnTo>
                    <a:cubicBezTo>
                      <a:pt x="23" y="133"/>
                      <a:pt x="0" y="172"/>
                      <a:pt x="11" y="211"/>
                    </a:cubicBezTo>
                    <a:cubicBezTo>
                      <a:pt x="20" y="244"/>
                      <a:pt x="51" y="265"/>
                      <a:pt x="83" y="265"/>
                    </a:cubicBezTo>
                    <a:cubicBezTo>
                      <a:pt x="89" y="265"/>
                      <a:pt x="94" y="264"/>
                      <a:pt x="100" y="263"/>
                    </a:cubicBezTo>
                    <a:lnTo>
                      <a:pt x="100" y="264"/>
                    </a:lnTo>
                    <a:lnTo>
                      <a:pt x="377" y="204"/>
                    </a:lnTo>
                    <a:cubicBezTo>
                      <a:pt x="423" y="195"/>
                      <a:pt x="468" y="185"/>
                      <a:pt x="512" y="173"/>
                    </a:cubicBezTo>
                    <a:lnTo>
                      <a:pt x="581" y="156"/>
                    </a:lnTo>
                    <a:cubicBezTo>
                      <a:pt x="608" y="150"/>
                      <a:pt x="633" y="139"/>
                      <a:pt x="656" y="124"/>
                    </a:cubicBezTo>
                    <a:cubicBezTo>
                      <a:pt x="680" y="109"/>
                      <a:pt x="692" y="79"/>
                      <a:pt x="685" y="51"/>
                    </a:cubicBezTo>
                    <a:cubicBezTo>
                      <a:pt x="676" y="25"/>
                      <a:pt x="652" y="6"/>
                      <a:pt x="624" y="5"/>
                    </a:cubicBezTo>
                    <a:cubicBezTo>
                      <a:pt x="613" y="3"/>
                      <a:pt x="601" y="2"/>
                      <a:pt x="59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184" name="Google Shape;184;p15"/>
            <p:cNvGrpSpPr/>
            <p:nvPr/>
          </p:nvGrpSpPr>
          <p:grpSpPr>
            <a:xfrm>
              <a:off x="224772" y="1896296"/>
              <a:ext cx="239200" cy="60809"/>
              <a:chOff x="2701150" y="1792225"/>
              <a:chExt cx="37075" cy="9425"/>
            </a:xfrm>
          </p:grpSpPr>
          <p:sp>
            <p:nvSpPr>
              <p:cNvPr id="185" name="Google Shape;185;p15"/>
              <p:cNvSpPr/>
              <p:nvPr/>
            </p:nvSpPr>
            <p:spPr>
              <a:xfrm>
                <a:off x="2701150" y="1792225"/>
                <a:ext cx="19100" cy="5050"/>
              </a:xfrm>
              <a:custGeom>
                <a:avLst/>
                <a:gdLst/>
                <a:ahLst/>
                <a:cxnLst/>
                <a:rect l="l" t="t" r="r" b="b"/>
                <a:pathLst>
                  <a:path w="764" h="202" extrusionOk="0">
                    <a:moveTo>
                      <a:pt x="673" y="1"/>
                    </a:moveTo>
                    <a:cubicBezTo>
                      <a:pt x="659" y="1"/>
                      <a:pt x="644" y="3"/>
                      <a:pt x="630" y="4"/>
                    </a:cubicBezTo>
                    <a:cubicBezTo>
                      <a:pt x="604" y="6"/>
                      <a:pt x="577" y="8"/>
                      <a:pt x="552" y="10"/>
                    </a:cubicBezTo>
                    <a:cubicBezTo>
                      <a:pt x="492" y="17"/>
                      <a:pt x="433" y="26"/>
                      <a:pt x="373" y="35"/>
                    </a:cubicBezTo>
                    <a:cubicBezTo>
                      <a:pt x="264" y="51"/>
                      <a:pt x="155" y="70"/>
                      <a:pt x="45" y="87"/>
                    </a:cubicBezTo>
                    <a:cubicBezTo>
                      <a:pt x="17" y="91"/>
                      <a:pt x="0" y="125"/>
                      <a:pt x="4" y="150"/>
                    </a:cubicBezTo>
                    <a:cubicBezTo>
                      <a:pt x="7" y="175"/>
                      <a:pt x="31" y="201"/>
                      <a:pt x="58" y="201"/>
                    </a:cubicBezTo>
                    <a:cubicBezTo>
                      <a:pt x="59" y="201"/>
                      <a:pt x="60" y="201"/>
                      <a:pt x="61" y="201"/>
                    </a:cubicBezTo>
                    <a:cubicBezTo>
                      <a:pt x="171" y="190"/>
                      <a:pt x="281" y="179"/>
                      <a:pt x="392" y="168"/>
                    </a:cubicBezTo>
                    <a:cubicBezTo>
                      <a:pt x="448" y="162"/>
                      <a:pt x="505" y="155"/>
                      <a:pt x="561" y="147"/>
                    </a:cubicBezTo>
                    <a:cubicBezTo>
                      <a:pt x="590" y="143"/>
                      <a:pt x="619" y="138"/>
                      <a:pt x="647" y="133"/>
                    </a:cubicBezTo>
                    <a:cubicBezTo>
                      <a:pt x="662" y="131"/>
                      <a:pt x="676" y="129"/>
                      <a:pt x="690" y="125"/>
                    </a:cubicBezTo>
                    <a:cubicBezTo>
                      <a:pt x="708" y="120"/>
                      <a:pt x="725" y="111"/>
                      <a:pt x="738" y="97"/>
                    </a:cubicBezTo>
                    <a:cubicBezTo>
                      <a:pt x="764" y="78"/>
                      <a:pt x="757" y="28"/>
                      <a:pt x="728" y="16"/>
                    </a:cubicBezTo>
                    <a:cubicBezTo>
                      <a:pt x="711" y="6"/>
                      <a:pt x="692" y="2"/>
                      <a:pt x="673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186" name="Google Shape;186;p15"/>
              <p:cNvSpPr/>
              <p:nvPr/>
            </p:nvSpPr>
            <p:spPr>
              <a:xfrm>
                <a:off x="2720900" y="1795025"/>
                <a:ext cx="17325" cy="6625"/>
              </a:xfrm>
              <a:custGeom>
                <a:avLst/>
                <a:gdLst/>
                <a:ahLst/>
                <a:cxnLst/>
                <a:rect l="l" t="t" r="r" b="b"/>
                <a:pathLst>
                  <a:path w="693" h="265" extrusionOk="0">
                    <a:moveTo>
                      <a:pt x="590" y="0"/>
                    </a:moveTo>
                    <a:cubicBezTo>
                      <a:pt x="573" y="3"/>
                      <a:pt x="557" y="5"/>
                      <a:pt x="541" y="10"/>
                    </a:cubicBezTo>
                    <a:lnTo>
                      <a:pt x="471" y="23"/>
                    </a:lnTo>
                    <a:cubicBezTo>
                      <a:pt x="426" y="34"/>
                      <a:pt x="380" y="43"/>
                      <a:pt x="335" y="54"/>
                    </a:cubicBezTo>
                    <a:lnTo>
                      <a:pt x="62" y="121"/>
                    </a:lnTo>
                    <a:cubicBezTo>
                      <a:pt x="23" y="133"/>
                      <a:pt x="0" y="172"/>
                      <a:pt x="11" y="211"/>
                    </a:cubicBezTo>
                    <a:cubicBezTo>
                      <a:pt x="20" y="244"/>
                      <a:pt x="51" y="265"/>
                      <a:pt x="83" y="265"/>
                    </a:cubicBezTo>
                    <a:cubicBezTo>
                      <a:pt x="89" y="265"/>
                      <a:pt x="94" y="264"/>
                      <a:pt x="100" y="263"/>
                    </a:cubicBezTo>
                    <a:lnTo>
                      <a:pt x="100" y="264"/>
                    </a:lnTo>
                    <a:lnTo>
                      <a:pt x="377" y="204"/>
                    </a:lnTo>
                    <a:cubicBezTo>
                      <a:pt x="423" y="195"/>
                      <a:pt x="468" y="185"/>
                      <a:pt x="512" y="173"/>
                    </a:cubicBezTo>
                    <a:lnTo>
                      <a:pt x="581" y="156"/>
                    </a:lnTo>
                    <a:cubicBezTo>
                      <a:pt x="608" y="150"/>
                      <a:pt x="633" y="139"/>
                      <a:pt x="656" y="124"/>
                    </a:cubicBezTo>
                    <a:cubicBezTo>
                      <a:pt x="680" y="109"/>
                      <a:pt x="692" y="79"/>
                      <a:pt x="685" y="51"/>
                    </a:cubicBezTo>
                    <a:cubicBezTo>
                      <a:pt x="676" y="25"/>
                      <a:pt x="652" y="6"/>
                      <a:pt x="624" y="5"/>
                    </a:cubicBezTo>
                    <a:cubicBezTo>
                      <a:pt x="613" y="3"/>
                      <a:pt x="601" y="2"/>
                      <a:pt x="59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</p:grpSp>
    </p:spTree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1">
  <p:cSld name="CUSTOM_1"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p16"/>
          <p:cNvSpPr txBox="1">
            <a:spLocks noGrp="1"/>
          </p:cNvSpPr>
          <p:nvPr>
            <p:ph type="ctrTitle"/>
          </p:nvPr>
        </p:nvSpPr>
        <p:spPr>
          <a:xfrm flipH="1">
            <a:off x="4184800" y="2332967"/>
            <a:ext cx="4214400" cy="64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189" name="Google Shape;189;p16"/>
          <p:cNvSpPr txBox="1">
            <a:spLocks noGrp="1"/>
          </p:cNvSpPr>
          <p:nvPr>
            <p:ph type="subTitle" idx="1"/>
          </p:nvPr>
        </p:nvSpPr>
        <p:spPr>
          <a:xfrm flipH="1">
            <a:off x="3792800" y="720000"/>
            <a:ext cx="4606400" cy="153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>
                <a:solidFill>
                  <a:schemeClr val="accent2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grpSp>
        <p:nvGrpSpPr>
          <p:cNvPr id="190" name="Google Shape;190;p16"/>
          <p:cNvGrpSpPr/>
          <p:nvPr/>
        </p:nvGrpSpPr>
        <p:grpSpPr>
          <a:xfrm>
            <a:off x="7807857" y="3686998"/>
            <a:ext cx="5133444" cy="4041079"/>
            <a:chOff x="5855892" y="2765248"/>
            <a:chExt cx="3850083" cy="3030809"/>
          </a:xfrm>
        </p:grpSpPr>
        <p:sp>
          <p:nvSpPr>
            <p:cNvPr id="191" name="Google Shape;191;p16"/>
            <p:cNvSpPr/>
            <p:nvPr/>
          </p:nvSpPr>
          <p:spPr>
            <a:xfrm flipH="1">
              <a:off x="5855892" y="2765248"/>
              <a:ext cx="3850083" cy="3030809"/>
            </a:xfrm>
            <a:custGeom>
              <a:avLst/>
              <a:gdLst/>
              <a:ahLst/>
              <a:cxnLst/>
              <a:rect l="l" t="t" r="r" b="b"/>
              <a:pathLst>
                <a:path w="22073" h="17376" extrusionOk="0">
                  <a:moveTo>
                    <a:pt x="1149" y="0"/>
                  </a:moveTo>
                  <a:cubicBezTo>
                    <a:pt x="1" y="0"/>
                    <a:pt x="975" y="2695"/>
                    <a:pt x="1358" y="3386"/>
                  </a:cubicBezTo>
                  <a:cubicBezTo>
                    <a:pt x="2198" y="4899"/>
                    <a:pt x="3524" y="6098"/>
                    <a:pt x="4943" y="7061"/>
                  </a:cubicBezTo>
                  <a:cubicBezTo>
                    <a:pt x="6771" y="8300"/>
                    <a:pt x="8801" y="9217"/>
                    <a:pt x="10658" y="10413"/>
                  </a:cubicBezTo>
                  <a:cubicBezTo>
                    <a:pt x="11457" y="10929"/>
                    <a:pt x="12230" y="11501"/>
                    <a:pt x="12866" y="12205"/>
                  </a:cubicBezTo>
                  <a:cubicBezTo>
                    <a:pt x="13900" y="13351"/>
                    <a:pt x="14533" y="14792"/>
                    <a:pt x="15350" y="16101"/>
                  </a:cubicBezTo>
                  <a:cubicBezTo>
                    <a:pt x="15612" y="16521"/>
                    <a:pt x="15913" y="16946"/>
                    <a:pt x="16354" y="17170"/>
                  </a:cubicBezTo>
                  <a:cubicBezTo>
                    <a:pt x="16670" y="17332"/>
                    <a:pt x="17026" y="17376"/>
                    <a:pt x="17384" y="17376"/>
                  </a:cubicBezTo>
                  <a:cubicBezTo>
                    <a:pt x="17538" y="17376"/>
                    <a:pt x="17691" y="17368"/>
                    <a:pt x="17843" y="17358"/>
                  </a:cubicBezTo>
                  <a:cubicBezTo>
                    <a:pt x="18720" y="17300"/>
                    <a:pt x="19595" y="17192"/>
                    <a:pt x="20459" y="17032"/>
                  </a:cubicBezTo>
                  <a:cubicBezTo>
                    <a:pt x="20939" y="16945"/>
                    <a:pt x="21463" y="16811"/>
                    <a:pt x="21742" y="16411"/>
                  </a:cubicBezTo>
                  <a:cubicBezTo>
                    <a:pt x="22072" y="15937"/>
                    <a:pt x="21926" y="15287"/>
                    <a:pt x="21702" y="14755"/>
                  </a:cubicBezTo>
                  <a:cubicBezTo>
                    <a:pt x="20625" y="12206"/>
                    <a:pt x="18172" y="10535"/>
                    <a:pt x="15740" y="9217"/>
                  </a:cubicBezTo>
                  <a:cubicBezTo>
                    <a:pt x="13914" y="8227"/>
                    <a:pt x="12030" y="7347"/>
                    <a:pt x="10191" y="6384"/>
                  </a:cubicBezTo>
                  <a:cubicBezTo>
                    <a:pt x="8553" y="5526"/>
                    <a:pt x="6939" y="4603"/>
                    <a:pt x="5465" y="3480"/>
                  </a:cubicBezTo>
                  <a:cubicBezTo>
                    <a:pt x="4223" y="2534"/>
                    <a:pt x="3150" y="816"/>
                    <a:pt x="1746" y="164"/>
                  </a:cubicBezTo>
                  <a:cubicBezTo>
                    <a:pt x="1502" y="51"/>
                    <a:pt x="1306" y="0"/>
                    <a:pt x="114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grpSp>
          <p:nvGrpSpPr>
            <p:cNvPr id="192" name="Google Shape;192;p16"/>
            <p:cNvGrpSpPr/>
            <p:nvPr/>
          </p:nvGrpSpPr>
          <p:grpSpPr>
            <a:xfrm>
              <a:off x="8320882" y="3662814"/>
              <a:ext cx="301490" cy="101204"/>
              <a:chOff x="8273257" y="3662814"/>
              <a:chExt cx="301490" cy="101204"/>
            </a:xfrm>
          </p:grpSpPr>
          <p:sp>
            <p:nvSpPr>
              <p:cNvPr id="193" name="Google Shape;193;p16"/>
              <p:cNvSpPr/>
              <p:nvPr/>
            </p:nvSpPr>
            <p:spPr>
              <a:xfrm>
                <a:off x="8412651" y="3672361"/>
                <a:ext cx="162096" cy="91656"/>
              </a:xfrm>
              <a:custGeom>
                <a:avLst/>
                <a:gdLst/>
                <a:ahLst/>
                <a:cxnLst/>
                <a:rect l="l" t="t" r="r" b="b"/>
                <a:pathLst>
                  <a:path w="764" h="432" extrusionOk="0">
                    <a:moveTo>
                      <a:pt x="693" y="0"/>
                    </a:moveTo>
                    <a:cubicBezTo>
                      <a:pt x="688" y="0"/>
                      <a:pt x="683" y="1"/>
                      <a:pt x="677" y="2"/>
                    </a:cubicBezTo>
                    <a:cubicBezTo>
                      <a:pt x="663" y="6"/>
                      <a:pt x="650" y="8"/>
                      <a:pt x="637" y="12"/>
                    </a:cubicBezTo>
                    <a:cubicBezTo>
                      <a:pt x="619" y="17"/>
                      <a:pt x="601" y="24"/>
                      <a:pt x="585" y="32"/>
                    </a:cubicBezTo>
                    <a:lnTo>
                      <a:pt x="507" y="69"/>
                    </a:lnTo>
                    <a:cubicBezTo>
                      <a:pt x="455" y="92"/>
                      <a:pt x="404" y="119"/>
                      <a:pt x="354" y="144"/>
                    </a:cubicBezTo>
                    <a:lnTo>
                      <a:pt x="46" y="298"/>
                    </a:lnTo>
                    <a:cubicBezTo>
                      <a:pt x="12" y="319"/>
                      <a:pt x="0" y="363"/>
                      <a:pt x="21" y="396"/>
                    </a:cubicBezTo>
                    <a:cubicBezTo>
                      <a:pt x="35" y="419"/>
                      <a:pt x="59" y="431"/>
                      <a:pt x="84" y="431"/>
                    </a:cubicBezTo>
                    <a:cubicBezTo>
                      <a:pt x="96" y="431"/>
                      <a:pt x="108" y="429"/>
                      <a:pt x="119" y="423"/>
                    </a:cubicBezTo>
                    <a:lnTo>
                      <a:pt x="431" y="276"/>
                    </a:lnTo>
                    <a:cubicBezTo>
                      <a:pt x="483" y="252"/>
                      <a:pt x="535" y="228"/>
                      <a:pt x="586" y="203"/>
                    </a:cubicBezTo>
                    <a:lnTo>
                      <a:pt x="660" y="166"/>
                    </a:lnTo>
                    <a:cubicBezTo>
                      <a:pt x="688" y="150"/>
                      <a:pt x="715" y="130"/>
                      <a:pt x="739" y="108"/>
                    </a:cubicBezTo>
                    <a:cubicBezTo>
                      <a:pt x="760" y="88"/>
                      <a:pt x="764" y="57"/>
                      <a:pt x="750" y="31"/>
                    </a:cubicBezTo>
                    <a:cubicBezTo>
                      <a:pt x="738" y="12"/>
                      <a:pt x="716" y="0"/>
                      <a:pt x="69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194" name="Google Shape;194;p16"/>
              <p:cNvSpPr/>
              <p:nvPr/>
            </p:nvSpPr>
            <p:spPr>
              <a:xfrm>
                <a:off x="8273257" y="3662814"/>
                <a:ext cx="153821" cy="63226"/>
              </a:xfrm>
              <a:custGeom>
                <a:avLst/>
                <a:gdLst/>
                <a:ahLst/>
                <a:cxnLst/>
                <a:rect l="l" t="t" r="r" b="b"/>
                <a:pathLst>
                  <a:path w="725" h="298" extrusionOk="0">
                    <a:moveTo>
                      <a:pt x="675" y="0"/>
                    </a:moveTo>
                    <a:cubicBezTo>
                      <a:pt x="674" y="0"/>
                      <a:pt x="674" y="0"/>
                      <a:pt x="674" y="0"/>
                    </a:cubicBezTo>
                    <a:cubicBezTo>
                      <a:pt x="618" y="1"/>
                      <a:pt x="563" y="15"/>
                      <a:pt x="509" y="28"/>
                    </a:cubicBezTo>
                    <a:cubicBezTo>
                      <a:pt x="454" y="41"/>
                      <a:pt x="403" y="53"/>
                      <a:pt x="350" y="70"/>
                    </a:cubicBezTo>
                    <a:cubicBezTo>
                      <a:pt x="244" y="105"/>
                      <a:pt x="139" y="145"/>
                      <a:pt x="37" y="189"/>
                    </a:cubicBezTo>
                    <a:cubicBezTo>
                      <a:pt x="8" y="202"/>
                      <a:pt x="0" y="244"/>
                      <a:pt x="15" y="268"/>
                    </a:cubicBezTo>
                    <a:cubicBezTo>
                      <a:pt x="27" y="287"/>
                      <a:pt x="46" y="297"/>
                      <a:pt x="66" y="297"/>
                    </a:cubicBezTo>
                    <a:cubicBezTo>
                      <a:pt x="76" y="297"/>
                      <a:pt x="86" y="295"/>
                      <a:pt x="96" y="289"/>
                    </a:cubicBezTo>
                    <a:cubicBezTo>
                      <a:pt x="188" y="248"/>
                      <a:pt x="287" y="210"/>
                      <a:pt x="387" y="176"/>
                    </a:cubicBezTo>
                    <a:cubicBezTo>
                      <a:pt x="436" y="159"/>
                      <a:pt x="486" y="141"/>
                      <a:pt x="535" y="123"/>
                    </a:cubicBezTo>
                    <a:cubicBezTo>
                      <a:pt x="588" y="108"/>
                      <a:pt x="641" y="90"/>
                      <a:pt x="692" y="68"/>
                    </a:cubicBezTo>
                    <a:cubicBezTo>
                      <a:pt x="725" y="52"/>
                      <a:pt x="708" y="0"/>
                      <a:pt x="675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195" name="Google Shape;195;p16"/>
            <p:cNvGrpSpPr/>
            <p:nvPr/>
          </p:nvGrpSpPr>
          <p:grpSpPr>
            <a:xfrm>
              <a:off x="7235032" y="4603489"/>
              <a:ext cx="301490" cy="101204"/>
              <a:chOff x="8273257" y="3662814"/>
              <a:chExt cx="301490" cy="101204"/>
            </a:xfrm>
          </p:grpSpPr>
          <p:sp>
            <p:nvSpPr>
              <p:cNvPr id="196" name="Google Shape;196;p16"/>
              <p:cNvSpPr/>
              <p:nvPr/>
            </p:nvSpPr>
            <p:spPr>
              <a:xfrm>
                <a:off x="8412651" y="3672361"/>
                <a:ext cx="162096" cy="91656"/>
              </a:xfrm>
              <a:custGeom>
                <a:avLst/>
                <a:gdLst/>
                <a:ahLst/>
                <a:cxnLst/>
                <a:rect l="l" t="t" r="r" b="b"/>
                <a:pathLst>
                  <a:path w="764" h="432" extrusionOk="0">
                    <a:moveTo>
                      <a:pt x="693" y="0"/>
                    </a:moveTo>
                    <a:cubicBezTo>
                      <a:pt x="688" y="0"/>
                      <a:pt x="683" y="1"/>
                      <a:pt x="677" y="2"/>
                    </a:cubicBezTo>
                    <a:cubicBezTo>
                      <a:pt x="663" y="6"/>
                      <a:pt x="650" y="8"/>
                      <a:pt x="637" y="12"/>
                    </a:cubicBezTo>
                    <a:cubicBezTo>
                      <a:pt x="619" y="17"/>
                      <a:pt x="601" y="24"/>
                      <a:pt x="585" y="32"/>
                    </a:cubicBezTo>
                    <a:lnTo>
                      <a:pt x="507" y="69"/>
                    </a:lnTo>
                    <a:cubicBezTo>
                      <a:pt x="455" y="92"/>
                      <a:pt x="404" y="119"/>
                      <a:pt x="354" y="144"/>
                    </a:cubicBezTo>
                    <a:lnTo>
                      <a:pt x="46" y="298"/>
                    </a:lnTo>
                    <a:cubicBezTo>
                      <a:pt x="12" y="319"/>
                      <a:pt x="0" y="363"/>
                      <a:pt x="21" y="396"/>
                    </a:cubicBezTo>
                    <a:cubicBezTo>
                      <a:pt x="35" y="419"/>
                      <a:pt x="59" y="431"/>
                      <a:pt x="84" y="431"/>
                    </a:cubicBezTo>
                    <a:cubicBezTo>
                      <a:pt x="96" y="431"/>
                      <a:pt x="108" y="429"/>
                      <a:pt x="119" y="423"/>
                    </a:cubicBezTo>
                    <a:lnTo>
                      <a:pt x="431" y="276"/>
                    </a:lnTo>
                    <a:cubicBezTo>
                      <a:pt x="483" y="252"/>
                      <a:pt x="535" y="228"/>
                      <a:pt x="586" y="203"/>
                    </a:cubicBezTo>
                    <a:lnTo>
                      <a:pt x="660" y="166"/>
                    </a:lnTo>
                    <a:cubicBezTo>
                      <a:pt x="688" y="150"/>
                      <a:pt x="715" y="130"/>
                      <a:pt x="739" y="108"/>
                    </a:cubicBezTo>
                    <a:cubicBezTo>
                      <a:pt x="760" y="88"/>
                      <a:pt x="764" y="57"/>
                      <a:pt x="750" y="31"/>
                    </a:cubicBezTo>
                    <a:cubicBezTo>
                      <a:pt x="738" y="12"/>
                      <a:pt x="716" y="0"/>
                      <a:pt x="69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197" name="Google Shape;197;p16"/>
              <p:cNvSpPr/>
              <p:nvPr/>
            </p:nvSpPr>
            <p:spPr>
              <a:xfrm>
                <a:off x="8273257" y="3662814"/>
                <a:ext cx="153821" cy="63226"/>
              </a:xfrm>
              <a:custGeom>
                <a:avLst/>
                <a:gdLst/>
                <a:ahLst/>
                <a:cxnLst/>
                <a:rect l="l" t="t" r="r" b="b"/>
                <a:pathLst>
                  <a:path w="725" h="298" extrusionOk="0">
                    <a:moveTo>
                      <a:pt x="675" y="0"/>
                    </a:moveTo>
                    <a:cubicBezTo>
                      <a:pt x="674" y="0"/>
                      <a:pt x="674" y="0"/>
                      <a:pt x="674" y="0"/>
                    </a:cubicBezTo>
                    <a:cubicBezTo>
                      <a:pt x="618" y="1"/>
                      <a:pt x="563" y="15"/>
                      <a:pt x="509" y="28"/>
                    </a:cubicBezTo>
                    <a:cubicBezTo>
                      <a:pt x="454" y="41"/>
                      <a:pt x="403" y="53"/>
                      <a:pt x="350" y="70"/>
                    </a:cubicBezTo>
                    <a:cubicBezTo>
                      <a:pt x="244" y="105"/>
                      <a:pt x="139" y="145"/>
                      <a:pt x="37" y="189"/>
                    </a:cubicBezTo>
                    <a:cubicBezTo>
                      <a:pt x="8" y="202"/>
                      <a:pt x="0" y="244"/>
                      <a:pt x="15" y="268"/>
                    </a:cubicBezTo>
                    <a:cubicBezTo>
                      <a:pt x="27" y="287"/>
                      <a:pt x="46" y="297"/>
                      <a:pt x="66" y="297"/>
                    </a:cubicBezTo>
                    <a:cubicBezTo>
                      <a:pt x="76" y="297"/>
                      <a:pt x="86" y="295"/>
                      <a:pt x="96" y="289"/>
                    </a:cubicBezTo>
                    <a:cubicBezTo>
                      <a:pt x="188" y="248"/>
                      <a:pt x="287" y="210"/>
                      <a:pt x="387" y="176"/>
                    </a:cubicBezTo>
                    <a:cubicBezTo>
                      <a:pt x="436" y="159"/>
                      <a:pt x="486" y="141"/>
                      <a:pt x="535" y="123"/>
                    </a:cubicBezTo>
                    <a:cubicBezTo>
                      <a:pt x="588" y="108"/>
                      <a:pt x="641" y="90"/>
                      <a:pt x="692" y="68"/>
                    </a:cubicBezTo>
                    <a:cubicBezTo>
                      <a:pt x="725" y="52"/>
                      <a:pt x="708" y="0"/>
                      <a:pt x="675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</p:grp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7740735"/>
      </p:ext>
    </p:extLst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2">
  <p:cSld name="CUSTOM_1_1"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17"/>
          <p:cNvSpPr txBox="1">
            <a:spLocks noGrp="1"/>
          </p:cNvSpPr>
          <p:nvPr>
            <p:ph type="ctrTitle"/>
          </p:nvPr>
        </p:nvSpPr>
        <p:spPr>
          <a:xfrm flipH="1">
            <a:off x="3988800" y="5444633"/>
            <a:ext cx="4214400" cy="647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00" name="Google Shape;200;p17"/>
          <p:cNvSpPr txBox="1">
            <a:spLocks noGrp="1"/>
          </p:cNvSpPr>
          <p:nvPr>
            <p:ph type="subTitle" idx="1"/>
          </p:nvPr>
        </p:nvSpPr>
        <p:spPr>
          <a:xfrm flipH="1">
            <a:off x="3988800" y="3831667"/>
            <a:ext cx="4214400" cy="153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>
                <a:solidFill>
                  <a:schemeClr val="accent2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grpSp>
        <p:nvGrpSpPr>
          <p:cNvPr id="201" name="Google Shape;201;p17"/>
          <p:cNvGrpSpPr/>
          <p:nvPr/>
        </p:nvGrpSpPr>
        <p:grpSpPr>
          <a:xfrm flipH="1">
            <a:off x="-774898" y="3921098"/>
            <a:ext cx="5133444" cy="4041079"/>
            <a:chOff x="5855892" y="2765248"/>
            <a:chExt cx="3850083" cy="3030809"/>
          </a:xfrm>
        </p:grpSpPr>
        <p:sp>
          <p:nvSpPr>
            <p:cNvPr id="202" name="Google Shape;202;p17"/>
            <p:cNvSpPr/>
            <p:nvPr/>
          </p:nvSpPr>
          <p:spPr>
            <a:xfrm flipH="1">
              <a:off x="5855892" y="2765248"/>
              <a:ext cx="3850083" cy="3030809"/>
            </a:xfrm>
            <a:custGeom>
              <a:avLst/>
              <a:gdLst/>
              <a:ahLst/>
              <a:cxnLst/>
              <a:rect l="l" t="t" r="r" b="b"/>
              <a:pathLst>
                <a:path w="22073" h="17376" extrusionOk="0">
                  <a:moveTo>
                    <a:pt x="1149" y="0"/>
                  </a:moveTo>
                  <a:cubicBezTo>
                    <a:pt x="1" y="0"/>
                    <a:pt x="975" y="2695"/>
                    <a:pt x="1358" y="3386"/>
                  </a:cubicBezTo>
                  <a:cubicBezTo>
                    <a:pt x="2198" y="4899"/>
                    <a:pt x="3524" y="6098"/>
                    <a:pt x="4943" y="7061"/>
                  </a:cubicBezTo>
                  <a:cubicBezTo>
                    <a:pt x="6771" y="8300"/>
                    <a:pt x="8801" y="9217"/>
                    <a:pt x="10658" y="10413"/>
                  </a:cubicBezTo>
                  <a:cubicBezTo>
                    <a:pt x="11457" y="10929"/>
                    <a:pt x="12230" y="11501"/>
                    <a:pt x="12866" y="12205"/>
                  </a:cubicBezTo>
                  <a:cubicBezTo>
                    <a:pt x="13900" y="13351"/>
                    <a:pt x="14533" y="14792"/>
                    <a:pt x="15350" y="16101"/>
                  </a:cubicBezTo>
                  <a:cubicBezTo>
                    <a:pt x="15612" y="16521"/>
                    <a:pt x="15913" y="16946"/>
                    <a:pt x="16354" y="17170"/>
                  </a:cubicBezTo>
                  <a:cubicBezTo>
                    <a:pt x="16670" y="17332"/>
                    <a:pt x="17026" y="17376"/>
                    <a:pt x="17384" y="17376"/>
                  </a:cubicBezTo>
                  <a:cubicBezTo>
                    <a:pt x="17538" y="17376"/>
                    <a:pt x="17691" y="17368"/>
                    <a:pt x="17843" y="17358"/>
                  </a:cubicBezTo>
                  <a:cubicBezTo>
                    <a:pt x="18720" y="17300"/>
                    <a:pt x="19595" y="17192"/>
                    <a:pt x="20459" y="17032"/>
                  </a:cubicBezTo>
                  <a:cubicBezTo>
                    <a:pt x="20939" y="16945"/>
                    <a:pt x="21463" y="16811"/>
                    <a:pt x="21742" y="16411"/>
                  </a:cubicBezTo>
                  <a:cubicBezTo>
                    <a:pt x="22072" y="15937"/>
                    <a:pt x="21926" y="15287"/>
                    <a:pt x="21702" y="14755"/>
                  </a:cubicBezTo>
                  <a:cubicBezTo>
                    <a:pt x="20625" y="12206"/>
                    <a:pt x="18172" y="10535"/>
                    <a:pt x="15740" y="9217"/>
                  </a:cubicBezTo>
                  <a:cubicBezTo>
                    <a:pt x="13914" y="8227"/>
                    <a:pt x="12030" y="7347"/>
                    <a:pt x="10191" y="6384"/>
                  </a:cubicBezTo>
                  <a:cubicBezTo>
                    <a:pt x="8553" y="5526"/>
                    <a:pt x="6939" y="4603"/>
                    <a:pt x="5465" y="3480"/>
                  </a:cubicBezTo>
                  <a:cubicBezTo>
                    <a:pt x="4223" y="2534"/>
                    <a:pt x="3150" y="816"/>
                    <a:pt x="1746" y="164"/>
                  </a:cubicBezTo>
                  <a:cubicBezTo>
                    <a:pt x="1502" y="51"/>
                    <a:pt x="1306" y="0"/>
                    <a:pt x="114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grpSp>
          <p:nvGrpSpPr>
            <p:cNvPr id="203" name="Google Shape;203;p17"/>
            <p:cNvGrpSpPr/>
            <p:nvPr/>
          </p:nvGrpSpPr>
          <p:grpSpPr>
            <a:xfrm>
              <a:off x="8320882" y="3662814"/>
              <a:ext cx="301490" cy="101204"/>
              <a:chOff x="8273257" y="3662814"/>
              <a:chExt cx="301490" cy="101204"/>
            </a:xfrm>
          </p:grpSpPr>
          <p:sp>
            <p:nvSpPr>
              <p:cNvPr id="204" name="Google Shape;204;p17"/>
              <p:cNvSpPr/>
              <p:nvPr/>
            </p:nvSpPr>
            <p:spPr>
              <a:xfrm>
                <a:off x="8412651" y="3672361"/>
                <a:ext cx="162096" cy="91656"/>
              </a:xfrm>
              <a:custGeom>
                <a:avLst/>
                <a:gdLst/>
                <a:ahLst/>
                <a:cxnLst/>
                <a:rect l="l" t="t" r="r" b="b"/>
                <a:pathLst>
                  <a:path w="764" h="432" extrusionOk="0">
                    <a:moveTo>
                      <a:pt x="693" y="0"/>
                    </a:moveTo>
                    <a:cubicBezTo>
                      <a:pt x="688" y="0"/>
                      <a:pt x="683" y="1"/>
                      <a:pt x="677" y="2"/>
                    </a:cubicBezTo>
                    <a:cubicBezTo>
                      <a:pt x="663" y="6"/>
                      <a:pt x="650" y="8"/>
                      <a:pt x="637" y="12"/>
                    </a:cubicBezTo>
                    <a:cubicBezTo>
                      <a:pt x="619" y="17"/>
                      <a:pt x="601" y="24"/>
                      <a:pt x="585" y="32"/>
                    </a:cubicBezTo>
                    <a:lnTo>
                      <a:pt x="507" y="69"/>
                    </a:lnTo>
                    <a:cubicBezTo>
                      <a:pt x="455" y="92"/>
                      <a:pt x="404" y="119"/>
                      <a:pt x="354" y="144"/>
                    </a:cubicBezTo>
                    <a:lnTo>
                      <a:pt x="46" y="298"/>
                    </a:lnTo>
                    <a:cubicBezTo>
                      <a:pt x="12" y="319"/>
                      <a:pt x="0" y="363"/>
                      <a:pt x="21" y="396"/>
                    </a:cubicBezTo>
                    <a:cubicBezTo>
                      <a:pt x="35" y="419"/>
                      <a:pt x="59" y="431"/>
                      <a:pt x="84" y="431"/>
                    </a:cubicBezTo>
                    <a:cubicBezTo>
                      <a:pt x="96" y="431"/>
                      <a:pt x="108" y="429"/>
                      <a:pt x="119" y="423"/>
                    </a:cubicBezTo>
                    <a:lnTo>
                      <a:pt x="431" y="276"/>
                    </a:lnTo>
                    <a:cubicBezTo>
                      <a:pt x="483" y="252"/>
                      <a:pt x="535" y="228"/>
                      <a:pt x="586" y="203"/>
                    </a:cubicBezTo>
                    <a:lnTo>
                      <a:pt x="660" y="166"/>
                    </a:lnTo>
                    <a:cubicBezTo>
                      <a:pt x="688" y="150"/>
                      <a:pt x="715" y="130"/>
                      <a:pt x="739" y="108"/>
                    </a:cubicBezTo>
                    <a:cubicBezTo>
                      <a:pt x="760" y="88"/>
                      <a:pt x="764" y="57"/>
                      <a:pt x="750" y="31"/>
                    </a:cubicBezTo>
                    <a:cubicBezTo>
                      <a:pt x="738" y="12"/>
                      <a:pt x="716" y="0"/>
                      <a:pt x="69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205" name="Google Shape;205;p17"/>
              <p:cNvSpPr/>
              <p:nvPr/>
            </p:nvSpPr>
            <p:spPr>
              <a:xfrm>
                <a:off x="8273257" y="3662814"/>
                <a:ext cx="153821" cy="63226"/>
              </a:xfrm>
              <a:custGeom>
                <a:avLst/>
                <a:gdLst/>
                <a:ahLst/>
                <a:cxnLst/>
                <a:rect l="l" t="t" r="r" b="b"/>
                <a:pathLst>
                  <a:path w="725" h="298" extrusionOk="0">
                    <a:moveTo>
                      <a:pt x="675" y="0"/>
                    </a:moveTo>
                    <a:cubicBezTo>
                      <a:pt x="674" y="0"/>
                      <a:pt x="674" y="0"/>
                      <a:pt x="674" y="0"/>
                    </a:cubicBezTo>
                    <a:cubicBezTo>
                      <a:pt x="618" y="1"/>
                      <a:pt x="563" y="15"/>
                      <a:pt x="509" y="28"/>
                    </a:cubicBezTo>
                    <a:cubicBezTo>
                      <a:pt x="454" y="41"/>
                      <a:pt x="403" y="53"/>
                      <a:pt x="350" y="70"/>
                    </a:cubicBezTo>
                    <a:cubicBezTo>
                      <a:pt x="244" y="105"/>
                      <a:pt x="139" y="145"/>
                      <a:pt x="37" y="189"/>
                    </a:cubicBezTo>
                    <a:cubicBezTo>
                      <a:pt x="8" y="202"/>
                      <a:pt x="0" y="244"/>
                      <a:pt x="15" y="268"/>
                    </a:cubicBezTo>
                    <a:cubicBezTo>
                      <a:pt x="27" y="287"/>
                      <a:pt x="46" y="297"/>
                      <a:pt x="66" y="297"/>
                    </a:cubicBezTo>
                    <a:cubicBezTo>
                      <a:pt x="76" y="297"/>
                      <a:pt x="86" y="295"/>
                      <a:pt x="96" y="289"/>
                    </a:cubicBezTo>
                    <a:cubicBezTo>
                      <a:pt x="188" y="248"/>
                      <a:pt x="287" y="210"/>
                      <a:pt x="387" y="176"/>
                    </a:cubicBezTo>
                    <a:cubicBezTo>
                      <a:pt x="436" y="159"/>
                      <a:pt x="486" y="141"/>
                      <a:pt x="535" y="123"/>
                    </a:cubicBezTo>
                    <a:cubicBezTo>
                      <a:pt x="588" y="108"/>
                      <a:pt x="641" y="90"/>
                      <a:pt x="692" y="68"/>
                    </a:cubicBezTo>
                    <a:cubicBezTo>
                      <a:pt x="725" y="52"/>
                      <a:pt x="708" y="0"/>
                      <a:pt x="675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206" name="Google Shape;206;p17"/>
            <p:cNvGrpSpPr/>
            <p:nvPr/>
          </p:nvGrpSpPr>
          <p:grpSpPr>
            <a:xfrm>
              <a:off x="7235032" y="4603489"/>
              <a:ext cx="301490" cy="101204"/>
              <a:chOff x="8273257" y="3662814"/>
              <a:chExt cx="301490" cy="101204"/>
            </a:xfrm>
          </p:grpSpPr>
          <p:sp>
            <p:nvSpPr>
              <p:cNvPr id="207" name="Google Shape;207;p17"/>
              <p:cNvSpPr/>
              <p:nvPr/>
            </p:nvSpPr>
            <p:spPr>
              <a:xfrm>
                <a:off x="8412651" y="3672361"/>
                <a:ext cx="162096" cy="91656"/>
              </a:xfrm>
              <a:custGeom>
                <a:avLst/>
                <a:gdLst/>
                <a:ahLst/>
                <a:cxnLst/>
                <a:rect l="l" t="t" r="r" b="b"/>
                <a:pathLst>
                  <a:path w="764" h="432" extrusionOk="0">
                    <a:moveTo>
                      <a:pt x="693" y="0"/>
                    </a:moveTo>
                    <a:cubicBezTo>
                      <a:pt x="688" y="0"/>
                      <a:pt x="683" y="1"/>
                      <a:pt x="677" y="2"/>
                    </a:cubicBezTo>
                    <a:cubicBezTo>
                      <a:pt x="663" y="6"/>
                      <a:pt x="650" y="8"/>
                      <a:pt x="637" y="12"/>
                    </a:cubicBezTo>
                    <a:cubicBezTo>
                      <a:pt x="619" y="17"/>
                      <a:pt x="601" y="24"/>
                      <a:pt x="585" y="32"/>
                    </a:cubicBezTo>
                    <a:lnTo>
                      <a:pt x="507" y="69"/>
                    </a:lnTo>
                    <a:cubicBezTo>
                      <a:pt x="455" y="92"/>
                      <a:pt x="404" y="119"/>
                      <a:pt x="354" y="144"/>
                    </a:cubicBezTo>
                    <a:lnTo>
                      <a:pt x="46" y="298"/>
                    </a:lnTo>
                    <a:cubicBezTo>
                      <a:pt x="12" y="319"/>
                      <a:pt x="0" y="363"/>
                      <a:pt x="21" y="396"/>
                    </a:cubicBezTo>
                    <a:cubicBezTo>
                      <a:pt x="35" y="419"/>
                      <a:pt x="59" y="431"/>
                      <a:pt x="84" y="431"/>
                    </a:cubicBezTo>
                    <a:cubicBezTo>
                      <a:pt x="96" y="431"/>
                      <a:pt x="108" y="429"/>
                      <a:pt x="119" y="423"/>
                    </a:cubicBezTo>
                    <a:lnTo>
                      <a:pt x="431" y="276"/>
                    </a:lnTo>
                    <a:cubicBezTo>
                      <a:pt x="483" y="252"/>
                      <a:pt x="535" y="228"/>
                      <a:pt x="586" y="203"/>
                    </a:cubicBezTo>
                    <a:lnTo>
                      <a:pt x="660" y="166"/>
                    </a:lnTo>
                    <a:cubicBezTo>
                      <a:pt x="688" y="150"/>
                      <a:pt x="715" y="130"/>
                      <a:pt x="739" y="108"/>
                    </a:cubicBezTo>
                    <a:cubicBezTo>
                      <a:pt x="760" y="88"/>
                      <a:pt x="764" y="57"/>
                      <a:pt x="750" y="31"/>
                    </a:cubicBezTo>
                    <a:cubicBezTo>
                      <a:pt x="738" y="12"/>
                      <a:pt x="716" y="0"/>
                      <a:pt x="69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208" name="Google Shape;208;p17"/>
              <p:cNvSpPr/>
              <p:nvPr/>
            </p:nvSpPr>
            <p:spPr>
              <a:xfrm>
                <a:off x="8273257" y="3662814"/>
                <a:ext cx="153821" cy="63226"/>
              </a:xfrm>
              <a:custGeom>
                <a:avLst/>
                <a:gdLst/>
                <a:ahLst/>
                <a:cxnLst/>
                <a:rect l="l" t="t" r="r" b="b"/>
                <a:pathLst>
                  <a:path w="725" h="298" extrusionOk="0">
                    <a:moveTo>
                      <a:pt x="675" y="0"/>
                    </a:moveTo>
                    <a:cubicBezTo>
                      <a:pt x="674" y="0"/>
                      <a:pt x="674" y="0"/>
                      <a:pt x="674" y="0"/>
                    </a:cubicBezTo>
                    <a:cubicBezTo>
                      <a:pt x="618" y="1"/>
                      <a:pt x="563" y="15"/>
                      <a:pt x="509" y="28"/>
                    </a:cubicBezTo>
                    <a:cubicBezTo>
                      <a:pt x="454" y="41"/>
                      <a:pt x="403" y="53"/>
                      <a:pt x="350" y="70"/>
                    </a:cubicBezTo>
                    <a:cubicBezTo>
                      <a:pt x="244" y="105"/>
                      <a:pt x="139" y="145"/>
                      <a:pt x="37" y="189"/>
                    </a:cubicBezTo>
                    <a:cubicBezTo>
                      <a:pt x="8" y="202"/>
                      <a:pt x="0" y="244"/>
                      <a:pt x="15" y="268"/>
                    </a:cubicBezTo>
                    <a:cubicBezTo>
                      <a:pt x="27" y="287"/>
                      <a:pt x="46" y="297"/>
                      <a:pt x="66" y="297"/>
                    </a:cubicBezTo>
                    <a:cubicBezTo>
                      <a:pt x="76" y="297"/>
                      <a:pt x="86" y="295"/>
                      <a:pt x="96" y="289"/>
                    </a:cubicBezTo>
                    <a:cubicBezTo>
                      <a:pt x="188" y="248"/>
                      <a:pt x="287" y="210"/>
                      <a:pt x="387" y="176"/>
                    </a:cubicBezTo>
                    <a:cubicBezTo>
                      <a:pt x="436" y="159"/>
                      <a:pt x="486" y="141"/>
                      <a:pt x="535" y="123"/>
                    </a:cubicBezTo>
                    <a:cubicBezTo>
                      <a:pt x="588" y="108"/>
                      <a:pt x="641" y="90"/>
                      <a:pt x="692" y="68"/>
                    </a:cubicBezTo>
                    <a:cubicBezTo>
                      <a:pt x="725" y="52"/>
                      <a:pt x="708" y="0"/>
                      <a:pt x="675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</p:grpSp>
    </p:spTree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1">
  <p:cSld name="CUSTOM_2"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18"/>
          <p:cNvSpPr txBox="1">
            <a:spLocks noGrp="1"/>
          </p:cNvSpPr>
          <p:nvPr>
            <p:ph type="body" idx="1"/>
          </p:nvPr>
        </p:nvSpPr>
        <p:spPr>
          <a:xfrm>
            <a:off x="960000" y="3133733"/>
            <a:ext cx="5206000" cy="297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Char char="●"/>
              <a:defRPr sz="1867">
                <a:solidFill>
                  <a:schemeClr val="accent4"/>
                </a:solidFill>
              </a:defRPr>
            </a:lvl1pPr>
            <a:lvl2pPr marL="1219170" lvl="1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400"/>
              <a:buChar char="○"/>
              <a:defRPr>
                <a:solidFill>
                  <a:schemeClr val="accent4"/>
                </a:solidFill>
              </a:defRPr>
            </a:lvl2pPr>
            <a:lvl3pPr marL="1828754" lvl="2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400"/>
              <a:buChar char="■"/>
              <a:defRPr>
                <a:solidFill>
                  <a:schemeClr val="accent4"/>
                </a:solidFill>
              </a:defRPr>
            </a:lvl3pPr>
            <a:lvl4pPr marL="2438339" lvl="3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400"/>
              <a:buChar char="●"/>
              <a:defRPr>
                <a:solidFill>
                  <a:schemeClr val="accent4"/>
                </a:solidFill>
              </a:defRPr>
            </a:lvl4pPr>
            <a:lvl5pPr marL="3047924" lvl="4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400"/>
              <a:buChar char="○"/>
              <a:defRPr>
                <a:solidFill>
                  <a:schemeClr val="accent4"/>
                </a:solidFill>
              </a:defRPr>
            </a:lvl5pPr>
            <a:lvl6pPr marL="3657509" lvl="5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400"/>
              <a:buChar char="■"/>
              <a:defRPr>
                <a:solidFill>
                  <a:schemeClr val="accent4"/>
                </a:solidFill>
              </a:defRPr>
            </a:lvl6pPr>
            <a:lvl7pPr marL="4267093" lvl="6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400"/>
              <a:buChar char="●"/>
              <a:defRPr>
                <a:solidFill>
                  <a:schemeClr val="accent4"/>
                </a:solidFill>
              </a:defRPr>
            </a:lvl7pPr>
            <a:lvl8pPr marL="4876678" lvl="7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400"/>
              <a:buChar char="○"/>
              <a:defRPr>
                <a:solidFill>
                  <a:schemeClr val="accent4"/>
                </a:solidFill>
              </a:defRPr>
            </a:lvl8pPr>
            <a:lvl9pPr marL="5486263" lvl="8" indent="-423323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Clr>
                <a:schemeClr val="accent4"/>
              </a:buClr>
              <a:buSzPts val="1400"/>
              <a:buChar char="■"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11" name="Google Shape;211;p18"/>
          <p:cNvSpPr txBox="1">
            <a:spLocks noGrp="1"/>
          </p:cNvSpPr>
          <p:nvPr>
            <p:ph type="title"/>
          </p:nvPr>
        </p:nvSpPr>
        <p:spPr>
          <a:xfrm>
            <a:off x="960000" y="2290433"/>
            <a:ext cx="6763200" cy="67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CUSTOM_2_1"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19"/>
          <p:cNvSpPr txBox="1">
            <a:spLocks noGrp="1"/>
          </p:cNvSpPr>
          <p:nvPr>
            <p:ph type="body" idx="1"/>
          </p:nvPr>
        </p:nvSpPr>
        <p:spPr>
          <a:xfrm>
            <a:off x="2498549" y="2361867"/>
            <a:ext cx="2285600" cy="2977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4025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Font typeface="Nunito Light"/>
              <a:buChar char="⎯"/>
              <a:defRPr sz="1867">
                <a:solidFill>
                  <a:schemeClr val="accent4"/>
                </a:solidFill>
              </a:defRPr>
            </a:lvl1pPr>
            <a:lvl2pPr marL="1219170" lvl="1" indent="-44025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6A28"/>
              </a:buClr>
              <a:buSzPts val="1600"/>
              <a:buFont typeface="Nunito Light"/>
              <a:buChar char="○"/>
              <a:defRPr>
                <a:solidFill>
                  <a:schemeClr val="accent4"/>
                </a:solidFill>
              </a:defRPr>
            </a:lvl2pPr>
            <a:lvl3pPr marL="1828754" lvl="2" indent="-431789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E76A28"/>
              </a:buClr>
              <a:buSzPts val="1500"/>
              <a:buFont typeface="Nunito Light"/>
              <a:buChar char="■"/>
              <a:defRPr>
                <a:solidFill>
                  <a:schemeClr val="accent4"/>
                </a:solidFill>
              </a:defRPr>
            </a:lvl3pPr>
            <a:lvl4pPr marL="2438339" lvl="3" indent="-431789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E76A28"/>
              </a:buClr>
              <a:buSzPts val="1500"/>
              <a:buFont typeface="Nunito Light"/>
              <a:buChar char="●"/>
              <a:defRPr>
                <a:solidFill>
                  <a:schemeClr val="accent4"/>
                </a:solidFill>
              </a:defRPr>
            </a:lvl4pPr>
            <a:lvl5pPr marL="3047924" lvl="4" indent="-42332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E76A28"/>
              </a:buClr>
              <a:buSzPts val="1400"/>
              <a:buFont typeface="Nunito Light"/>
              <a:buChar char="○"/>
              <a:defRPr>
                <a:solidFill>
                  <a:schemeClr val="accent4"/>
                </a:solidFill>
              </a:defRPr>
            </a:lvl5pPr>
            <a:lvl6pPr marL="3657509" lvl="5" indent="-42332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999999"/>
              </a:buClr>
              <a:buSzPts val="1400"/>
              <a:buFont typeface="Nunito Light"/>
              <a:buChar char="■"/>
              <a:defRPr>
                <a:solidFill>
                  <a:schemeClr val="accent4"/>
                </a:solidFill>
              </a:defRPr>
            </a:lvl6pPr>
            <a:lvl7pPr marL="4267093" lvl="6" indent="-41485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999999"/>
              </a:buClr>
              <a:buSzPts val="1300"/>
              <a:buFont typeface="Nunito Light"/>
              <a:buChar char="●"/>
              <a:defRPr>
                <a:solidFill>
                  <a:schemeClr val="accent4"/>
                </a:solidFill>
              </a:defRPr>
            </a:lvl7pPr>
            <a:lvl8pPr marL="4876678" lvl="7" indent="-41485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999999"/>
              </a:buClr>
              <a:buSzPts val="1300"/>
              <a:buFont typeface="Nunito Light"/>
              <a:buChar char="○"/>
              <a:defRPr>
                <a:solidFill>
                  <a:schemeClr val="accent4"/>
                </a:solidFill>
              </a:defRPr>
            </a:lvl8pPr>
            <a:lvl9pPr marL="5486263" lvl="8" indent="-423323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Clr>
                <a:srgbClr val="999999"/>
              </a:buClr>
              <a:buSzPts val="1400"/>
              <a:buFont typeface="Nunito Light"/>
              <a:buChar char="■"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14" name="Google Shape;214;p19"/>
          <p:cNvSpPr txBox="1">
            <a:spLocks noGrp="1"/>
          </p:cNvSpPr>
          <p:nvPr>
            <p:ph type="title"/>
          </p:nvPr>
        </p:nvSpPr>
        <p:spPr>
          <a:xfrm>
            <a:off x="2714400" y="1518551"/>
            <a:ext cx="6763200" cy="67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grpSp>
        <p:nvGrpSpPr>
          <p:cNvPr id="215" name="Google Shape;215;p19"/>
          <p:cNvGrpSpPr/>
          <p:nvPr/>
        </p:nvGrpSpPr>
        <p:grpSpPr>
          <a:xfrm>
            <a:off x="-7874002" y="1874635"/>
            <a:ext cx="9507177" cy="4753304"/>
            <a:chOff x="-6290260" y="1405972"/>
            <a:chExt cx="8023386" cy="3564978"/>
          </a:xfrm>
        </p:grpSpPr>
        <p:sp>
          <p:nvSpPr>
            <p:cNvPr id="216" name="Google Shape;216;p19"/>
            <p:cNvSpPr/>
            <p:nvPr/>
          </p:nvSpPr>
          <p:spPr>
            <a:xfrm rot="10800000">
              <a:off x="-6290260" y="1405972"/>
              <a:ext cx="8023386" cy="3564978"/>
            </a:xfrm>
            <a:custGeom>
              <a:avLst/>
              <a:gdLst/>
              <a:ahLst/>
              <a:cxnLst/>
              <a:rect l="l" t="t" r="r" b="b"/>
              <a:pathLst>
                <a:path w="60555" h="26906" extrusionOk="0">
                  <a:moveTo>
                    <a:pt x="30368" y="1"/>
                  </a:moveTo>
                  <a:cubicBezTo>
                    <a:pt x="29859" y="1"/>
                    <a:pt x="29289" y="93"/>
                    <a:pt x="28992" y="105"/>
                  </a:cubicBezTo>
                  <a:lnTo>
                    <a:pt x="25316" y="255"/>
                  </a:lnTo>
                  <a:cubicBezTo>
                    <a:pt x="24289" y="297"/>
                    <a:pt x="23262" y="343"/>
                    <a:pt x="22235" y="382"/>
                  </a:cubicBezTo>
                  <a:cubicBezTo>
                    <a:pt x="21241" y="420"/>
                    <a:pt x="20858" y="575"/>
                    <a:pt x="19992" y="1085"/>
                  </a:cubicBezTo>
                  <a:cubicBezTo>
                    <a:pt x="18442" y="1998"/>
                    <a:pt x="16834" y="2805"/>
                    <a:pt x="15216" y="3589"/>
                  </a:cubicBezTo>
                  <a:cubicBezTo>
                    <a:pt x="10132" y="6050"/>
                    <a:pt x="3799" y="8371"/>
                    <a:pt x="918" y="13609"/>
                  </a:cubicBezTo>
                  <a:cubicBezTo>
                    <a:pt x="1" y="15277"/>
                    <a:pt x="44" y="16824"/>
                    <a:pt x="912" y="18515"/>
                  </a:cubicBezTo>
                  <a:cubicBezTo>
                    <a:pt x="3962" y="24466"/>
                    <a:pt x="10965" y="25739"/>
                    <a:pt x="17006" y="26454"/>
                  </a:cubicBezTo>
                  <a:cubicBezTo>
                    <a:pt x="17872" y="26557"/>
                    <a:pt x="18795" y="26736"/>
                    <a:pt x="19683" y="26736"/>
                  </a:cubicBezTo>
                  <a:cubicBezTo>
                    <a:pt x="19821" y="26736"/>
                    <a:pt x="19959" y="26731"/>
                    <a:pt x="20095" y="26722"/>
                  </a:cubicBezTo>
                  <a:cubicBezTo>
                    <a:pt x="20696" y="26679"/>
                    <a:pt x="21227" y="26546"/>
                    <a:pt x="21817" y="26546"/>
                  </a:cubicBezTo>
                  <a:cubicBezTo>
                    <a:pt x="21917" y="26546"/>
                    <a:pt x="22020" y="26549"/>
                    <a:pt x="22125" y="26558"/>
                  </a:cubicBezTo>
                  <a:lnTo>
                    <a:pt x="22310" y="26574"/>
                  </a:lnTo>
                  <a:cubicBezTo>
                    <a:pt x="24357" y="26746"/>
                    <a:pt x="26382" y="26905"/>
                    <a:pt x="28439" y="26905"/>
                  </a:cubicBezTo>
                  <a:cubicBezTo>
                    <a:pt x="28546" y="26905"/>
                    <a:pt x="28654" y="26905"/>
                    <a:pt x="28762" y="26904"/>
                  </a:cubicBezTo>
                  <a:cubicBezTo>
                    <a:pt x="31570" y="26880"/>
                    <a:pt x="34392" y="26703"/>
                    <a:pt x="37183" y="26397"/>
                  </a:cubicBezTo>
                  <a:cubicBezTo>
                    <a:pt x="40909" y="25991"/>
                    <a:pt x="44586" y="25231"/>
                    <a:pt x="48222" y="24336"/>
                  </a:cubicBezTo>
                  <a:cubicBezTo>
                    <a:pt x="51765" y="23463"/>
                    <a:pt x="55234" y="22562"/>
                    <a:pt x="58428" y="20736"/>
                  </a:cubicBezTo>
                  <a:cubicBezTo>
                    <a:pt x="59364" y="20201"/>
                    <a:pt x="60356" y="19457"/>
                    <a:pt x="60455" y="18383"/>
                  </a:cubicBezTo>
                  <a:cubicBezTo>
                    <a:pt x="60555" y="17316"/>
                    <a:pt x="59658" y="16354"/>
                    <a:pt x="58636" y="16034"/>
                  </a:cubicBezTo>
                  <a:cubicBezTo>
                    <a:pt x="58242" y="15911"/>
                    <a:pt x="57836" y="15862"/>
                    <a:pt x="57425" y="15862"/>
                  </a:cubicBezTo>
                  <a:cubicBezTo>
                    <a:pt x="56769" y="15862"/>
                    <a:pt x="56103" y="15987"/>
                    <a:pt x="55461" y="16136"/>
                  </a:cubicBezTo>
                  <a:cubicBezTo>
                    <a:pt x="52270" y="16878"/>
                    <a:pt x="49222" y="18146"/>
                    <a:pt x="46130" y="19209"/>
                  </a:cubicBezTo>
                  <a:cubicBezTo>
                    <a:pt x="42962" y="20297"/>
                    <a:pt x="39753" y="21288"/>
                    <a:pt x="36473" y="21983"/>
                  </a:cubicBezTo>
                  <a:cubicBezTo>
                    <a:pt x="33633" y="22584"/>
                    <a:pt x="30836" y="22859"/>
                    <a:pt x="28061" y="22859"/>
                  </a:cubicBezTo>
                  <a:cubicBezTo>
                    <a:pt x="23194" y="22859"/>
                    <a:pt x="18394" y="22011"/>
                    <a:pt x="13550" y="20582"/>
                  </a:cubicBezTo>
                  <a:cubicBezTo>
                    <a:pt x="12514" y="20277"/>
                    <a:pt x="11473" y="19930"/>
                    <a:pt x="10585" y="19315"/>
                  </a:cubicBezTo>
                  <a:cubicBezTo>
                    <a:pt x="9696" y="18702"/>
                    <a:pt x="8969" y="17781"/>
                    <a:pt x="8814" y="16713"/>
                  </a:cubicBezTo>
                  <a:cubicBezTo>
                    <a:pt x="8634" y="15469"/>
                    <a:pt x="9239" y="14249"/>
                    <a:pt x="9947" y="13211"/>
                  </a:cubicBezTo>
                  <a:cubicBezTo>
                    <a:pt x="11915" y="10335"/>
                    <a:pt x="15499" y="7337"/>
                    <a:pt x="19073" y="6824"/>
                  </a:cubicBezTo>
                  <a:cubicBezTo>
                    <a:pt x="23152" y="6237"/>
                    <a:pt x="27106" y="4191"/>
                    <a:pt x="30457" y="1792"/>
                  </a:cubicBezTo>
                  <a:cubicBezTo>
                    <a:pt x="30759" y="1575"/>
                    <a:pt x="31069" y="1342"/>
                    <a:pt x="31241" y="1011"/>
                  </a:cubicBezTo>
                  <a:cubicBezTo>
                    <a:pt x="31675" y="181"/>
                    <a:pt x="31080" y="1"/>
                    <a:pt x="30368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17" name="Google Shape;217;p19"/>
            <p:cNvSpPr/>
            <p:nvPr/>
          </p:nvSpPr>
          <p:spPr>
            <a:xfrm rot="-1273972">
              <a:off x="400022" y="3525664"/>
              <a:ext cx="148529" cy="38292"/>
            </a:xfrm>
            <a:custGeom>
              <a:avLst/>
              <a:gdLst/>
              <a:ahLst/>
              <a:cxnLst/>
              <a:rect l="l" t="t" r="r" b="b"/>
              <a:pathLst>
                <a:path w="1121" h="289" extrusionOk="0">
                  <a:moveTo>
                    <a:pt x="135" y="215"/>
                  </a:moveTo>
                  <a:lnTo>
                    <a:pt x="135" y="215"/>
                  </a:lnTo>
                  <a:cubicBezTo>
                    <a:pt x="133" y="215"/>
                    <a:pt x="131" y="215"/>
                    <a:pt x="129" y="215"/>
                  </a:cubicBezTo>
                  <a:lnTo>
                    <a:pt x="129" y="215"/>
                  </a:lnTo>
                  <a:lnTo>
                    <a:pt x="129" y="215"/>
                  </a:lnTo>
                  <a:lnTo>
                    <a:pt x="135" y="215"/>
                  </a:lnTo>
                  <a:close/>
                  <a:moveTo>
                    <a:pt x="403" y="1"/>
                  </a:moveTo>
                  <a:cubicBezTo>
                    <a:pt x="369" y="1"/>
                    <a:pt x="334" y="2"/>
                    <a:pt x="300" y="3"/>
                  </a:cubicBezTo>
                  <a:cubicBezTo>
                    <a:pt x="225" y="6"/>
                    <a:pt x="150" y="15"/>
                    <a:pt x="76" y="25"/>
                  </a:cubicBezTo>
                  <a:cubicBezTo>
                    <a:pt x="53" y="29"/>
                    <a:pt x="28" y="52"/>
                    <a:pt x="17" y="71"/>
                  </a:cubicBezTo>
                  <a:cubicBezTo>
                    <a:pt x="4" y="94"/>
                    <a:pt x="0" y="121"/>
                    <a:pt x="7" y="147"/>
                  </a:cubicBezTo>
                  <a:cubicBezTo>
                    <a:pt x="14" y="172"/>
                    <a:pt x="30" y="193"/>
                    <a:pt x="52" y="206"/>
                  </a:cubicBezTo>
                  <a:cubicBezTo>
                    <a:pt x="69" y="214"/>
                    <a:pt x="87" y="219"/>
                    <a:pt x="105" y="219"/>
                  </a:cubicBezTo>
                  <a:cubicBezTo>
                    <a:pt x="113" y="219"/>
                    <a:pt x="121" y="218"/>
                    <a:pt x="129" y="216"/>
                  </a:cubicBezTo>
                  <a:lnTo>
                    <a:pt x="129" y="216"/>
                  </a:lnTo>
                  <a:lnTo>
                    <a:pt x="129" y="216"/>
                  </a:lnTo>
                  <a:lnTo>
                    <a:pt x="114" y="217"/>
                  </a:lnTo>
                  <a:cubicBezTo>
                    <a:pt x="119" y="217"/>
                    <a:pt x="124" y="216"/>
                    <a:pt x="129" y="215"/>
                  </a:cubicBezTo>
                  <a:lnTo>
                    <a:pt x="129" y="215"/>
                  </a:lnTo>
                  <a:lnTo>
                    <a:pt x="129" y="216"/>
                  </a:lnTo>
                  <a:lnTo>
                    <a:pt x="129" y="216"/>
                  </a:lnTo>
                  <a:lnTo>
                    <a:pt x="141" y="214"/>
                  </a:lnTo>
                  <a:lnTo>
                    <a:pt x="135" y="215"/>
                  </a:lnTo>
                  <a:lnTo>
                    <a:pt x="135" y="215"/>
                  </a:lnTo>
                  <a:cubicBezTo>
                    <a:pt x="223" y="204"/>
                    <a:pt x="311" y="198"/>
                    <a:pt x="399" y="198"/>
                  </a:cubicBezTo>
                  <a:cubicBezTo>
                    <a:pt x="495" y="198"/>
                    <a:pt x="590" y="205"/>
                    <a:pt x="685" y="217"/>
                  </a:cubicBezTo>
                  <a:lnTo>
                    <a:pt x="658" y="214"/>
                  </a:lnTo>
                  <a:lnTo>
                    <a:pt x="658" y="214"/>
                  </a:lnTo>
                  <a:cubicBezTo>
                    <a:pt x="769" y="229"/>
                    <a:pt x="879" y="252"/>
                    <a:pt x="985" y="285"/>
                  </a:cubicBezTo>
                  <a:cubicBezTo>
                    <a:pt x="993" y="287"/>
                    <a:pt x="1002" y="288"/>
                    <a:pt x="1010" y="288"/>
                  </a:cubicBezTo>
                  <a:cubicBezTo>
                    <a:pt x="1053" y="288"/>
                    <a:pt x="1098" y="258"/>
                    <a:pt x="1107" y="215"/>
                  </a:cubicBezTo>
                  <a:cubicBezTo>
                    <a:pt x="1120" y="162"/>
                    <a:pt x="1089" y="110"/>
                    <a:pt x="1038" y="94"/>
                  </a:cubicBezTo>
                  <a:cubicBezTo>
                    <a:pt x="831" y="32"/>
                    <a:pt x="618" y="1"/>
                    <a:pt x="4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18" name="Google Shape;218;p19"/>
            <p:cNvSpPr/>
            <p:nvPr/>
          </p:nvSpPr>
          <p:spPr>
            <a:xfrm rot="-333148">
              <a:off x="18497" y="1714164"/>
              <a:ext cx="170391" cy="51011"/>
            </a:xfrm>
            <a:custGeom>
              <a:avLst/>
              <a:gdLst/>
              <a:ahLst/>
              <a:cxnLst/>
              <a:rect l="l" t="t" r="r" b="b"/>
              <a:pathLst>
                <a:path w="1286" h="385" extrusionOk="0">
                  <a:moveTo>
                    <a:pt x="103" y="1"/>
                  </a:moveTo>
                  <a:cubicBezTo>
                    <a:pt x="86" y="1"/>
                    <a:pt x="69" y="5"/>
                    <a:pt x="53" y="14"/>
                  </a:cubicBezTo>
                  <a:cubicBezTo>
                    <a:pt x="31" y="27"/>
                    <a:pt x="15" y="48"/>
                    <a:pt x="8" y="73"/>
                  </a:cubicBezTo>
                  <a:cubicBezTo>
                    <a:pt x="1" y="99"/>
                    <a:pt x="5" y="127"/>
                    <a:pt x="17" y="149"/>
                  </a:cubicBezTo>
                  <a:cubicBezTo>
                    <a:pt x="32" y="171"/>
                    <a:pt x="52" y="187"/>
                    <a:pt x="76" y="195"/>
                  </a:cubicBezTo>
                  <a:lnTo>
                    <a:pt x="76" y="194"/>
                  </a:lnTo>
                  <a:cubicBezTo>
                    <a:pt x="353" y="297"/>
                    <a:pt x="644" y="360"/>
                    <a:pt x="938" y="378"/>
                  </a:cubicBezTo>
                  <a:cubicBezTo>
                    <a:pt x="1002" y="383"/>
                    <a:pt x="1065" y="384"/>
                    <a:pt x="1129" y="384"/>
                  </a:cubicBezTo>
                  <a:cubicBezTo>
                    <a:pt x="1148" y="384"/>
                    <a:pt x="1166" y="384"/>
                    <a:pt x="1185" y="384"/>
                  </a:cubicBezTo>
                  <a:cubicBezTo>
                    <a:pt x="1236" y="383"/>
                    <a:pt x="1286" y="338"/>
                    <a:pt x="1284" y="285"/>
                  </a:cubicBezTo>
                  <a:cubicBezTo>
                    <a:pt x="1282" y="231"/>
                    <a:pt x="1241" y="186"/>
                    <a:pt x="1186" y="186"/>
                  </a:cubicBezTo>
                  <a:cubicBezTo>
                    <a:pt x="1186" y="186"/>
                    <a:pt x="1185" y="186"/>
                    <a:pt x="1185" y="186"/>
                  </a:cubicBezTo>
                  <a:cubicBezTo>
                    <a:pt x="1164" y="186"/>
                    <a:pt x="1144" y="186"/>
                    <a:pt x="1123" y="186"/>
                  </a:cubicBezTo>
                  <a:cubicBezTo>
                    <a:pt x="994" y="186"/>
                    <a:pt x="864" y="178"/>
                    <a:pt x="735" y="160"/>
                  </a:cubicBezTo>
                  <a:lnTo>
                    <a:pt x="735" y="160"/>
                  </a:lnTo>
                  <a:lnTo>
                    <a:pt x="762" y="164"/>
                  </a:lnTo>
                  <a:cubicBezTo>
                    <a:pt x="546" y="135"/>
                    <a:pt x="334" y="81"/>
                    <a:pt x="129" y="4"/>
                  </a:cubicBezTo>
                  <a:cubicBezTo>
                    <a:pt x="121" y="2"/>
                    <a:pt x="112" y="1"/>
                    <a:pt x="1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19" name="Google Shape;219;p19"/>
            <p:cNvSpPr/>
            <p:nvPr/>
          </p:nvSpPr>
          <p:spPr>
            <a:xfrm rot="-381729">
              <a:off x="880182" y="3484950"/>
              <a:ext cx="202855" cy="49422"/>
            </a:xfrm>
            <a:custGeom>
              <a:avLst/>
              <a:gdLst/>
              <a:ahLst/>
              <a:cxnLst/>
              <a:rect l="l" t="t" r="r" b="b"/>
              <a:pathLst>
                <a:path w="1531" h="373" extrusionOk="0">
                  <a:moveTo>
                    <a:pt x="109" y="0"/>
                  </a:moveTo>
                  <a:cubicBezTo>
                    <a:pt x="66" y="0"/>
                    <a:pt x="26" y="29"/>
                    <a:pt x="14" y="73"/>
                  </a:cubicBezTo>
                  <a:cubicBezTo>
                    <a:pt x="0" y="125"/>
                    <a:pt x="31" y="179"/>
                    <a:pt x="83" y="194"/>
                  </a:cubicBezTo>
                  <a:cubicBezTo>
                    <a:pt x="422" y="305"/>
                    <a:pt x="776" y="365"/>
                    <a:pt x="1133" y="372"/>
                  </a:cubicBezTo>
                  <a:cubicBezTo>
                    <a:pt x="1158" y="373"/>
                    <a:pt x="1184" y="373"/>
                    <a:pt x="1209" y="373"/>
                  </a:cubicBezTo>
                  <a:cubicBezTo>
                    <a:pt x="1283" y="373"/>
                    <a:pt x="1356" y="371"/>
                    <a:pt x="1429" y="367"/>
                  </a:cubicBezTo>
                  <a:cubicBezTo>
                    <a:pt x="1480" y="364"/>
                    <a:pt x="1530" y="324"/>
                    <a:pt x="1527" y="268"/>
                  </a:cubicBezTo>
                  <a:cubicBezTo>
                    <a:pt x="1525" y="219"/>
                    <a:pt x="1486" y="169"/>
                    <a:pt x="1434" y="169"/>
                  </a:cubicBezTo>
                  <a:cubicBezTo>
                    <a:pt x="1432" y="169"/>
                    <a:pt x="1431" y="169"/>
                    <a:pt x="1429" y="169"/>
                  </a:cubicBezTo>
                  <a:cubicBezTo>
                    <a:pt x="1355" y="173"/>
                    <a:pt x="1281" y="176"/>
                    <a:pt x="1207" y="176"/>
                  </a:cubicBezTo>
                  <a:cubicBezTo>
                    <a:pt x="1051" y="176"/>
                    <a:pt x="894" y="165"/>
                    <a:pt x="740" y="144"/>
                  </a:cubicBezTo>
                  <a:lnTo>
                    <a:pt x="740" y="144"/>
                  </a:lnTo>
                  <a:lnTo>
                    <a:pt x="766" y="148"/>
                  </a:lnTo>
                  <a:cubicBezTo>
                    <a:pt x="552" y="119"/>
                    <a:pt x="341" y="71"/>
                    <a:pt x="135" y="4"/>
                  </a:cubicBezTo>
                  <a:cubicBezTo>
                    <a:pt x="126" y="2"/>
                    <a:pt x="117" y="0"/>
                    <a:pt x="10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20" name="Google Shape;220;p19"/>
            <p:cNvSpPr/>
            <p:nvPr/>
          </p:nvSpPr>
          <p:spPr>
            <a:xfrm rot="-381729">
              <a:off x="996858" y="3404639"/>
              <a:ext cx="93544" cy="35377"/>
            </a:xfrm>
            <a:custGeom>
              <a:avLst/>
              <a:gdLst/>
              <a:ahLst/>
              <a:cxnLst/>
              <a:rect l="l" t="t" r="r" b="b"/>
              <a:pathLst>
                <a:path w="706" h="267" extrusionOk="0">
                  <a:moveTo>
                    <a:pt x="601" y="1"/>
                  </a:moveTo>
                  <a:cubicBezTo>
                    <a:pt x="593" y="1"/>
                    <a:pt x="584" y="2"/>
                    <a:pt x="577" y="6"/>
                  </a:cubicBezTo>
                  <a:cubicBezTo>
                    <a:pt x="506" y="35"/>
                    <a:pt x="431" y="55"/>
                    <a:pt x="355" y="66"/>
                  </a:cubicBezTo>
                  <a:lnTo>
                    <a:pt x="382" y="61"/>
                  </a:lnTo>
                  <a:lnTo>
                    <a:pt x="382" y="61"/>
                  </a:lnTo>
                  <a:cubicBezTo>
                    <a:pt x="343" y="67"/>
                    <a:pt x="304" y="69"/>
                    <a:pt x="264" y="69"/>
                  </a:cubicBezTo>
                  <a:cubicBezTo>
                    <a:pt x="227" y="69"/>
                    <a:pt x="190" y="67"/>
                    <a:pt x="153" y="62"/>
                  </a:cubicBezTo>
                  <a:lnTo>
                    <a:pt x="153" y="62"/>
                  </a:lnTo>
                  <a:cubicBezTo>
                    <a:pt x="146" y="61"/>
                    <a:pt x="140" y="60"/>
                    <a:pt x="133" y="58"/>
                  </a:cubicBezTo>
                  <a:cubicBezTo>
                    <a:pt x="125" y="56"/>
                    <a:pt x="117" y="55"/>
                    <a:pt x="109" y="55"/>
                  </a:cubicBezTo>
                  <a:cubicBezTo>
                    <a:pt x="91" y="55"/>
                    <a:pt x="73" y="60"/>
                    <a:pt x="57" y="69"/>
                  </a:cubicBezTo>
                  <a:cubicBezTo>
                    <a:pt x="34" y="81"/>
                    <a:pt x="18" y="103"/>
                    <a:pt x="11" y="128"/>
                  </a:cubicBezTo>
                  <a:cubicBezTo>
                    <a:pt x="0" y="176"/>
                    <a:pt x="25" y="240"/>
                    <a:pt x="80" y="249"/>
                  </a:cubicBezTo>
                  <a:cubicBezTo>
                    <a:pt x="141" y="261"/>
                    <a:pt x="203" y="266"/>
                    <a:pt x="265" y="266"/>
                  </a:cubicBezTo>
                  <a:cubicBezTo>
                    <a:pt x="389" y="266"/>
                    <a:pt x="513" y="243"/>
                    <a:pt x="630" y="196"/>
                  </a:cubicBezTo>
                  <a:cubicBezTo>
                    <a:pt x="654" y="188"/>
                    <a:pt x="675" y="172"/>
                    <a:pt x="689" y="151"/>
                  </a:cubicBezTo>
                  <a:cubicBezTo>
                    <a:pt x="701" y="128"/>
                    <a:pt x="706" y="100"/>
                    <a:pt x="698" y="74"/>
                  </a:cubicBezTo>
                  <a:cubicBezTo>
                    <a:pt x="692" y="50"/>
                    <a:pt x="675" y="29"/>
                    <a:pt x="653" y="15"/>
                  </a:cubicBezTo>
                  <a:cubicBezTo>
                    <a:pt x="638" y="7"/>
                    <a:pt x="619" y="1"/>
                    <a:pt x="6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21" name="Google Shape;221;p19"/>
            <p:cNvSpPr/>
            <p:nvPr/>
          </p:nvSpPr>
          <p:spPr>
            <a:xfrm rot="10800000">
              <a:off x="1238648" y="2306723"/>
              <a:ext cx="110768" cy="32594"/>
            </a:xfrm>
            <a:custGeom>
              <a:avLst/>
              <a:gdLst/>
              <a:ahLst/>
              <a:cxnLst/>
              <a:rect l="l" t="t" r="r" b="b"/>
              <a:pathLst>
                <a:path w="836" h="246" extrusionOk="0">
                  <a:moveTo>
                    <a:pt x="504" y="1"/>
                  </a:moveTo>
                  <a:cubicBezTo>
                    <a:pt x="363" y="1"/>
                    <a:pt x="221" y="18"/>
                    <a:pt x="83" y="52"/>
                  </a:cubicBezTo>
                  <a:cubicBezTo>
                    <a:pt x="32" y="67"/>
                    <a:pt x="1" y="121"/>
                    <a:pt x="15" y="173"/>
                  </a:cubicBezTo>
                  <a:cubicBezTo>
                    <a:pt x="27" y="218"/>
                    <a:pt x="67" y="246"/>
                    <a:pt x="111" y="246"/>
                  </a:cubicBezTo>
                  <a:cubicBezTo>
                    <a:pt x="120" y="246"/>
                    <a:pt x="128" y="245"/>
                    <a:pt x="136" y="243"/>
                  </a:cubicBezTo>
                  <a:cubicBezTo>
                    <a:pt x="195" y="228"/>
                    <a:pt x="255" y="216"/>
                    <a:pt x="315" y="208"/>
                  </a:cubicBezTo>
                  <a:lnTo>
                    <a:pt x="315" y="208"/>
                  </a:lnTo>
                  <a:lnTo>
                    <a:pt x="289" y="211"/>
                  </a:lnTo>
                  <a:cubicBezTo>
                    <a:pt x="360" y="202"/>
                    <a:pt x="433" y="197"/>
                    <a:pt x="505" y="197"/>
                  </a:cubicBezTo>
                  <a:cubicBezTo>
                    <a:pt x="577" y="197"/>
                    <a:pt x="649" y="202"/>
                    <a:pt x="721" y="211"/>
                  </a:cubicBezTo>
                  <a:lnTo>
                    <a:pt x="695" y="208"/>
                  </a:lnTo>
                  <a:lnTo>
                    <a:pt x="707" y="210"/>
                  </a:lnTo>
                  <a:cubicBezTo>
                    <a:pt x="717" y="211"/>
                    <a:pt x="726" y="212"/>
                    <a:pt x="735" y="212"/>
                  </a:cubicBezTo>
                  <a:cubicBezTo>
                    <a:pt x="752" y="212"/>
                    <a:pt x="768" y="209"/>
                    <a:pt x="784" y="200"/>
                  </a:cubicBezTo>
                  <a:cubicBezTo>
                    <a:pt x="806" y="187"/>
                    <a:pt x="822" y="166"/>
                    <a:pt x="830" y="141"/>
                  </a:cubicBezTo>
                  <a:cubicBezTo>
                    <a:pt x="836" y="115"/>
                    <a:pt x="833" y="88"/>
                    <a:pt x="819" y="65"/>
                  </a:cubicBezTo>
                  <a:cubicBezTo>
                    <a:pt x="806" y="45"/>
                    <a:pt x="785" y="22"/>
                    <a:pt x="760" y="19"/>
                  </a:cubicBezTo>
                  <a:cubicBezTo>
                    <a:pt x="675" y="7"/>
                    <a:pt x="590" y="1"/>
                    <a:pt x="5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grpSp>
        <p:nvGrpSpPr>
          <p:cNvPr id="222" name="Google Shape;222;p19"/>
          <p:cNvGrpSpPr/>
          <p:nvPr/>
        </p:nvGrpSpPr>
        <p:grpSpPr>
          <a:xfrm>
            <a:off x="7018408" y="3582162"/>
            <a:ext cx="6112144" cy="5399468"/>
            <a:chOff x="5263806" y="2686621"/>
            <a:chExt cx="4584108" cy="4049601"/>
          </a:xfrm>
        </p:grpSpPr>
        <p:sp>
          <p:nvSpPr>
            <p:cNvPr id="223" name="Google Shape;223;p19"/>
            <p:cNvSpPr/>
            <p:nvPr/>
          </p:nvSpPr>
          <p:spPr>
            <a:xfrm rot="1051638" flipH="1">
              <a:off x="5630814" y="3196013"/>
              <a:ext cx="3850093" cy="3030817"/>
            </a:xfrm>
            <a:custGeom>
              <a:avLst/>
              <a:gdLst/>
              <a:ahLst/>
              <a:cxnLst/>
              <a:rect l="l" t="t" r="r" b="b"/>
              <a:pathLst>
                <a:path w="22073" h="17376" extrusionOk="0">
                  <a:moveTo>
                    <a:pt x="1149" y="0"/>
                  </a:moveTo>
                  <a:cubicBezTo>
                    <a:pt x="1" y="0"/>
                    <a:pt x="975" y="2695"/>
                    <a:pt x="1358" y="3386"/>
                  </a:cubicBezTo>
                  <a:cubicBezTo>
                    <a:pt x="2198" y="4899"/>
                    <a:pt x="3524" y="6098"/>
                    <a:pt x="4943" y="7061"/>
                  </a:cubicBezTo>
                  <a:cubicBezTo>
                    <a:pt x="6771" y="8300"/>
                    <a:pt x="8801" y="9217"/>
                    <a:pt x="10658" y="10413"/>
                  </a:cubicBezTo>
                  <a:cubicBezTo>
                    <a:pt x="11457" y="10929"/>
                    <a:pt x="12230" y="11501"/>
                    <a:pt x="12866" y="12205"/>
                  </a:cubicBezTo>
                  <a:cubicBezTo>
                    <a:pt x="13900" y="13351"/>
                    <a:pt x="14533" y="14792"/>
                    <a:pt x="15350" y="16101"/>
                  </a:cubicBezTo>
                  <a:cubicBezTo>
                    <a:pt x="15612" y="16521"/>
                    <a:pt x="15913" y="16946"/>
                    <a:pt x="16354" y="17170"/>
                  </a:cubicBezTo>
                  <a:cubicBezTo>
                    <a:pt x="16670" y="17332"/>
                    <a:pt x="17026" y="17376"/>
                    <a:pt x="17384" y="17376"/>
                  </a:cubicBezTo>
                  <a:cubicBezTo>
                    <a:pt x="17538" y="17376"/>
                    <a:pt x="17691" y="17368"/>
                    <a:pt x="17843" y="17358"/>
                  </a:cubicBezTo>
                  <a:cubicBezTo>
                    <a:pt x="18720" y="17300"/>
                    <a:pt x="19595" y="17192"/>
                    <a:pt x="20459" y="17032"/>
                  </a:cubicBezTo>
                  <a:cubicBezTo>
                    <a:pt x="20939" y="16945"/>
                    <a:pt x="21463" y="16811"/>
                    <a:pt x="21742" y="16411"/>
                  </a:cubicBezTo>
                  <a:cubicBezTo>
                    <a:pt x="22072" y="15937"/>
                    <a:pt x="21926" y="15287"/>
                    <a:pt x="21702" y="14755"/>
                  </a:cubicBezTo>
                  <a:cubicBezTo>
                    <a:pt x="20625" y="12206"/>
                    <a:pt x="18172" y="10535"/>
                    <a:pt x="15740" y="9217"/>
                  </a:cubicBezTo>
                  <a:cubicBezTo>
                    <a:pt x="13914" y="8227"/>
                    <a:pt x="12030" y="7347"/>
                    <a:pt x="10191" y="6384"/>
                  </a:cubicBezTo>
                  <a:cubicBezTo>
                    <a:pt x="8553" y="5526"/>
                    <a:pt x="6939" y="4603"/>
                    <a:pt x="5465" y="3480"/>
                  </a:cubicBezTo>
                  <a:cubicBezTo>
                    <a:pt x="4223" y="2534"/>
                    <a:pt x="3150" y="816"/>
                    <a:pt x="1746" y="164"/>
                  </a:cubicBezTo>
                  <a:cubicBezTo>
                    <a:pt x="1502" y="51"/>
                    <a:pt x="1306" y="0"/>
                    <a:pt x="114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grpSp>
          <p:nvGrpSpPr>
            <p:cNvPr id="224" name="Google Shape;224;p19"/>
            <p:cNvGrpSpPr/>
            <p:nvPr/>
          </p:nvGrpSpPr>
          <p:grpSpPr>
            <a:xfrm>
              <a:off x="8237770" y="4284863"/>
              <a:ext cx="303659" cy="187304"/>
              <a:chOff x="8190145" y="4284863"/>
              <a:chExt cx="303659" cy="187304"/>
            </a:xfrm>
          </p:grpSpPr>
          <p:sp>
            <p:nvSpPr>
              <p:cNvPr id="225" name="Google Shape;225;p19"/>
              <p:cNvSpPr/>
              <p:nvPr/>
            </p:nvSpPr>
            <p:spPr>
              <a:xfrm rot="1051654">
                <a:off x="8321668" y="4358230"/>
                <a:ext cx="162096" cy="91657"/>
              </a:xfrm>
              <a:custGeom>
                <a:avLst/>
                <a:gdLst/>
                <a:ahLst/>
                <a:cxnLst/>
                <a:rect l="l" t="t" r="r" b="b"/>
                <a:pathLst>
                  <a:path w="764" h="432" extrusionOk="0">
                    <a:moveTo>
                      <a:pt x="693" y="0"/>
                    </a:moveTo>
                    <a:cubicBezTo>
                      <a:pt x="688" y="0"/>
                      <a:pt x="683" y="1"/>
                      <a:pt x="677" y="2"/>
                    </a:cubicBezTo>
                    <a:cubicBezTo>
                      <a:pt x="663" y="6"/>
                      <a:pt x="650" y="8"/>
                      <a:pt x="637" y="12"/>
                    </a:cubicBezTo>
                    <a:cubicBezTo>
                      <a:pt x="619" y="17"/>
                      <a:pt x="601" y="24"/>
                      <a:pt x="585" y="32"/>
                    </a:cubicBezTo>
                    <a:lnTo>
                      <a:pt x="507" y="69"/>
                    </a:lnTo>
                    <a:cubicBezTo>
                      <a:pt x="455" y="92"/>
                      <a:pt x="404" y="119"/>
                      <a:pt x="354" y="144"/>
                    </a:cubicBezTo>
                    <a:lnTo>
                      <a:pt x="46" y="298"/>
                    </a:lnTo>
                    <a:cubicBezTo>
                      <a:pt x="12" y="319"/>
                      <a:pt x="0" y="363"/>
                      <a:pt x="21" y="396"/>
                    </a:cubicBezTo>
                    <a:cubicBezTo>
                      <a:pt x="35" y="419"/>
                      <a:pt x="59" y="431"/>
                      <a:pt x="84" y="431"/>
                    </a:cubicBezTo>
                    <a:cubicBezTo>
                      <a:pt x="96" y="431"/>
                      <a:pt x="108" y="429"/>
                      <a:pt x="119" y="423"/>
                    </a:cubicBezTo>
                    <a:lnTo>
                      <a:pt x="431" y="276"/>
                    </a:lnTo>
                    <a:cubicBezTo>
                      <a:pt x="483" y="252"/>
                      <a:pt x="535" y="228"/>
                      <a:pt x="586" y="203"/>
                    </a:cubicBezTo>
                    <a:lnTo>
                      <a:pt x="660" y="166"/>
                    </a:lnTo>
                    <a:cubicBezTo>
                      <a:pt x="688" y="150"/>
                      <a:pt x="715" y="130"/>
                      <a:pt x="739" y="108"/>
                    </a:cubicBezTo>
                    <a:cubicBezTo>
                      <a:pt x="760" y="88"/>
                      <a:pt x="764" y="57"/>
                      <a:pt x="750" y="31"/>
                    </a:cubicBezTo>
                    <a:cubicBezTo>
                      <a:pt x="738" y="12"/>
                      <a:pt x="716" y="0"/>
                      <a:pt x="69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226" name="Google Shape;226;p19"/>
              <p:cNvSpPr/>
              <p:nvPr/>
            </p:nvSpPr>
            <p:spPr>
              <a:xfrm rot="1051654">
                <a:off x="8196095" y="4306558"/>
                <a:ext cx="153822" cy="63226"/>
              </a:xfrm>
              <a:custGeom>
                <a:avLst/>
                <a:gdLst/>
                <a:ahLst/>
                <a:cxnLst/>
                <a:rect l="l" t="t" r="r" b="b"/>
                <a:pathLst>
                  <a:path w="725" h="298" extrusionOk="0">
                    <a:moveTo>
                      <a:pt x="675" y="0"/>
                    </a:moveTo>
                    <a:cubicBezTo>
                      <a:pt x="674" y="0"/>
                      <a:pt x="674" y="0"/>
                      <a:pt x="674" y="0"/>
                    </a:cubicBezTo>
                    <a:cubicBezTo>
                      <a:pt x="618" y="1"/>
                      <a:pt x="563" y="15"/>
                      <a:pt x="509" y="28"/>
                    </a:cubicBezTo>
                    <a:cubicBezTo>
                      <a:pt x="454" y="41"/>
                      <a:pt x="403" y="53"/>
                      <a:pt x="350" y="70"/>
                    </a:cubicBezTo>
                    <a:cubicBezTo>
                      <a:pt x="244" y="105"/>
                      <a:pt x="139" y="145"/>
                      <a:pt x="37" y="189"/>
                    </a:cubicBezTo>
                    <a:cubicBezTo>
                      <a:pt x="8" y="202"/>
                      <a:pt x="0" y="244"/>
                      <a:pt x="15" y="268"/>
                    </a:cubicBezTo>
                    <a:cubicBezTo>
                      <a:pt x="27" y="287"/>
                      <a:pt x="46" y="297"/>
                      <a:pt x="66" y="297"/>
                    </a:cubicBezTo>
                    <a:cubicBezTo>
                      <a:pt x="76" y="297"/>
                      <a:pt x="86" y="295"/>
                      <a:pt x="96" y="289"/>
                    </a:cubicBezTo>
                    <a:cubicBezTo>
                      <a:pt x="188" y="248"/>
                      <a:pt x="287" y="210"/>
                      <a:pt x="387" y="176"/>
                    </a:cubicBezTo>
                    <a:cubicBezTo>
                      <a:pt x="436" y="159"/>
                      <a:pt x="486" y="141"/>
                      <a:pt x="535" y="123"/>
                    </a:cubicBezTo>
                    <a:cubicBezTo>
                      <a:pt x="588" y="108"/>
                      <a:pt x="641" y="90"/>
                      <a:pt x="692" y="68"/>
                    </a:cubicBezTo>
                    <a:cubicBezTo>
                      <a:pt x="725" y="52"/>
                      <a:pt x="708" y="0"/>
                      <a:pt x="675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227" name="Google Shape;227;p19"/>
            <p:cNvGrpSpPr/>
            <p:nvPr/>
          </p:nvGrpSpPr>
          <p:grpSpPr>
            <a:xfrm>
              <a:off x="6919034" y="4854841"/>
              <a:ext cx="303659" cy="187304"/>
              <a:chOff x="7957259" y="3914166"/>
              <a:chExt cx="303659" cy="187304"/>
            </a:xfrm>
          </p:grpSpPr>
          <p:sp>
            <p:nvSpPr>
              <p:cNvPr id="228" name="Google Shape;228;p19"/>
              <p:cNvSpPr/>
              <p:nvPr/>
            </p:nvSpPr>
            <p:spPr>
              <a:xfrm rot="1051654">
                <a:off x="8088782" y="3987532"/>
                <a:ext cx="162096" cy="91657"/>
              </a:xfrm>
              <a:custGeom>
                <a:avLst/>
                <a:gdLst/>
                <a:ahLst/>
                <a:cxnLst/>
                <a:rect l="l" t="t" r="r" b="b"/>
                <a:pathLst>
                  <a:path w="764" h="432" extrusionOk="0">
                    <a:moveTo>
                      <a:pt x="693" y="0"/>
                    </a:moveTo>
                    <a:cubicBezTo>
                      <a:pt x="688" y="0"/>
                      <a:pt x="683" y="1"/>
                      <a:pt x="677" y="2"/>
                    </a:cubicBezTo>
                    <a:cubicBezTo>
                      <a:pt x="663" y="6"/>
                      <a:pt x="650" y="8"/>
                      <a:pt x="637" y="12"/>
                    </a:cubicBezTo>
                    <a:cubicBezTo>
                      <a:pt x="619" y="17"/>
                      <a:pt x="601" y="24"/>
                      <a:pt x="585" y="32"/>
                    </a:cubicBezTo>
                    <a:lnTo>
                      <a:pt x="507" y="69"/>
                    </a:lnTo>
                    <a:cubicBezTo>
                      <a:pt x="455" y="92"/>
                      <a:pt x="404" y="119"/>
                      <a:pt x="354" y="144"/>
                    </a:cubicBezTo>
                    <a:lnTo>
                      <a:pt x="46" y="298"/>
                    </a:lnTo>
                    <a:cubicBezTo>
                      <a:pt x="12" y="319"/>
                      <a:pt x="0" y="363"/>
                      <a:pt x="21" y="396"/>
                    </a:cubicBezTo>
                    <a:cubicBezTo>
                      <a:pt x="35" y="419"/>
                      <a:pt x="59" y="431"/>
                      <a:pt x="84" y="431"/>
                    </a:cubicBezTo>
                    <a:cubicBezTo>
                      <a:pt x="96" y="431"/>
                      <a:pt x="108" y="429"/>
                      <a:pt x="119" y="423"/>
                    </a:cubicBezTo>
                    <a:lnTo>
                      <a:pt x="431" y="276"/>
                    </a:lnTo>
                    <a:cubicBezTo>
                      <a:pt x="483" y="252"/>
                      <a:pt x="535" y="228"/>
                      <a:pt x="586" y="203"/>
                    </a:cubicBezTo>
                    <a:lnTo>
                      <a:pt x="660" y="166"/>
                    </a:lnTo>
                    <a:cubicBezTo>
                      <a:pt x="688" y="150"/>
                      <a:pt x="715" y="130"/>
                      <a:pt x="739" y="108"/>
                    </a:cubicBezTo>
                    <a:cubicBezTo>
                      <a:pt x="760" y="88"/>
                      <a:pt x="764" y="57"/>
                      <a:pt x="750" y="31"/>
                    </a:cubicBezTo>
                    <a:cubicBezTo>
                      <a:pt x="738" y="12"/>
                      <a:pt x="716" y="0"/>
                      <a:pt x="69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229" name="Google Shape;229;p19"/>
              <p:cNvSpPr/>
              <p:nvPr/>
            </p:nvSpPr>
            <p:spPr>
              <a:xfrm rot="1051654">
                <a:off x="7963209" y="3935861"/>
                <a:ext cx="153822" cy="63226"/>
              </a:xfrm>
              <a:custGeom>
                <a:avLst/>
                <a:gdLst/>
                <a:ahLst/>
                <a:cxnLst/>
                <a:rect l="l" t="t" r="r" b="b"/>
                <a:pathLst>
                  <a:path w="725" h="298" extrusionOk="0">
                    <a:moveTo>
                      <a:pt x="675" y="0"/>
                    </a:moveTo>
                    <a:cubicBezTo>
                      <a:pt x="674" y="0"/>
                      <a:pt x="674" y="0"/>
                      <a:pt x="674" y="0"/>
                    </a:cubicBezTo>
                    <a:cubicBezTo>
                      <a:pt x="618" y="1"/>
                      <a:pt x="563" y="15"/>
                      <a:pt x="509" y="28"/>
                    </a:cubicBezTo>
                    <a:cubicBezTo>
                      <a:pt x="454" y="41"/>
                      <a:pt x="403" y="53"/>
                      <a:pt x="350" y="70"/>
                    </a:cubicBezTo>
                    <a:cubicBezTo>
                      <a:pt x="244" y="105"/>
                      <a:pt x="139" y="145"/>
                      <a:pt x="37" y="189"/>
                    </a:cubicBezTo>
                    <a:cubicBezTo>
                      <a:pt x="8" y="202"/>
                      <a:pt x="0" y="244"/>
                      <a:pt x="15" y="268"/>
                    </a:cubicBezTo>
                    <a:cubicBezTo>
                      <a:pt x="27" y="287"/>
                      <a:pt x="46" y="297"/>
                      <a:pt x="66" y="297"/>
                    </a:cubicBezTo>
                    <a:cubicBezTo>
                      <a:pt x="76" y="297"/>
                      <a:pt x="86" y="295"/>
                      <a:pt x="96" y="289"/>
                    </a:cubicBezTo>
                    <a:cubicBezTo>
                      <a:pt x="188" y="248"/>
                      <a:pt x="287" y="210"/>
                      <a:pt x="387" y="176"/>
                    </a:cubicBezTo>
                    <a:cubicBezTo>
                      <a:pt x="436" y="159"/>
                      <a:pt x="486" y="141"/>
                      <a:pt x="535" y="123"/>
                    </a:cubicBezTo>
                    <a:cubicBezTo>
                      <a:pt x="588" y="108"/>
                      <a:pt x="641" y="90"/>
                      <a:pt x="692" y="68"/>
                    </a:cubicBezTo>
                    <a:cubicBezTo>
                      <a:pt x="725" y="52"/>
                      <a:pt x="708" y="0"/>
                      <a:pt x="675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</p:grpSp>
      <p:sp>
        <p:nvSpPr>
          <p:cNvPr id="230" name="Google Shape;230;p19"/>
          <p:cNvSpPr txBox="1">
            <a:spLocks noGrp="1"/>
          </p:cNvSpPr>
          <p:nvPr>
            <p:ph type="body" idx="2"/>
          </p:nvPr>
        </p:nvSpPr>
        <p:spPr>
          <a:xfrm>
            <a:off x="4978233" y="2666667"/>
            <a:ext cx="4715200" cy="2977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unito Light"/>
              <a:buChar char="●"/>
              <a:defRPr sz="1867">
                <a:solidFill>
                  <a:schemeClr val="accent4"/>
                </a:solidFill>
              </a:defRPr>
            </a:lvl1pPr>
            <a:lvl2pPr marL="1219170" lvl="1" indent="-44025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6A28"/>
              </a:buClr>
              <a:buSzPts val="1600"/>
              <a:buFont typeface="Nunito Light"/>
              <a:buChar char="○"/>
              <a:defRPr>
                <a:solidFill>
                  <a:schemeClr val="accent4"/>
                </a:solidFill>
              </a:defRPr>
            </a:lvl2pPr>
            <a:lvl3pPr marL="1828754" lvl="2" indent="-431789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E76A28"/>
              </a:buClr>
              <a:buSzPts val="1500"/>
              <a:buFont typeface="Nunito Light"/>
              <a:buChar char="■"/>
              <a:defRPr>
                <a:solidFill>
                  <a:schemeClr val="accent4"/>
                </a:solidFill>
              </a:defRPr>
            </a:lvl3pPr>
            <a:lvl4pPr marL="2438339" lvl="3" indent="-431789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E76A28"/>
              </a:buClr>
              <a:buSzPts val="1500"/>
              <a:buFont typeface="Nunito Light"/>
              <a:buChar char="●"/>
              <a:defRPr>
                <a:solidFill>
                  <a:schemeClr val="accent4"/>
                </a:solidFill>
              </a:defRPr>
            </a:lvl4pPr>
            <a:lvl5pPr marL="3047924" lvl="4" indent="-42332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E76A28"/>
              </a:buClr>
              <a:buSzPts val="1400"/>
              <a:buFont typeface="Nunito Light"/>
              <a:buChar char="○"/>
              <a:defRPr>
                <a:solidFill>
                  <a:schemeClr val="accent4"/>
                </a:solidFill>
              </a:defRPr>
            </a:lvl5pPr>
            <a:lvl6pPr marL="3657509" lvl="5" indent="-42332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999999"/>
              </a:buClr>
              <a:buSzPts val="1400"/>
              <a:buFont typeface="Nunito Light"/>
              <a:buChar char="■"/>
              <a:defRPr>
                <a:solidFill>
                  <a:schemeClr val="accent4"/>
                </a:solidFill>
              </a:defRPr>
            </a:lvl6pPr>
            <a:lvl7pPr marL="4267093" lvl="6" indent="-41485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999999"/>
              </a:buClr>
              <a:buSzPts val="1300"/>
              <a:buFont typeface="Nunito Light"/>
              <a:buChar char="●"/>
              <a:defRPr>
                <a:solidFill>
                  <a:schemeClr val="accent4"/>
                </a:solidFill>
              </a:defRPr>
            </a:lvl7pPr>
            <a:lvl8pPr marL="4876678" lvl="7" indent="-41485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999999"/>
              </a:buClr>
              <a:buSzPts val="1300"/>
              <a:buFont typeface="Nunito Light"/>
              <a:buChar char="○"/>
              <a:defRPr>
                <a:solidFill>
                  <a:schemeClr val="accent4"/>
                </a:solidFill>
              </a:defRPr>
            </a:lvl8pPr>
            <a:lvl9pPr marL="5486263" lvl="8" indent="-423323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Clr>
                <a:srgbClr val="999999"/>
              </a:buClr>
              <a:buSzPts val="1400"/>
              <a:buFont typeface="Nunito Light"/>
              <a:buChar char="■"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1">
  <p:cSld name="CUSTOM_22"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2" name="Google Shape;232;p20"/>
          <p:cNvGrpSpPr/>
          <p:nvPr/>
        </p:nvGrpSpPr>
        <p:grpSpPr>
          <a:xfrm>
            <a:off x="-1445999" y="-155661"/>
            <a:ext cx="12677996" cy="6046039"/>
            <a:chOff x="-1084500" y="-116750"/>
            <a:chExt cx="9508497" cy="4224847"/>
          </a:xfrm>
        </p:grpSpPr>
        <p:sp>
          <p:nvSpPr>
            <p:cNvPr id="233" name="Google Shape;233;p20"/>
            <p:cNvSpPr/>
            <p:nvPr/>
          </p:nvSpPr>
          <p:spPr>
            <a:xfrm flipH="1">
              <a:off x="-1084500" y="-116750"/>
              <a:ext cx="9508497" cy="4224847"/>
            </a:xfrm>
            <a:custGeom>
              <a:avLst/>
              <a:gdLst/>
              <a:ahLst/>
              <a:cxnLst/>
              <a:rect l="l" t="t" r="r" b="b"/>
              <a:pathLst>
                <a:path w="60555" h="26906" extrusionOk="0">
                  <a:moveTo>
                    <a:pt x="30368" y="1"/>
                  </a:moveTo>
                  <a:cubicBezTo>
                    <a:pt x="29859" y="1"/>
                    <a:pt x="29289" y="93"/>
                    <a:pt x="28992" y="105"/>
                  </a:cubicBezTo>
                  <a:lnTo>
                    <a:pt x="25316" y="255"/>
                  </a:lnTo>
                  <a:cubicBezTo>
                    <a:pt x="24289" y="297"/>
                    <a:pt x="23262" y="343"/>
                    <a:pt x="22235" y="382"/>
                  </a:cubicBezTo>
                  <a:cubicBezTo>
                    <a:pt x="21241" y="420"/>
                    <a:pt x="20858" y="575"/>
                    <a:pt x="19992" y="1085"/>
                  </a:cubicBezTo>
                  <a:cubicBezTo>
                    <a:pt x="18442" y="1998"/>
                    <a:pt x="16834" y="2805"/>
                    <a:pt x="15216" y="3589"/>
                  </a:cubicBezTo>
                  <a:cubicBezTo>
                    <a:pt x="10132" y="6050"/>
                    <a:pt x="3799" y="8371"/>
                    <a:pt x="918" y="13609"/>
                  </a:cubicBezTo>
                  <a:cubicBezTo>
                    <a:pt x="1" y="15277"/>
                    <a:pt x="44" y="16824"/>
                    <a:pt x="912" y="18515"/>
                  </a:cubicBezTo>
                  <a:cubicBezTo>
                    <a:pt x="3962" y="24466"/>
                    <a:pt x="10965" y="25739"/>
                    <a:pt x="17006" y="26454"/>
                  </a:cubicBezTo>
                  <a:cubicBezTo>
                    <a:pt x="17872" y="26557"/>
                    <a:pt x="18795" y="26736"/>
                    <a:pt x="19683" y="26736"/>
                  </a:cubicBezTo>
                  <a:cubicBezTo>
                    <a:pt x="19821" y="26736"/>
                    <a:pt x="19959" y="26731"/>
                    <a:pt x="20095" y="26722"/>
                  </a:cubicBezTo>
                  <a:cubicBezTo>
                    <a:pt x="20696" y="26679"/>
                    <a:pt x="21227" y="26546"/>
                    <a:pt x="21817" y="26546"/>
                  </a:cubicBezTo>
                  <a:cubicBezTo>
                    <a:pt x="21917" y="26546"/>
                    <a:pt x="22020" y="26549"/>
                    <a:pt x="22125" y="26558"/>
                  </a:cubicBezTo>
                  <a:lnTo>
                    <a:pt x="22310" y="26574"/>
                  </a:lnTo>
                  <a:cubicBezTo>
                    <a:pt x="24357" y="26746"/>
                    <a:pt x="26382" y="26905"/>
                    <a:pt x="28439" y="26905"/>
                  </a:cubicBezTo>
                  <a:cubicBezTo>
                    <a:pt x="28546" y="26905"/>
                    <a:pt x="28654" y="26905"/>
                    <a:pt x="28762" y="26904"/>
                  </a:cubicBezTo>
                  <a:cubicBezTo>
                    <a:pt x="31570" y="26880"/>
                    <a:pt x="34392" y="26703"/>
                    <a:pt x="37183" y="26397"/>
                  </a:cubicBezTo>
                  <a:cubicBezTo>
                    <a:pt x="40909" y="25991"/>
                    <a:pt x="44586" y="25231"/>
                    <a:pt x="48222" y="24336"/>
                  </a:cubicBezTo>
                  <a:cubicBezTo>
                    <a:pt x="51765" y="23463"/>
                    <a:pt x="55234" y="22562"/>
                    <a:pt x="58428" y="20736"/>
                  </a:cubicBezTo>
                  <a:cubicBezTo>
                    <a:pt x="59364" y="20201"/>
                    <a:pt x="60356" y="19457"/>
                    <a:pt x="60455" y="18383"/>
                  </a:cubicBezTo>
                  <a:cubicBezTo>
                    <a:pt x="60555" y="17316"/>
                    <a:pt x="59658" y="16354"/>
                    <a:pt x="58636" y="16034"/>
                  </a:cubicBezTo>
                  <a:cubicBezTo>
                    <a:pt x="58242" y="15911"/>
                    <a:pt x="57836" y="15862"/>
                    <a:pt x="57425" y="15862"/>
                  </a:cubicBezTo>
                  <a:cubicBezTo>
                    <a:pt x="56769" y="15862"/>
                    <a:pt x="56103" y="15987"/>
                    <a:pt x="55461" y="16136"/>
                  </a:cubicBezTo>
                  <a:cubicBezTo>
                    <a:pt x="52270" y="16878"/>
                    <a:pt x="49222" y="18146"/>
                    <a:pt x="46130" y="19209"/>
                  </a:cubicBezTo>
                  <a:cubicBezTo>
                    <a:pt x="42962" y="20297"/>
                    <a:pt x="39753" y="21288"/>
                    <a:pt x="36473" y="21983"/>
                  </a:cubicBezTo>
                  <a:cubicBezTo>
                    <a:pt x="33633" y="22584"/>
                    <a:pt x="30836" y="22859"/>
                    <a:pt x="28061" y="22859"/>
                  </a:cubicBezTo>
                  <a:cubicBezTo>
                    <a:pt x="23194" y="22859"/>
                    <a:pt x="18394" y="22011"/>
                    <a:pt x="13550" y="20582"/>
                  </a:cubicBezTo>
                  <a:cubicBezTo>
                    <a:pt x="12514" y="20277"/>
                    <a:pt x="11473" y="19930"/>
                    <a:pt x="10585" y="19315"/>
                  </a:cubicBezTo>
                  <a:cubicBezTo>
                    <a:pt x="9696" y="18702"/>
                    <a:pt x="8969" y="17781"/>
                    <a:pt x="8814" y="16713"/>
                  </a:cubicBezTo>
                  <a:cubicBezTo>
                    <a:pt x="8634" y="15469"/>
                    <a:pt x="9239" y="14249"/>
                    <a:pt x="9947" y="13211"/>
                  </a:cubicBezTo>
                  <a:cubicBezTo>
                    <a:pt x="11915" y="10335"/>
                    <a:pt x="15499" y="7337"/>
                    <a:pt x="19073" y="6824"/>
                  </a:cubicBezTo>
                  <a:cubicBezTo>
                    <a:pt x="23152" y="6237"/>
                    <a:pt x="27106" y="4191"/>
                    <a:pt x="30457" y="1792"/>
                  </a:cubicBezTo>
                  <a:cubicBezTo>
                    <a:pt x="30759" y="1575"/>
                    <a:pt x="31069" y="1342"/>
                    <a:pt x="31241" y="1011"/>
                  </a:cubicBezTo>
                  <a:cubicBezTo>
                    <a:pt x="31675" y="181"/>
                    <a:pt x="31080" y="1"/>
                    <a:pt x="30368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34" name="Google Shape;234;p20"/>
            <p:cNvSpPr/>
            <p:nvPr/>
          </p:nvSpPr>
          <p:spPr>
            <a:xfrm flipH="1">
              <a:off x="7011740" y="1776303"/>
              <a:ext cx="176022" cy="45380"/>
            </a:xfrm>
            <a:custGeom>
              <a:avLst/>
              <a:gdLst/>
              <a:ahLst/>
              <a:cxnLst/>
              <a:rect l="l" t="t" r="r" b="b"/>
              <a:pathLst>
                <a:path w="1121" h="289" extrusionOk="0">
                  <a:moveTo>
                    <a:pt x="135" y="215"/>
                  </a:moveTo>
                  <a:lnTo>
                    <a:pt x="135" y="215"/>
                  </a:lnTo>
                  <a:cubicBezTo>
                    <a:pt x="133" y="215"/>
                    <a:pt x="131" y="215"/>
                    <a:pt x="129" y="215"/>
                  </a:cubicBezTo>
                  <a:lnTo>
                    <a:pt x="129" y="215"/>
                  </a:lnTo>
                  <a:lnTo>
                    <a:pt x="129" y="215"/>
                  </a:lnTo>
                  <a:lnTo>
                    <a:pt x="135" y="215"/>
                  </a:lnTo>
                  <a:close/>
                  <a:moveTo>
                    <a:pt x="403" y="1"/>
                  </a:moveTo>
                  <a:cubicBezTo>
                    <a:pt x="369" y="1"/>
                    <a:pt x="334" y="2"/>
                    <a:pt x="300" y="3"/>
                  </a:cubicBezTo>
                  <a:cubicBezTo>
                    <a:pt x="225" y="6"/>
                    <a:pt x="150" y="15"/>
                    <a:pt x="76" y="25"/>
                  </a:cubicBezTo>
                  <a:cubicBezTo>
                    <a:pt x="53" y="29"/>
                    <a:pt x="28" y="52"/>
                    <a:pt x="17" y="71"/>
                  </a:cubicBezTo>
                  <a:cubicBezTo>
                    <a:pt x="4" y="94"/>
                    <a:pt x="0" y="121"/>
                    <a:pt x="7" y="147"/>
                  </a:cubicBezTo>
                  <a:cubicBezTo>
                    <a:pt x="14" y="172"/>
                    <a:pt x="30" y="193"/>
                    <a:pt x="52" y="206"/>
                  </a:cubicBezTo>
                  <a:cubicBezTo>
                    <a:pt x="69" y="214"/>
                    <a:pt x="87" y="219"/>
                    <a:pt x="105" y="219"/>
                  </a:cubicBezTo>
                  <a:cubicBezTo>
                    <a:pt x="113" y="219"/>
                    <a:pt x="121" y="218"/>
                    <a:pt x="129" y="216"/>
                  </a:cubicBezTo>
                  <a:lnTo>
                    <a:pt x="129" y="216"/>
                  </a:lnTo>
                  <a:lnTo>
                    <a:pt x="129" y="216"/>
                  </a:lnTo>
                  <a:lnTo>
                    <a:pt x="114" y="217"/>
                  </a:lnTo>
                  <a:cubicBezTo>
                    <a:pt x="119" y="217"/>
                    <a:pt x="124" y="216"/>
                    <a:pt x="129" y="215"/>
                  </a:cubicBezTo>
                  <a:lnTo>
                    <a:pt x="129" y="215"/>
                  </a:lnTo>
                  <a:lnTo>
                    <a:pt x="129" y="216"/>
                  </a:lnTo>
                  <a:lnTo>
                    <a:pt x="129" y="216"/>
                  </a:lnTo>
                  <a:lnTo>
                    <a:pt x="141" y="214"/>
                  </a:lnTo>
                  <a:lnTo>
                    <a:pt x="135" y="215"/>
                  </a:lnTo>
                  <a:lnTo>
                    <a:pt x="135" y="215"/>
                  </a:lnTo>
                  <a:cubicBezTo>
                    <a:pt x="223" y="204"/>
                    <a:pt x="311" y="198"/>
                    <a:pt x="399" y="198"/>
                  </a:cubicBezTo>
                  <a:cubicBezTo>
                    <a:pt x="495" y="198"/>
                    <a:pt x="590" y="205"/>
                    <a:pt x="685" y="217"/>
                  </a:cubicBezTo>
                  <a:lnTo>
                    <a:pt x="658" y="214"/>
                  </a:lnTo>
                  <a:lnTo>
                    <a:pt x="658" y="214"/>
                  </a:lnTo>
                  <a:cubicBezTo>
                    <a:pt x="769" y="229"/>
                    <a:pt x="879" y="252"/>
                    <a:pt x="985" y="285"/>
                  </a:cubicBezTo>
                  <a:cubicBezTo>
                    <a:pt x="993" y="287"/>
                    <a:pt x="1002" y="288"/>
                    <a:pt x="1010" y="288"/>
                  </a:cubicBezTo>
                  <a:cubicBezTo>
                    <a:pt x="1053" y="288"/>
                    <a:pt x="1098" y="258"/>
                    <a:pt x="1107" y="215"/>
                  </a:cubicBezTo>
                  <a:cubicBezTo>
                    <a:pt x="1120" y="162"/>
                    <a:pt x="1089" y="110"/>
                    <a:pt x="1038" y="94"/>
                  </a:cubicBezTo>
                  <a:cubicBezTo>
                    <a:pt x="831" y="32"/>
                    <a:pt x="618" y="1"/>
                    <a:pt x="4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35" name="Google Shape;235;p20"/>
            <p:cNvSpPr/>
            <p:nvPr/>
          </p:nvSpPr>
          <p:spPr>
            <a:xfrm flipH="1">
              <a:off x="5513277" y="3412469"/>
              <a:ext cx="201931" cy="60454"/>
            </a:xfrm>
            <a:custGeom>
              <a:avLst/>
              <a:gdLst/>
              <a:ahLst/>
              <a:cxnLst/>
              <a:rect l="l" t="t" r="r" b="b"/>
              <a:pathLst>
                <a:path w="1286" h="385" extrusionOk="0">
                  <a:moveTo>
                    <a:pt x="103" y="1"/>
                  </a:moveTo>
                  <a:cubicBezTo>
                    <a:pt x="86" y="1"/>
                    <a:pt x="69" y="5"/>
                    <a:pt x="53" y="14"/>
                  </a:cubicBezTo>
                  <a:cubicBezTo>
                    <a:pt x="31" y="27"/>
                    <a:pt x="15" y="48"/>
                    <a:pt x="8" y="73"/>
                  </a:cubicBezTo>
                  <a:cubicBezTo>
                    <a:pt x="1" y="99"/>
                    <a:pt x="5" y="127"/>
                    <a:pt x="17" y="149"/>
                  </a:cubicBezTo>
                  <a:cubicBezTo>
                    <a:pt x="32" y="171"/>
                    <a:pt x="52" y="187"/>
                    <a:pt x="76" y="195"/>
                  </a:cubicBezTo>
                  <a:lnTo>
                    <a:pt x="76" y="194"/>
                  </a:lnTo>
                  <a:cubicBezTo>
                    <a:pt x="353" y="297"/>
                    <a:pt x="644" y="360"/>
                    <a:pt x="938" y="378"/>
                  </a:cubicBezTo>
                  <a:cubicBezTo>
                    <a:pt x="1002" y="383"/>
                    <a:pt x="1065" y="384"/>
                    <a:pt x="1129" y="384"/>
                  </a:cubicBezTo>
                  <a:cubicBezTo>
                    <a:pt x="1148" y="384"/>
                    <a:pt x="1166" y="384"/>
                    <a:pt x="1185" y="384"/>
                  </a:cubicBezTo>
                  <a:cubicBezTo>
                    <a:pt x="1236" y="383"/>
                    <a:pt x="1286" y="338"/>
                    <a:pt x="1284" y="285"/>
                  </a:cubicBezTo>
                  <a:cubicBezTo>
                    <a:pt x="1282" y="231"/>
                    <a:pt x="1241" y="186"/>
                    <a:pt x="1186" y="186"/>
                  </a:cubicBezTo>
                  <a:cubicBezTo>
                    <a:pt x="1186" y="186"/>
                    <a:pt x="1185" y="186"/>
                    <a:pt x="1185" y="186"/>
                  </a:cubicBezTo>
                  <a:cubicBezTo>
                    <a:pt x="1164" y="186"/>
                    <a:pt x="1144" y="186"/>
                    <a:pt x="1123" y="186"/>
                  </a:cubicBezTo>
                  <a:cubicBezTo>
                    <a:pt x="994" y="186"/>
                    <a:pt x="864" y="178"/>
                    <a:pt x="735" y="160"/>
                  </a:cubicBezTo>
                  <a:lnTo>
                    <a:pt x="735" y="160"/>
                  </a:lnTo>
                  <a:lnTo>
                    <a:pt x="762" y="164"/>
                  </a:lnTo>
                  <a:cubicBezTo>
                    <a:pt x="546" y="135"/>
                    <a:pt x="334" y="81"/>
                    <a:pt x="129" y="4"/>
                  </a:cubicBezTo>
                  <a:cubicBezTo>
                    <a:pt x="121" y="2"/>
                    <a:pt x="112" y="1"/>
                    <a:pt x="1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36" name="Google Shape;236;p20"/>
            <p:cNvSpPr/>
            <p:nvPr/>
          </p:nvSpPr>
          <p:spPr>
            <a:xfrm flipH="1">
              <a:off x="4469236" y="3890914"/>
              <a:ext cx="240401" cy="58569"/>
            </a:xfrm>
            <a:custGeom>
              <a:avLst/>
              <a:gdLst/>
              <a:ahLst/>
              <a:cxnLst/>
              <a:rect l="l" t="t" r="r" b="b"/>
              <a:pathLst>
                <a:path w="1531" h="373" extrusionOk="0">
                  <a:moveTo>
                    <a:pt x="109" y="0"/>
                  </a:moveTo>
                  <a:cubicBezTo>
                    <a:pt x="66" y="0"/>
                    <a:pt x="26" y="29"/>
                    <a:pt x="14" y="73"/>
                  </a:cubicBezTo>
                  <a:cubicBezTo>
                    <a:pt x="0" y="125"/>
                    <a:pt x="31" y="179"/>
                    <a:pt x="83" y="194"/>
                  </a:cubicBezTo>
                  <a:cubicBezTo>
                    <a:pt x="422" y="305"/>
                    <a:pt x="776" y="365"/>
                    <a:pt x="1133" y="372"/>
                  </a:cubicBezTo>
                  <a:cubicBezTo>
                    <a:pt x="1158" y="373"/>
                    <a:pt x="1184" y="373"/>
                    <a:pt x="1209" y="373"/>
                  </a:cubicBezTo>
                  <a:cubicBezTo>
                    <a:pt x="1283" y="373"/>
                    <a:pt x="1356" y="371"/>
                    <a:pt x="1429" y="367"/>
                  </a:cubicBezTo>
                  <a:cubicBezTo>
                    <a:pt x="1480" y="364"/>
                    <a:pt x="1530" y="324"/>
                    <a:pt x="1527" y="268"/>
                  </a:cubicBezTo>
                  <a:cubicBezTo>
                    <a:pt x="1525" y="219"/>
                    <a:pt x="1486" y="169"/>
                    <a:pt x="1434" y="169"/>
                  </a:cubicBezTo>
                  <a:cubicBezTo>
                    <a:pt x="1432" y="169"/>
                    <a:pt x="1431" y="169"/>
                    <a:pt x="1429" y="169"/>
                  </a:cubicBezTo>
                  <a:cubicBezTo>
                    <a:pt x="1355" y="173"/>
                    <a:pt x="1281" y="176"/>
                    <a:pt x="1207" y="176"/>
                  </a:cubicBezTo>
                  <a:cubicBezTo>
                    <a:pt x="1051" y="176"/>
                    <a:pt x="894" y="165"/>
                    <a:pt x="740" y="144"/>
                  </a:cubicBezTo>
                  <a:lnTo>
                    <a:pt x="740" y="144"/>
                  </a:lnTo>
                  <a:lnTo>
                    <a:pt x="766" y="148"/>
                  </a:lnTo>
                  <a:cubicBezTo>
                    <a:pt x="552" y="119"/>
                    <a:pt x="341" y="71"/>
                    <a:pt x="135" y="4"/>
                  </a:cubicBezTo>
                  <a:cubicBezTo>
                    <a:pt x="126" y="2"/>
                    <a:pt x="117" y="0"/>
                    <a:pt x="10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37" name="Google Shape;237;p20"/>
            <p:cNvSpPr/>
            <p:nvPr/>
          </p:nvSpPr>
          <p:spPr>
            <a:xfrm flipH="1">
              <a:off x="4212662" y="3848990"/>
              <a:ext cx="110858" cy="41925"/>
            </a:xfrm>
            <a:custGeom>
              <a:avLst/>
              <a:gdLst/>
              <a:ahLst/>
              <a:cxnLst/>
              <a:rect l="l" t="t" r="r" b="b"/>
              <a:pathLst>
                <a:path w="706" h="267" extrusionOk="0">
                  <a:moveTo>
                    <a:pt x="601" y="1"/>
                  </a:moveTo>
                  <a:cubicBezTo>
                    <a:pt x="593" y="1"/>
                    <a:pt x="584" y="2"/>
                    <a:pt x="577" y="6"/>
                  </a:cubicBezTo>
                  <a:cubicBezTo>
                    <a:pt x="506" y="35"/>
                    <a:pt x="431" y="55"/>
                    <a:pt x="355" y="66"/>
                  </a:cubicBezTo>
                  <a:lnTo>
                    <a:pt x="382" y="61"/>
                  </a:lnTo>
                  <a:lnTo>
                    <a:pt x="382" y="61"/>
                  </a:lnTo>
                  <a:cubicBezTo>
                    <a:pt x="343" y="67"/>
                    <a:pt x="304" y="69"/>
                    <a:pt x="264" y="69"/>
                  </a:cubicBezTo>
                  <a:cubicBezTo>
                    <a:pt x="227" y="69"/>
                    <a:pt x="190" y="67"/>
                    <a:pt x="153" y="62"/>
                  </a:cubicBezTo>
                  <a:lnTo>
                    <a:pt x="153" y="62"/>
                  </a:lnTo>
                  <a:cubicBezTo>
                    <a:pt x="146" y="61"/>
                    <a:pt x="140" y="60"/>
                    <a:pt x="133" y="58"/>
                  </a:cubicBezTo>
                  <a:cubicBezTo>
                    <a:pt x="125" y="56"/>
                    <a:pt x="117" y="55"/>
                    <a:pt x="109" y="55"/>
                  </a:cubicBezTo>
                  <a:cubicBezTo>
                    <a:pt x="91" y="55"/>
                    <a:pt x="73" y="60"/>
                    <a:pt x="57" y="69"/>
                  </a:cubicBezTo>
                  <a:cubicBezTo>
                    <a:pt x="34" y="81"/>
                    <a:pt x="18" y="103"/>
                    <a:pt x="11" y="128"/>
                  </a:cubicBezTo>
                  <a:cubicBezTo>
                    <a:pt x="0" y="176"/>
                    <a:pt x="25" y="240"/>
                    <a:pt x="80" y="249"/>
                  </a:cubicBezTo>
                  <a:cubicBezTo>
                    <a:pt x="141" y="261"/>
                    <a:pt x="203" y="266"/>
                    <a:pt x="265" y="266"/>
                  </a:cubicBezTo>
                  <a:cubicBezTo>
                    <a:pt x="389" y="266"/>
                    <a:pt x="513" y="243"/>
                    <a:pt x="630" y="196"/>
                  </a:cubicBezTo>
                  <a:cubicBezTo>
                    <a:pt x="654" y="188"/>
                    <a:pt x="675" y="172"/>
                    <a:pt x="689" y="151"/>
                  </a:cubicBezTo>
                  <a:cubicBezTo>
                    <a:pt x="701" y="128"/>
                    <a:pt x="706" y="100"/>
                    <a:pt x="698" y="74"/>
                  </a:cubicBezTo>
                  <a:cubicBezTo>
                    <a:pt x="692" y="50"/>
                    <a:pt x="675" y="29"/>
                    <a:pt x="653" y="15"/>
                  </a:cubicBezTo>
                  <a:cubicBezTo>
                    <a:pt x="638" y="7"/>
                    <a:pt x="619" y="1"/>
                    <a:pt x="6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38" name="Google Shape;238;p20"/>
            <p:cNvSpPr/>
            <p:nvPr/>
          </p:nvSpPr>
          <p:spPr>
            <a:xfrm flipH="1">
              <a:off x="7837990" y="3002015"/>
              <a:ext cx="131271" cy="38628"/>
            </a:xfrm>
            <a:custGeom>
              <a:avLst/>
              <a:gdLst/>
              <a:ahLst/>
              <a:cxnLst/>
              <a:rect l="l" t="t" r="r" b="b"/>
              <a:pathLst>
                <a:path w="836" h="246" extrusionOk="0">
                  <a:moveTo>
                    <a:pt x="504" y="1"/>
                  </a:moveTo>
                  <a:cubicBezTo>
                    <a:pt x="363" y="1"/>
                    <a:pt x="221" y="18"/>
                    <a:pt x="83" y="52"/>
                  </a:cubicBezTo>
                  <a:cubicBezTo>
                    <a:pt x="32" y="67"/>
                    <a:pt x="1" y="121"/>
                    <a:pt x="15" y="173"/>
                  </a:cubicBezTo>
                  <a:cubicBezTo>
                    <a:pt x="27" y="218"/>
                    <a:pt x="67" y="246"/>
                    <a:pt x="111" y="246"/>
                  </a:cubicBezTo>
                  <a:cubicBezTo>
                    <a:pt x="120" y="246"/>
                    <a:pt x="128" y="245"/>
                    <a:pt x="136" y="243"/>
                  </a:cubicBezTo>
                  <a:cubicBezTo>
                    <a:pt x="195" y="228"/>
                    <a:pt x="255" y="216"/>
                    <a:pt x="315" y="208"/>
                  </a:cubicBezTo>
                  <a:lnTo>
                    <a:pt x="315" y="208"/>
                  </a:lnTo>
                  <a:lnTo>
                    <a:pt x="289" y="211"/>
                  </a:lnTo>
                  <a:cubicBezTo>
                    <a:pt x="360" y="202"/>
                    <a:pt x="433" y="197"/>
                    <a:pt x="505" y="197"/>
                  </a:cubicBezTo>
                  <a:cubicBezTo>
                    <a:pt x="577" y="197"/>
                    <a:pt x="649" y="202"/>
                    <a:pt x="721" y="211"/>
                  </a:cubicBezTo>
                  <a:lnTo>
                    <a:pt x="695" y="208"/>
                  </a:lnTo>
                  <a:lnTo>
                    <a:pt x="707" y="210"/>
                  </a:lnTo>
                  <a:cubicBezTo>
                    <a:pt x="717" y="211"/>
                    <a:pt x="726" y="212"/>
                    <a:pt x="735" y="212"/>
                  </a:cubicBezTo>
                  <a:cubicBezTo>
                    <a:pt x="752" y="212"/>
                    <a:pt x="768" y="209"/>
                    <a:pt x="784" y="200"/>
                  </a:cubicBezTo>
                  <a:cubicBezTo>
                    <a:pt x="806" y="187"/>
                    <a:pt x="822" y="166"/>
                    <a:pt x="830" y="141"/>
                  </a:cubicBezTo>
                  <a:cubicBezTo>
                    <a:pt x="836" y="115"/>
                    <a:pt x="833" y="88"/>
                    <a:pt x="819" y="65"/>
                  </a:cubicBezTo>
                  <a:cubicBezTo>
                    <a:pt x="806" y="45"/>
                    <a:pt x="785" y="22"/>
                    <a:pt x="760" y="19"/>
                  </a:cubicBezTo>
                  <a:cubicBezTo>
                    <a:pt x="675" y="7"/>
                    <a:pt x="590" y="1"/>
                    <a:pt x="5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239" name="Google Shape;239;p20"/>
          <p:cNvSpPr txBox="1">
            <a:spLocks noGrp="1"/>
          </p:cNvSpPr>
          <p:nvPr>
            <p:ph type="ctrTitle"/>
          </p:nvPr>
        </p:nvSpPr>
        <p:spPr>
          <a:xfrm>
            <a:off x="2667116" y="1600933"/>
            <a:ext cx="32112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240" name="Google Shape;240;p20"/>
          <p:cNvSpPr txBox="1">
            <a:spLocks noGrp="1"/>
          </p:cNvSpPr>
          <p:nvPr>
            <p:ph type="subTitle" idx="1"/>
          </p:nvPr>
        </p:nvSpPr>
        <p:spPr>
          <a:xfrm>
            <a:off x="2667117" y="2168133"/>
            <a:ext cx="3211200" cy="77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41" name="Google Shape;241;p20"/>
          <p:cNvSpPr txBox="1">
            <a:spLocks noGrp="1"/>
          </p:cNvSpPr>
          <p:nvPr>
            <p:ph type="title" idx="2" hasCustomPrompt="1"/>
          </p:nvPr>
        </p:nvSpPr>
        <p:spPr>
          <a:xfrm>
            <a:off x="921633" y="1884533"/>
            <a:ext cx="12584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1">
  <p:cSld name="CUSTOM_23"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p21"/>
          <p:cNvSpPr txBox="1">
            <a:spLocks noGrp="1"/>
          </p:cNvSpPr>
          <p:nvPr>
            <p:ph type="title"/>
          </p:nvPr>
        </p:nvSpPr>
        <p:spPr>
          <a:xfrm>
            <a:off x="960000" y="946967"/>
            <a:ext cx="5016400" cy="135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44" name="Google Shape;244;p21"/>
          <p:cNvSpPr txBox="1">
            <a:spLocks noGrp="1"/>
          </p:cNvSpPr>
          <p:nvPr>
            <p:ph type="ctrTitle" idx="2"/>
          </p:nvPr>
        </p:nvSpPr>
        <p:spPr>
          <a:xfrm flipH="1">
            <a:off x="959687" y="3642100"/>
            <a:ext cx="27144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45" name="Google Shape;245;p21"/>
          <p:cNvSpPr txBox="1">
            <a:spLocks noGrp="1"/>
          </p:cNvSpPr>
          <p:nvPr>
            <p:ph type="subTitle" idx="1"/>
          </p:nvPr>
        </p:nvSpPr>
        <p:spPr>
          <a:xfrm flipH="1">
            <a:off x="959697" y="4257367"/>
            <a:ext cx="2714400" cy="111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46" name="Google Shape;246;p21"/>
          <p:cNvSpPr txBox="1">
            <a:spLocks noGrp="1"/>
          </p:cNvSpPr>
          <p:nvPr>
            <p:ph type="ctrTitle" idx="3"/>
          </p:nvPr>
        </p:nvSpPr>
        <p:spPr>
          <a:xfrm flipH="1">
            <a:off x="4181800" y="3642100"/>
            <a:ext cx="26116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47" name="Google Shape;247;p21"/>
          <p:cNvSpPr txBox="1">
            <a:spLocks noGrp="1"/>
          </p:cNvSpPr>
          <p:nvPr>
            <p:ph type="subTitle" idx="4"/>
          </p:nvPr>
        </p:nvSpPr>
        <p:spPr>
          <a:xfrm flipH="1">
            <a:off x="4181800" y="4257367"/>
            <a:ext cx="2611600" cy="111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grpSp>
        <p:nvGrpSpPr>
          <p:cNvPr id="248" name="Google Shape;248;p21"/>
          <p:cNvGrpSpPr/>
          <p:nvPr/>
        </p:nvGrpSpPr>
        <p:grpSpPr>
          <a:xfrm flipH="1">
            <a:off x="3280619" y="3296223"/>
            <a:ext cx="10673915" cy="4542576"/>
            <a:chOff x="1003990" y="5084638"/>
            <a:chExt cx="1497239" cy="660501"/>
          </a:xfrm>
        </p:grpSpPr>
        <p:sp>
          <p:nvSpPr>
            <p:cNvPr id="249" name="Google Shape;249;p21"/>
            <p:cNvSpPr/>
            <p:nvPr/>
          </p:nvSpPr>
          <p:spPr>
            <a:xfrm rot="-10691703" flipH="1">
              <a:off x="1011513" y="5107879"/>
              <a:ext cx="1482193" cy="614020"/>
            </a:xfrm>
            <a:custGeom>
              <a:avLst/>
              <a:gdLst/>
              <a:ahLst/>
              <a:cxnLst/>
              <a:rect l="l" t="t" r="r" b="b"/>
              <a:pathLst>
                <a:path w="59282" h="22955" extrusionOk="0">
                  <a:moveTo>
                    <a:pt x="59206" y="0"/>
                  </a:moveTo>
                  <a:cubicBezTo>
                    <a:pt x="59201" y="0"/>
                    <a:pt x="59195" y="4"/>
                    <a:pt x="59188" y="13"/>
                  </a:cubicBezTo>
                  <a:lnTo>
                    <a:pt x="49580" y="3488"/>
                  </a:lnTo>
                  <a:cubicBezTo>
                    <a:pt x="49404" y="3866"/>
                    <a:pt x="49242" y="3992"/>
                    <a:pt x="49076" y="3992"/>
                  </a:cubicBezTo>
                  <a:cubicBezTo>
                    <a:pt x="48743" y="3992"/>
                    <a:pt x="48390" y="3490"/>
                    <a:pt x="47869" y="3490"/>
                  </a:cubicBezTo>
                  <a:cubicBezTo>
                    <a:pt x="47660" y="3490"/>
                    <a:pt x="47424" y="3571"/>
                    <a:pt x="47150" y="3799"/>
                  </a:cubicBezTo>
                  <a:cubicBezTo>
                    <a:pt x="46575" y="4279"/>
                    <a:pt x="8390" y="7892"/>
                    <a:pt x="4800" y="14575"/>
                  </a:cubicBezTo>
                  <a:cubicBezTo>
                    <a:pt x="3738" y="16555"/>
                    <a:pt x="1179" y="15755"/>
                    <a:pt x="590" y="17776"/>
                  </a:cubicBezTo>
                  <a:cubicBezTo>
                    <a:pt x="0" y="19797"/>
                    <a:pt x="1001" y="22299"/>
                    <a:pt x="3208" y="22955"/>
                  </a:cubicBezTo>
                  <a:cubicBezTo>
                    <a:pt x="3305" y="20620"/>
                    <a:pt x="5507" y="18897"/>
                    <a:pt x="7320" y="17755"/>
                  </a:cubicBezTo>
                  <a:cubicBezTo>
                    <a:pt x="9378" y="16460"/>
                    <a:pt x="11678" y="15617"/>
                    <a:pt x="13950" y="14787"/>
                  </a:cubicBezTo>
                  <a:cubicBezTo>
                    <a:pt x="19133" y="12891"/>
                    <a:pt x="24368" y="10983"/>
                    <a:pt x="29840" y="10269"/>
                  </a:cubicBezTo>
                  <a:cubicBezTo>
                    <a:pt x="35848" y="9485"/>
                    <a:pt x="42042" y="10154"/>
                    <a:pt x="47918" y="8679"/>
                  </a:cubicBezTo>
                  <a:cubicBezTo>
                    <a:pt x="50927" y="7925"/>
                    <a:pt x="54869" y="6755"/>
                    <a:pt x="56980" y="4385"/>
                  </a:cubicBezTo>
                  <a:cubicBezTo>
                    <a:pt x="57800" y="3464"/>
                    <a:pt x="58458" y="2369"/>
                    <a:pt x="58926" y="1230"/>
                  </a:cubicBezTo>
                  <a:cubicBezTo>
                    <a:pt x="58983" y="1089"/>
                    <a:pt x="59281" y="0"/>
                    <a:pt x="5920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50" name="Google Shape;250;p21"/>
            <p:cNvSpPr/>
            <p:nvPr/>
          </p:nvSpPr>
          <p:spPr>
            <a:xfrm rot="-10691703" flipH="1">
              <a:off x="1953509" y="5531180"/>
              <a:ext cx="24627" cy="6580"/>
            </a:xfrm>
            <a:custGeom>
              <a:avLst/>
              <a:gdLst/>
              <a:ahLst/>
              <a:cxnLst/>
              <a:rect l="l" t="t" r="r" b="b"/>
              <a:pathLst>
                <a:path w="985" h="246" extrusionOk="0">
                  <a:moveTo>
                    <a:pt x="880" y="1"/>
                  </a:moveTo>
                  <a:cubicBezTo>
                    <a:pt x="872" y="1"/>
                    <a:pt x="864" y="2"/>
                    <a:pt x="856" y="3"/>
                  </a:cubicBezTo>
                  <a:cubicBezTo>
                    <a:pt x="829" y="7"/>
                    <a:pt x="805" y="12"/>
                    <a:pt x="779" y="15"/>
                  </a:cubicBezTo>
                  <a:lnTo>
                    <a:pt x="805" y="12"/>
                  </a:lnTo>
                  <a:lnTo>
                    <a:pt x="805" y="12"/>
                  </a:lnTo>
                  <a:cubicBezTo>
                    <a:pt x="620" y="36"/>
                    <a:pt x="435" y="48"/>
                    <a:pt x="249" y="48"/>
                  </a:cubicBezTo>
                  <a:cubicBezTo>
                    <a:pt x="199" y="48"/>
                    <a:pt x="149" y="47"/>
                    <a:pt x="100" y="45"/>
                  </a:cubicBezTo>
                  <a:cubicBezTo>
                    <a:pt x="45" y="46"/>
                    <a:pt x="1" y="90"/>
                    <a:pt x="1" y="145"/>
                  </a:cubicBezTo>
                  <a:cubicBezTo>
                    <a:pt x="2" y="198"/>
                    <a:pt x="45" y="242"/>
                    <a:pt x="100" y="244"/>
                  </a:cubicBezTo>
                  <a:lnTo>
                    <a:pt x="99" y="244"/>
                  </a:lnTo>
                  <a:cubicBezTo>
                    <a:pt x="145" y="245"/>
                    <a:pt x="192" y="246"/>
                    <a:pt x="239" y="246"/>
                  </a:cubicBezTo>
                  <a:cubicBezTo>
                    <a:pt x="463" y="246"/>
                    <a:pt x="687" y="229"/>
                    <a:pt x="908" y="194"/>
                  </a:cubicBezTo>
                  <a:cubicBezTo>
                    <a:pt x="934" y="188"/>
                    <a:pt x="955" y="171"/>
                    <a:pt x="967" y="149"/>
                  </a:cubicBezTo>
                  <a:cubicBezTo>
                    <a:pt x="981" y="126"/>
                    <a:pt x="984" y="98"/>
                    <a:pt x="978" y="73"/>
                  </a:cubicBezTo>
                  <a:cubicBezTo>
                    <a:pt x="971" y="48"/>
                    <a:pt x="955" y="26"/>
                    <a:pt x="933" y="14"/>
                  </a:cubicBezTo>
                  <a:cubicBezTo>
                    <a:pt x="916" y="5"/>
                    <a:pt x="898" y="1"/>
                    <a:pt x="88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51" name="Google Shape;251;p21"/>
            <p:cNvSpPr/>
            <p:nvPr/>
          </p:nvSpPr>
          <p:spPr>
            <a:xfrm rot="-10691703" flipH="1">
              <a:off x="1973332" y="5522720"/>
              <a:ext cx="15276" cy="6553"/>
            </a:xfrm>
            <a:custGeom>
              <a:avLst/>
              <a:gdLst/>
              <a:ahLst/>
              <a:cxnLst/>
              <a:rect l="l" t="t" r="r" b="b"/>
              <a:pathLst>
                <a:path w="611" h="245" extrusionOk="0">
                  <a:moveTo>
                    <a:pt x="518" y="1"/>
                  </a:moveTo>
                  <a:cubicBezTo>
                    <a:pt x="516" y="1"/>
                    <a:pt x="514" y="1"/>
                    <a:pt x="511" y="1"/>
                  </a:cubicBezTo>
                  <a:lnTo>
                    <a:pt x="99" y="47"/>
                  </a:lnTo>
                  <a:cubicBezTo>
                    <a:pt x="74" y="47"/>
                    <a:pt x="48" y="57"/>
                    <a:pt x="29" y="75"/>
                  </a:cubicBezTo>
                  <a:cubicBezTo>
                    <a:pt x="12" y="94"/>
                    <a:pt x="1" y="119"/>
                    <a:pt x="1" y="146"/>
                  </a:cubicBezTo>
                  <a:cubicBezTo>
                    <a:pt x="1" y="171"/>
                    <a:pt x="12" y="196"/>
                    <a:pt x="29" y="215"/>
                  </a:cubicBezTo>
                  <a:cubicBezTo>
                    <a:pt x="46" y="231"/>
                    <a:pt x="69" y="244"/>
                    <a:pt x="92" y="244"/>
                  </a:cubicBezTo>
                  <a:cubicBezTo>
                    <a:pt x="94" y="244"/>
                    <a:pt x="97" y="244"/>
                    <a:pt x="99" y="244"/>
                  </a:cubicBezTo>
                  <a:lnTo>
                    <a:pt x="511" y="199"/>
                  </a:lnTo>
                  <a:cubicBezTo>
                    <a:pt x="538" y="197"/>
                    <a:pt x="563" y="188"/>
                    <a:pt x="582" y="170"/>
                  </a:cubicBezTo>
                  <a:cubicBezTo>
                    <a:pt x="600" y="151"/>
                    <a:pt x="610" y="126"/>
                    <a:pt x="610" y="100"/>
                  </a:cubicBezTo>
                  <a:cubicBezTo>
                    <a:pt x="610" y="74"/>
                    <a:pt x="600" y="49"/>
                    <a:pt x="582" y="30"/>
                  </a:cubicBezTo>
                  <a:cubicBezTo>
                    <a:pt x="566" y="15"/>
                    <a:pt x="542" y="1"/>
                    <a:pt x="51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52" name="Google Shape;252;p21"/>
            <p:cNvSpPr/>
            <p:nvPr/>
          </p:nvSpPr>
          <p:spPr>
            <a:xfrm rot="-10691703" flipH="1">
              <a:off x="1694811" y="5462963"/>
              <a:ext cx="19602" cy="3932"/>
            </a:xfrm>
            <a:custGeom>
              <a:avLst/>
              <a:gdLst/>
              <a:ahLst/>
              <a:cxnLst/>
              <a:rect l="l" t="t" r="r" b="b"/>
              <a:pathLst>
                <a:path w="784" h="147" extrusionOk="0">
                  <a:moveTo>
                    <a:pt x="320" y="0"/>
                  </a:moveTo>
                  <a:cubicBezTo>
                    <a:pt x="236" y="0"/>
                    <a:pt x="153" y="5"/>
                    <a:pt x="70" y="13"/>
                  </a:cubicBezTo>
                  <a:cubicBezTo>
                    <a:pt x="35" y="18"/>
                    <a:pt x="1" y="42"/>
                    <a:pt x="4" y="80"/>
                  </a:cubicBezTo>
                  <a:cubicBezTo>
                    <a:pt x="5" y="111"/>
                    <a:pt x="30" y="145"/>
                    <a:pt x="64" y="145"/>
                  </a:cubicBezTo>
                  <a:cubicBezTo>
                    <a:pt x="66" y="145"/>
                    <a:pt x="68" y="145"/>
                    <a:pt x="70" y="145"/>
                  </a:cubicBezTo>
                  <a:lnTo>
                    <a:pt x="70" y="146"/>
                  </a:lnTo>
                  <a:cubicBezTo>
                    <a:pt x="145" y="139"/>
                    <a:pt x="221" y="136"/>
                    <a:pt x="296" y="136"/>
                  </a:cubicBezTo>
                  <a:cubicBezTo>
                    <a:pt x="332" y="136"/>
                    <a:pt x="367" y="136"/>
                    <a:pt x="402" y="138"/>
                  </a:cubicBezTo>
                  <a:cubicBezTo>
                    <a:pt x="456" y="141"/>
                    <a:pt x="512" y="141"/>
                    <a:pt x="567" y="144"/>
                  </a:cubicBezTo>
                  <a:cubicBezTo>
                    <a:pt x="570" y="144"/>
                    <a:pt x="572" y="144"/>
                    <a:pt x="575" y="144"/>
                  </a:cubicBezTo>
                  <a:cubicBezTo>
                    <a:pt x="582" y="144"/>
                    <a:pt x="590" y="143"/>
                    <a:pt x="597" y="142"/>
                  </a:cubicBezTo>
                  <a:cubicBezTo>
                    <a:pt x="597" y="142"/>
                    <a:pt x="604" y="140"/>
                    <a:pt x="606" y="139"/>
                  </a:cubicBezTo>
                  <a:lnTo>
                    <a:pt x="606" y="139"/>
                  </a:lnTo>
                  <a:cubicBezTo>
                    <a:pt x="612" y="138"/>
                    <a:pt x="617" y="138"/>
                    <a:pt x="622" y="138"/>
                  </a:cubicBezTo>
                  <a:cubicBezTo>
                    <a:pt x="631" y="138"/>
                    <a:pt x="640" y="139"/>
                    <a:pt x="649" y="140"/>
                  </a:cubicBezTo>
                  <a:cubicBezTo>
                    <a:pt x="677" y="140"/>
                    <a:pt x="704" y="142"/>
                    <a:pt x="732" y="144"/>
                  </a:cubicBezTo>
                  <a:cubicBezTo>
                    <a:pt x="732" y="144"/>
                    <a:pt x="733" y="144"/>
                    <a:pt x="734" y="144"/>
                  </a:cubicBezTo>
                  <a:cubicBezTo>
                    <a:pt x="777" y="144"/>
                    <a:pt x="784" y="77"/>
                    <a:pt x="742" y="66"/>
                  </a:cubicBezTo>
                  <a:cubicBezTo>
                    <a:pt x="716" y="59"/>
                    <a:pt x="689" y="51"/>
                    <a:pt x="662" y="45"/>
                  </a:cubicBezTo>
                  <a:cubicBezTo>
                    <a:pt x="647" y="43"/>
                    <a:pt x="634" y="40"/>
                    <a:pt x="619" y="35"/>
                  </a:cubicBezTo>
                  <a:lnTo>
                    <a:pt x="619" y="35"/>
                  </a:lnTo>
                  <a:cubicBezTo>
                    <a:pt x="617" y="33"/>
                    <a:pt x="611" y="29"/>
                    <a:pt x="611" y="29"/>
                  </a:cubicBezTo>
                  <a:cubicBezTo>
                    <a:pt x="603" y="25"/>
                    <a:pt x="593" y="22"/>
                    <a:pt x="584" y="21"/>
                  </a:cubicBezTo>
                  <a:cubicBezTo>
                    <a:pt x="525" y="11"/>
                    <a:pt x="465" y="4"/>
                    <a:pt x="405" y="2"/>
                  </a:cubicBezTo>
                  <a:cubicBezTo>
                    <a:pt x="376" y="1"/>
                    <a:pt x="348" y="0"/>
                    <a:pt x="32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53" name="Google Shape;253;p21"/>
            <p:cNvSpPr/>
            <p:nvPr/>
          </p:nvSpPr>
          <p:spPr>
            <a:xfrm rot="-10691703" flipH="1">
              <a:off x="1719090" y="5460671"/>
              <a:ext cx="14076" cy="3103"/>
            </a:xfrm>
            <a:custGeom>
              <a:avLst/>
              <a:gdLst/>
              <a:ahLst/>
              <a:cxnLst/>
              <a:rect l="l" t="t" r="r" b="b"/>
              <a:pathLst>
                <a:path w="563" h="116" extrusionOk="0">
                  <a:moveTo>
                    <a:pt x="396" y="1"/>
                  </a:moveTo>
                  <a:cubicBezTo>
                    <a:pt x="357" y="1"/>
                    <a:pt x="319" y="1"/>
                    <a:pt x="280" y="2"/>
                  </a:cubicBezTo>
                  <a:lnTo>
                    <a:pt x="50" y="9"/>
                  </a:lnTo>
                  <a:cubicBezTo>
                    <a:pt x="24" y="9"/>
                    <a:pt x="2" y="32"/>
                    <a:pt x="1" y="59"/>
                  </a:cubicBezTo>
                  <a:cubicBezTo>
                    <a:pt x="2" y="85"/>
                    <a:pt x="24" y="107"/>
                    <a:pt x="50" y="107"/>
                  </a:cubicBezTo>
                  <a:lnTo>
                    <a:pt x="280" y="115"/>
                  </a:lnTo>
                  <a:cubicBezTo>
                    <a:pt x="317" y="116"/>
                    <a:pt x="355" y="116"/>
                    <a:pt x="392" y="116"/>
                  </a:cubicBezTo>
                  <a:lnTo>
                    <a:pt x="451" y="116"/>
                  </a:lnTo>
                  <a:cubicBezTo>
                    <a:pt x="473" y="114"/>
                    <a:pt x="495" y="111"/>
                    <a:pt x="517" y="104"/>
                  </a:cubicBezTo>
                  <a:cubicBezTo>
                    <a:pt x="563" y="94"/>
                    <a:pt x="563" y="23"/>
                    <a:pt x="517" y="13"/>
                  </a:cubicBezTo>
                  <a:cubicBezTo>
                    <a:pt x="497" y="6"/>
                    <a:pt x="476" y="2"/>
                    <a:pt x="45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54" name="Google Shape;254;p21"/>
            <p:cNvSpPr/>
            <p:nvPr/>
          </p:nvSpPr>
          <p:spPr>
            <a:xfrm rot="-10691703" flipH="1">
              <a:off x="1364139" y="5388032"/>
              <a:ext cx="14551" cy="4681"/>
            </a:xfrm>
            <a:custGeom>
              <a:avLst/>
              <a:gdLst/>
              <a:ahLst/>
              <a:cxnLst/>
              <a:rect l="l" t="t" r="r" b="b"/>
              <a:pathLst>
                <a:path w="582" h="175" extrusionOk="0">
                  <a:moveTo>
                    <a:pt x="379" y="1"/>
                  </a:moveTo>
                  <a:cubicBezTo>
                    <a:pt x="353" y="1"/>
                    <a:pt x="326" y="3"/>
                    <a:pt x="299" y="4"/>
                  </a:cubicBezTo>
                  <a:lnTo>
                    <a:pt x="82" y="15"/>
                  </a:lnTo>
                  <a:cubicBezTo>
                    <a:pt x="41" y="18"/>
                    <a:pt x="1" y="51"/>
                    <a:pt x="3" y="94"/>
                  </a:cubicBezTo>
                  <a:cubicBezTo>
                    <a:pt x="5" y="132"/>
                    <a:pt x="34" y="174"/>
                    <a:pt x="74" y="174"/>
                  </a:cubicBezTo>
                  <a:cubicBezTo>
                    <a:pt x="76" y="174"/>
                    <a:pt x="79" y="174"/>
                    <a:pt x="82" y="173"/>
                  </a:cubicBezTo>
                  <a:lnTo>
                    <a:pt x="82" y="174"/>
                  </a:lnTo>
                  <a:lnTo>
                    <a:pt x="273" y="152"/>
                  </a:lnTo>
                  <a:cubicBezTo>
                    <a:pt x="306" y="149"/>
                    <a:pt x="338" y="146"/>
                    <a:pt x="371" y="141"/>
                  </a:cubicBezTo>
                  <a:cubicBezTo>
                    <a:pt x="406" y="136"/>
                    <a:pt x="439" y="128"/>
                    <a:pt x="474" y="121"/>
                  </a:cubicBezTo>
                  <a:cubicBezTo>
                    <a:pt x="508" y="114"/>
                    <a:pt x="565" y="112"/>
                    <a:pt x="576" y="71"/>
                  </a:cubicBezTo>
                  <a:cubicBezTo>
                    <a:pt x="582" y="49"/>
                    <a:pt x="573" y="27"/>
                    <a:pt x="554" y="16"/>
                  </a:cubicBezTo>
                  <a:cubicBezTo>
                    <a:pt x="538" y="6"/>
                    <a:pt x="519" y="5"/>
                    <a:pt x="501" y="5"/>
                  </a:cubicBezTo>
                  <a:cubicBezTo>
                    <a:pt x="498" y="5"/>
                    <a:pt x="494" y="5"/>
                    <a:pt x="491" y="5"/>
                  </a:cubicBezTo>
                  <a:lnTo>
                    <a:pt x="396" y="1"/>
                  </a:lnTo>
                  <a:cubicBezTo>
                    <a:pt x="390" y="1"/>
                    <a:pt x="385" y="1"/>
                    <a:pt x="37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55" name="Google Shape;255;p21"/>
            <p:cNvSpPr/>
            <p:nvPr/>
          </p:nvSpPr>
          <p:spPr>
            <a:xfrm rot="-10691703" flipH="1">
              <a:off x="1383789" y="5398503"/>
              <a:ext cx="11326" cy="3772"/>
            </a:xfrm>
            <a:custGeom>
              <a:avLst/>
              <a:gdLst/>
              <a:ahLst/>
              <a:cxnLst/>
              <a:rect l="l" t="t" r="r" b="b"/>
              <a:pathLst>
                <a:path w="453" h="141" extrusionOk="0">
                  <a:moveTo>
                    <a:pt x="139" y="1"/>
                  </a:moveTo>
                  <a:cubicBezTo>
                    <a:pt x="116" y="1"/>
                    <a:pt x="93" y="1"/>
                    <a:pt x="70" y="1"/>
                  </a:cubicBezTo>
                  <a:cubicBezTo>
                    <a:pt x="32" y="1"/>
                    <a:pt x="2" y="33"/>
                    <a:pt x="1" y="71"/>
                  </a:cubicBezTo>
                  <a:cubicBezTo>
                    <a:pt x="2" y="108"/>
                    <a:pt x="32" y="139"/>
                    <a:pt x="70" y="140"/>
                  </a:cubicBezTo>
                  <a:cubicBezTo>
                    <a:pt x="93" y="140"/>
                    <a:pt x="116" y="140"/>
                    <a:pt x="139" y="140"/>
                  </a:cubicBezTo>
                  <a:cubicBezTo>
                    <a:pt x="174" y="140"/>
                    <a:pt x="208" y="140"/>
                    <a:pt x="242" y="138"/>
                  </a:cubicBezTo>
                  <a:cubicBezTo>
                    <a:pt x="271" y="137"/>
                    <a:pt x="298" y="134"/>
                    <a:pt x="327" y="131"/>
                  </a:cubicBezTo>
                  <a:cubicBezTo>
                    <a:pt x="359" y="126"/>
                    <a:pt x="394" y="126"/>
                    <a:pt x="424" y="110"/>
                  </a:cubicBezTo>
                  <a:cubicBezTo>
                    <a:pt x="452" y="92"/>
                    <a:pt x="452" y="49"/>
                    <a:pt x="424" y="32"/>
                  </a:cubicBezTo>
                  <a:cubicBezTo>
                    <a:pt x="395" y="15"/>
                    <a:pt x="361" y="15"/>
                    <a:pt x="330" y="10"/>
                  </a:cubicBezTo>
                  <a:cubicBezTo>
                    <a:pt x="300" y="7"/>
                    <a:pt x="272" y="4"/>
                    <a:pt x="242" y="3"/>
                  </a:cubicBezTo>
                  <a:cubicBezTo>
                    <a:pt x="208" y="1"/>
                    <a:pt x="174" y="1"/>
                    <a:pt x="13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56" name="Google Shape;256;p21"/>
            <p:cNvSpPr/>
            <p:nvPr/>
          </p:nvSpPr>
          <p:spPr>
            <a:xfrm rot="-10691703" flipH="1">
              <a:off x="2217852" y="5519794"/>
              <a:ext cx="17452" cy="4949"/>
            </a:xfrm>
            <a:custGeom>
              <a:avLst/>
              <a:gdLst/>
              <a:ahLst/>
              <a:cxnLst/>
              <a:rect l="l" t="t" r="r" b="b"/>
              <a:pathLst>
                <a:path w="698" h="185" extrusionOk="0">
                  <a:moveTo>
                    <a:pt x="614" y="1"/>
                  </a:moveTo>
                  <a:cubicBezTo>
                    <a:pt x="612" y="1"/>
                    <a:pt x="609" y="1"/>
                    <a:pt x="607" y="1"/>
                  </a:cubicBezTo>
                  <a:cubicBezTo>
                    <a:pt x="595" y="1"/>
                    <a:pt x="582" y="2"/>
                    <a:pt x="571" y="3"/>
                  </a:cubicBezTo>
                  <a:lnTo>
                    <a:pt x="496" y="11"/>
                  </a:lnTo>
                  <a:cubicBezTo>
                    <a:pt x="447" y="15"/>
                    <a:pt x="399" y="21"/>
                    <a:pt x="349" y="26"/>
                  </a:cubicBezTo>
                  <a:cubicBezTo>
                    <a:pt x="248" y="40"/>
                    <a:pt x="147" y="56"/>
                    <a:pt x="46" y="72"/>
                  </a:cubicBezTo>
                  <a:cubicBezTo>
                    <a:pt x="17" y="75"/>
                    <a:pt x="0" y="110"/>
                    <a:pt x="4" y="135"/>
                  </a:cubicBezTo>
                  <a:cubicBezTo>
                    <a:pt x="8" y="159"/>
                    <a:pt x="29" y="185"/>
                    <a:pt x="55" y="185"/>
                  </a:cubicBezTo>
                  <a:cubicBezTo>
                    <a:pt x="57" y="185"/>
                    <a:pt x="59" y="185"/>
                    <a:pt x="61" y="184"/>
                  </a:cubicBezTo>
                  <a:lnTo>
                    <a:pt x="62" y="184"/>
                  </a:lnTo>
                  <a:cubicBezTo>
                    <a:pt x="164" y="173"/>
                    <a:pt x="266" y="163"/>
                    <a:pt x="367" y="150"/>
                  </a:cubicBezTo>
                  <a:cubicBezTo>
                    <a:pt x="416" y="143"/>
                    <a:pt x="464" y="136"/>
                    <a:pt x="512" y="129"/>
                  </a:cubicBezTo>
                  <a:lnTo>
                    <a:pt x="582" y="116"/>
                  </a:lnTo>
                  <a:cubicBezTo>
                    <a:pt x="596" y="114"/>
                    <a:pt x="609" y="112"/>
                    <a:pt x="621" y="109"/>
                  </a:cubicBezTo>
                  <a:cubicBezTo>
                    <a:pt x="636" y="105"/>
                    <a:pt x="650" y="99"/>
                    <a:pt x="663" y="92"/>
                  </a:cubicBezTo>
                  <a:cubicBezTo>
                    <a:pt x="697" y="71"/>
                    <a:pt x="690" y="19"/>
                    <a:pt x="652" y="7"/>
                  </a:cubicBezTo>
                  <a:cubicBezTo>
                    <a:pt x="640" y="3"/>
                    <a:pt x="627" y="1"/>
                    <a:pt x="61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57" name="Google Shape;257;p21"/>
            <p:cNvSpPr/>
            <p:nvPr/>
          </p:nvSpPr>
          <p:spPr>
            <a:xfrm rot="-10691703" flipH="1">
              <a:off x="2244260" y="5533485"/>
              <a:ext cx="11451" cy="5056"/>
            </a:xfrm>
            <a:custGeom>
              <a:avLst/>
              <a:gdLst/>
              <a:ahLst/>
              <a:cxnLst/>
              <a:rect l="l" t="t" r="r" b="b"/>
              <a:pathLst>
                <a:path w="458" h="189" extrusionOk="0">
                  <a:moveTo>
                    <a:pt x="383" y="0"/>
                  </a:moveTo>
                  <a:cubicBezTo>
                    <a:pt x="369" y="0"/>
                    <a:pt x="356" y="2"/>
                    <a:pt x="343" y="4"/>
                  </a:cubicBezTo>
                  <a:lnTo>
                    <a:pt x="304" y="12"/>
                  </a:lnTo>
                  <a:lnTo>
                    <a:pt x="218" y="30"/>
                  </a:lnTo>
                  <a:cubicBezTo>
                    <a:pt x="162" y="43"/>
                    <a:pt x="106" y="59"/>
                    <a:pt x="50" y="74"/>
                  </a:cubicBezTo>
                  <a:cubicBezTo>
                    <a:pt x="19" y="82"/>
                    <a:pt x="1" y="115"/>
                    <a:pt x="9" y="145"/>
                  </a:cubicBezTo>
                  <a:cubicBezTo>
                    <a:pt x="17" y="172"/>
                    <a:pt x="40" y="189"/>
                    <a:pt x="66" y="189"/>
                  </a:cubicBezTo>
                  <a:cubicBezTo>
                    <a:pt x="71" y="189"/>
                    <a:pt x="77" y="188"/>
                    <a:pt x="82" y="186"/>
                  </a:cubicBezTo>
                  <a:cubicBezTo>
                    <a:pt x="138" y="174"/>
                    <a:pt x="195" y="160"/>
                    <a:pt x="249" y="144"/>
                  </a:cubicBezTo>
                  <a:lnTo>
                    <a:pt x="332" y="121"/>
                  </a:lnTo>
                  <a:cubicBezTo>
                    <a:pt x="344" y="117"/>
                    <a:pt x="359" y="114"/>
                    <a:pt x="372" y="109"/>
                  </a:cubicBezTo>
                  <a:cubicBezTo>
                    <a:pt x="389" y="103"/>
                    <a:pt x="404" y="96"/>
                    <a:pt x="419" y="86"/>
                  </a:cubicBezTo>
                  <a:cubicBezTo>
                    <a:pt x="457" y="62"/>
                    <a:pt x="441" y="3"/>
                    <a:pt x="396" y="1"/>
                  </a:cubicBezTo>
                  <a:cubicBezTo>
                    <a:pt x="391" y="1"/>
                    <a:pt x="387" y="0"/>
                    <a:pt x="38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grpSp>
        <p:nvGrpSpPr>
          <p:cNvPr id="258" name="Google Shape;258;p21"/>
          <p:cNvGrpSpPr/>
          <p:nvPr/>
        </p:nvGrpSpPr>
        <p:grpSpPr>
          <a:xfrm flipH="1">
            <a:off x="9046339" y="-1042381"/>
            <a:ext cx="4168133" cy="3342548"/>
            <a:chOff x="1148343" y="4042262"/>
            <a:chExt cx="736697" cy="590779"/>
          </a:xfrm>
        </p:grpSpPr>
        <p:sp>
          <p:nvSpPr>
            <p:cNvPr id="259" name="Google Shape;259;p21"/>
            <p:cNvSpPr/>
            <p:nvPr/>
          </p:nvSpPr>
          <p:spPr>
            <a:xfrm rot="-2047814">
              <a:off x="1140950" y="4235484"/>
              <a:ext cx="751482" cy="204334"/>
            </a:xfrm>
            <a:custGeom>
              <a:avLst/>
              <a:gdLst/>
              <a:ahLst/>
              <a:cxnLst/>
              <a:rect l="l" t="t" r="r" b="b"/>
              <a:pathLst>
                <a:path w="30058" h="8173" extrusionOk="0">
                  <a:moveTo>
                    <a:pt x="1831" y="0"/>
                  </a:moveTo>
                  <a:cubicBezTo>
                    <a:pt x="1359" y="0"/>
                    <a:pt x="921" y="261"/>
                    <a:pt x="576" y="977"/>
                  </a:cubicBezTo>
                  <a:cubicBezTo>
                    <a:pt x="0" y="2170"/>
                    <a:pt x="458" y="4179"/>
                    <a:pt x="1209" y="5205"/>
                  </a:cubicBezTo>
                  <a:cubicBezTo>
                    <a:pt x="2352" y="6765"/>
                    <a:pt x="4549" y="7016"/>
                    <a:pt x="6482" y="7078"/>
                  </a:cubicBezTo>
                  <a:cubicBezTo>
                    <a:pt x="12255" y="7267"/>
                    <a:pt x="18061" y="6994"/>
                    <a:pt x="23788" y="7750"/>
                  </a:cubicBezTo>
                  <a:cubicBezTo>
                    <a:pt x="25169" y="7932"/>
                    <a:pt x="26573" y="8173"/>
                    <a:pt x="27959" y="8173"/>
                  </a:cubicBezTo>
                  <a:cubicBezTo>
                    <a:pt x="28665" y="8173"/>
                    <a:pt x="29367" y="8110"/>
                    <a:pt x="30058" y="7945"/>
                  </a:cubicBezTo>
                  <a:cubicBezTo>
                    <a:pt x="26482" y="6211"/>
                    <a:pt x="22600" y="5194"/>
                    <a:pt x="18632" y="4954"/>
                  </a:cubicBezTo>
                  <a:cubicBezTo>
                    <a:pt x="16764" y="4841"/>
                    <a:pt x="14885" y="4902"/>
                    <a:pt x="13025" y="4685"/>
                  </a:cubicBezTo>
                  <a:cubicBezTo>
                    <a:pt x="9662" y="4293"/>
                    <a:pt x="6423" y="2958"/>
                    <a:pt x="3732" y="908"/>
                  </a:cubicBezTo>
                  <a:cubicBezTo>
                    <a:pt x="3126" y="447"/>
                    <a:pt x="2449" y="0"/>
                    <a:pt x="183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60" name="Google Shape;260;p21"/>
            <p:cNvSpPr/>
            <p:nvPr/>
          </p:nvSpPr>
          <p:spPr>
            <a:xfrm rot="-2047814">
              <a:off x="1353496" y="4439747"/>
              <a:ext cx="17251" cy="14501"/>
            </a:xfrm>
            <a:custGeom>
              <a:avLst/>
              <a:gdLst/>
              <a:ahLst/>
              <a:cxnLst/>
              <a:rect l="l" t="t" r="r" b="b"/>
              <a:pathLst>
                <a:path w="690" h="580" extrusionOk="0">
                  <a:moveTo>
                    <a:pt x="217" y="194"/>
                  </a:moveTo>
                  <a:cubicBezTo>
                    <a:pt x="217" y="194"/>
                    <a:pt x="218" y="195"/>
                    <a:pt x="219" y="196"/>
                  </a:cubicBezTo>
                  <a:lnTo>
                    <a:pt x="219" y="196"/>
                  </a:lnTo>
                  <a:lnTo>
                    <a:pt x="218" y="196"/>
                  </a:lnTo>
                  <a:cubicBezTo>
                    <a:pt x="217" y="194"/>
                    <a:pt x="217" y="194"/>
                    <a:pt x="217" y="194"/>
                  </a:cubicBezTo>
                  <a:close/>
                  <a:moveTo>
                    <a:pt x="364" y="341"/>
                  </a:moveTo>
                  <a:cubicBezTo>
                    <a:pt x="365" y="342"/>
                    <a:pt x="365" y="342"/>
                    <a:pt x="366" y="342"/>
                  </a:cubicBezTo>
                  <a:lnTo>
                    <a:pt x="364" y="341"/>
                  </a:lnTo>
                  <a:close/>
                  <a:moveTo>
                    <a:pt x="68" y="0"/>
                  </a:moveTo>
                  <a:cubicBezTo>
                    <a:pt x="56" y="0"/>
                    <a:pt x="46" y="3"/>
                    <a:pt x="37" y="8"/>
                  </a:cubicBezTo>
                  <a:cubicBezTo>
                    <a:pt x="6" y="28"/>
                    <a:pt x="1" y="61"/>
                    <a:pt x="15" y="94"/>
                  </a:cubicBezTo>
                  <a:cubicBezTo>
                    <a:pt x="59" y="194"/>
                    <a:pt x="122" y="285"/>
                    <a:pt x="199" y="363"/>
                  </a:cubicBezTo>
                  <a:cubicBezTo>
                    <a:pt x="239" y="403"/>
                    <a:pt x="282" y="438"/>
                    <a:pt x="328" y="471"/>
                  </a:cubicBezTo>
                  <a:cubicBezTo>
                    <a:pt x="374" y="503"/>
                    <a:pt x="425" y="528"/>
                    <a:pt x="478" y="545"/>
                  </a:cubicBezTo>
                  <a:cubicBezTo>
                    <a:pt x="506" y="554"/>
                    <a:pt x="534" y="563"/>
                    <a:pt x="563" y="569"/>
                  </a:cubicBezTo>
                  <a:cubicBezTo>
                    <a:pt x="585" y="576"/>
                    <a:pt x="608" y="579"/>
                    <a:pt x="631" y="579"/>
                  </a:cubicBezTo>
                  <a:cubicBezTo>
                    <a:pt x="641" y="579"/>
                    <a:pt x="650" y="579"/>
                    <a:pt x="660" y="578"/>
                  </a:cubicBezTo>
                  <a:cubicBezTo>
                    <a:pt x="689" y="573"/>
                    <a:pt x="686" y="535"/>
                    <a:pt x="667" y="522"/>
                  </a:cubicBezTo>
                  <a:cubicBezTo>
                    <a:pt x="647" y="508"/>
                    <a:pt x="625" y="497"/>
                    <a:pt x="602" y="489"/>
                  </a:cubicBezTo>
                  <a:cubicBezTo>
                    <a:pt x="579" y="479"/>
                    <a:pt x="557" y="468"/>
                    <a:pt x="534" y="455"/>
                  </a:cubicBezTo>
                  <a:cubicBezTo>
                    <a:pt x="491" y="431"/>
                    <a:pt x="450" y="400"/>
                    <a:pt x="408" y="373"/>
                  </a:cubicBezTo>
                  <a:cubicBezTo>
                    <a:pt x="397" y="367"/>
                    <a:pt x="388" y="359"/>
                    <a:pt x="377" y="352"/>
                  </a:cubicBezTo>
                  <a:lnTo>
                    <a:pt x="365" y="341"/>
                  </a:lnTo>
                  <a:cubicBezTo>
                    <a:pt x="364" y="341"/>
                    <a:pt x="363" y="340"/>
                    <a:pt x="363" y="340"/>
                  </a:cubicBezTo>
                  <a:lnTo>
                    <a:pt x="363" y="340"/>
                  </a:lnTo>
                  <a:lnTo>
                    <a:pt x="356" y="335"/>
                  </a:lnTo>
                  <a:cubicBezTo>
                    <a:pt x="336" y="319"/>
                    <a:pt x="317" y="302"/>
                    <a:pt x="299" y="284"/>
                  </a:cubicBezTo>
                  <a:cubicBezTo>
                    <a:pt x="281" y="268"/>
                    <a:pt x="263" y="249"/>
                    <a:pt x="247" y="230"/>
                  </a:cubicBezTo>
                  <a:cubicBezTo>
                    <a:pt x="238" y="221"/>
                    <a:pt x="231" y="212"/>
                    <a:pt x="223" y="201"/>
                  </a:cubicBezTo>
                  <a:lnTo>
                    <a:pt x="219" y="197"/>
                  </a:lnTo>
                  <a:cubicBezTo>
                    <a:pt x="214" y="190"/>
                    <a:pt x="211" y="185"/>
                    <a:pt x="206" y="179"/>
                  </a:cubicBezTo>
                  <a:cubicBezTo>
                    <a:pt x="173" y="133"/>
                    <a:pt x="144" y="83"/>
                    <a:pt x="121" y="30"/>
                  </a:cubicBezTo>
                  <a:cubicBezTo>
                    <a:pt x="113" y="11"/>
                    <a:pt x="90" y="0"/>
                    <a:pt x="6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61" name="Google Shape;261;p21"/>
            <p:cNvSpPr/>
            <p:nvPr/>
          </p:nvSpPr>
          <p:spPr>
            <a:xfrm rot="-2047814">
              <a:off x="1371753" y="4457411"/>
              <a:ext cx="19051" cy="9500"/>
            </a:xfrm>
            <a:custGeom>
              <a:avLst/>
              <a:gdLst/>
              <a:ahLst/>
              <a:cxnLst/>
              <a:rect l="l" t="t" r="r" b="b"/>
              <a:pathLst>
                <a:path w="762" h="380" extrusionOk="0">
                  <a:moveTo>
                    <a:pt x="556" y="240"/>
                  </a:moveTo>
                  <a:lnTo>
                    <a:pt x="556" y="240"/>
                  </a:lnTo>
                  <a:cubicBezTo>
                    <a:pt x="558" y="240"/>
                    <a:pt x="560" y="240"/>
                    <a:pt x="562" y="240"/>
                  </a:cubicBezTo>
                  <a:cubicBezTo>
                    <a:pt x="562" y="240"/>
                    <a:pt x="558" y="240"/>
                    <a:pt x="556" y="240"/>
                  </a:cubicBezTo>
                  <a:close/>
                  <a:moveTo>
                    <a:pt x="65" y="0"/>
                  </a:moveTo>
                  <a:cubicBezTo>
                    <a:pt x="50" y="0"/>
                    <a:pt x="35" y="6"/>
                    <a:pt x="23" y="18"/>
                  </a:cubicBezTo>
                  <a:cubicBezTo>
                    <a:pt x="0" y="41"/>
                    <a:pt x="0" y="78"/>
                    <a:pt x="23" y="102"/>
                  </a:cubicBezTo>
                  <a:cubicBezTo>
                    <a:pt x="169" y="252"/>
                    <a:pt x="361" y="348"/>
                    <a:pt x="567" y="375"/>
                  </a:cubicBezTo>
                  <a:cubicBezTo>
                    <a:pt x="584" y="378"/>
                    <a:pt x="600" y="380"/>
                    <a:pt x="617" y="380"/>
                  </a:cubicBezTo>
                  <a:cubicBezTo>
                    <a:pt x="656" y="380"/>
                    <a:pt x="695" y="372"/>
                    <a:pt x="731" y="356"/>
                  </a:cubicBezTo>
                  <a:cubicBezTo>
                    <a:pt x="749" y="350"/>
                    <a:pt x="760" y="333"/>
                    <a:pt x="761" y="313"/>
                  </a:cubicBezTo>
                  <a:cubicBezTo>
                    <a:pt x="761" y="290"/>
                    <a:pt x="742" y="275"/>
                    <a:pt x="722" y="269"/>
                  </a:cubicBezTo>
                  <a:cubicBezTo>
                    <a:pt x="700" y="261"/>
                    <a:pt x="677" y="255"/>
                    <a:pt x="653" y="252"/>
                  </a:cubicBezTo>
                  <a:cubicBezTo>
                    <a:pt x="638" y="249"/>
                    <a:pt x="622" y="248"/>
                    <a:pt x="607" y="246"/>
                  </a:cubicBezTo>
                  <a:cubicBezTo>
                    <a:pt x="603" y="246"/>
                    <a:pt x="600" y="245"/>
                    <a:pt x="597" y="245"/>
                  </a:cubicBezTo>
                  <a:cubicBezTo>
                    <a:pt x="598" y="245"/>
                    <a:pt x="599" y="245"/>
                    <a:pt x="600" y="245"/>
                  </a:cubicBezTo>
                  <a:lnTo>
                    <a:pt x="600" y="245"/>
                  </a:lnTo>
                  <a:cubicBezTo>
                    <a:pt x="599" y="245"/>
                    <a:pt x="597" y="245"/>
                    <a:pt x="595" y="245"/>
                  </a:cubicBezTo>
                  <a:cubicBezTo>
                    <a:pt x="586" y="243"/>
                    <a:pt x="577" y="242"/>
                    <a:pt x="568" y="241"/>
                  </a:cubicBezTo>
                  <a:lnTo>
                    <a:pt x="560" y="240"/>
                  </a:lnTo>
                  <a:cubicBezTo>
                    <a:pt x="556" y="240"/>
                    <a:pt x="554" y="240"/>
                    <a:pt x="555" y="240"/>
                  </a:cubicBezTo>
                  <a:cubicBezTo>
                    <a:pt x="555" y="240"/>
                    <a:pt x="555" y="240"/>
                    <a:pt x="556" y="240"/>
                  </a:cubicBezTo>
                  <a:lnTo>
                    <a:pt x="556" y="240"/>
                  </a:lnTo>
                  <a:cubicBezTo>
                    <a:pt x="553" y="240"/>
                    <a:pt x="550" y="239"/>
                    <a:pt x="546" y="238"/>
                  </a:cubicBezTo>
                  <a:cubicBezTo>
                    <a:pt x="534" y="236"/>
                    <a:pt x="520" y="234"/>
                    <a:pt x="508" y="231"/>
                  </a:cubicBezTo>
                  <a:cubicBezTo>
                    <a:pt x="460" y="220"/>
                    <a:pt x="412" y="207"/>
                    <a:pt x="367" y="189"/>
                  </a:cubicBezTo>
                  <a:lnTo>
                    <a:pt x="358" y="184"/>
                  </a:lnTo>
                  <a:lnTo>
                    <a:pt x="339" y="176"/>
                  </a:lnTo>
                  <a:cubicBezTo>
                    <a:pt x="325" y="171"/>
                    <a:pt x="313" y="164"/>
                    <a:pt x="301" y="158"/>
                  </a:cubicBezTo>
                  <a:cubicBezTo>
                    <a:pt x="276" y="145"/>
                    <a:pt x="253" y="132"/>
                    <a:pt x="230" y="117"/>
                  </a:cubicBezTo>
                  <a:cubicBezTo>
                    <a:pt x="218" y="110"/>
                    <a:pt x="207" y="101"/>
                    <a:pt x="195" y="93"/>
                  </a:cubicBezTo>
                  <a:lnTo>
                    <a:pt x="178" y="81"/>
                  </a:lnTo>
                  <a:lnTo>
                    <a:pt x="176" y="79"/>
                  </a:lnTo>
                  <a:lnTo>
                    <a:pt x="170" y="74"/>
                  </a:lnTo>
                  <a:cubicBezTo>
                    <a:pt x="148" y="57"/>
                    <a:pt x="127" y="38"/>
                    <a:pt x="107" y="18"/>
                  </a:cubicBezTo>
                  <a:cubicBezTo>
                    <a:pt x="95" y="6"/>
                    <a:pt x="80" y="0"/>
                    <a:pt x="6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1">
  <p:cSld name="CUSTOM_3"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22"/>
          <p:cNvSpPr txBox="1">
            <a:spLocks noGrp="1"/>
          </p:cNvSpPr>
          <p:nvPr>
            <p:ph type="title"/>
          </p:nvPr>
        </p:nvSpPr>
        <p:spPr>
          <a:xfrm>
            <a:off x="960000" y="946967"/>
            <a:ext cx="5288400" cy="141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64" name="Google Shape;264;p22"/>
          <p:cNvSpPr txBox="1">
            <a:spLocks noGrp="1"/>
          </p:cNvSpPr>
          <p:nvPr>
            <p:ph type="ctrTitle" idx="2"/>
          </p:nvPr>
        </p:nvSpPr>
        <p:spPr>
          <a:xfrm flipH="1">
            <a:off x="1643200" y="4064000"/>
            <a:ext cx="2927200" cy="49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65" name="Google Shape;265;p22"/>
          <p:cNvSpPr txBox="1">
            <a:spLocks noGrp="1"/>
          </p:cNvSpPr>
          <p:nvPr>
            <p:ph type="subTitle" idx="1"/>
          </p:nvPr>
        </p:nvSpPr>
        <p:spPr>
          <a:xfrm flipH="1">
            <a:off x="1643167" y="4387629"/>
            <a:ext cx="29272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66" name="Google Shape;266;p22"/>
          <p:cNvSpPr txBox="1">
            <a:spLocks noGrp="1"/>
          </p:cNvSpPr>
          <p:nvPr>
            <p:ph type="ctrTitle" idx="3"/>
          </p:nvPr>
        </p:nvSpPr>
        <p:spPr>
          <a:xfrm flipH="1">
            <a:off x="4632400" y="2844736"/>
            <a:ext cx="2927200" cy="49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67" name="Google Shape;267;p22"/>
          <p:cNvSpPr txBox="1">
            <a:spLocks noGrp="1"/>
          </p:cNvSpPr>
          <p:nvPr>
            <p:ph type="subTitle" idx="4"/>
          </p:nvPr>
        </p:nvSpPr>
        <p:spPr>
          <a:xfrm flipH="1">
            <a:off x="4632400" y="3168429"/>
            <a:ext cx="29272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68" name="Google Shape;268;p22"/>
          <p:cNvSpPr txBox="1">
            <a:spLocks noGrp="1"/>
          </p:cNvSpPr>
          <p:nvPr>
            <p:ph type="ctrTitle" idx="5"/>
          </p:nvPr>
        </p:nvSpPr>
        <p:spPr>
          <a:xfrm flipH="1">
            <a:off x="7621633" y="4063935"/>
            <a:ext cx="2927200" cy="49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69" name="Google Shape;269;p22"/>
          <p:cNvSpPr txBox="1">
            <a:spLocks noGrp="1"/>
          </p:cNvSpPr>
          <p:nvPr>
            <p:ph type="subTitle" idx="6"/>
          </p:nvPr>
        </p:nvSpPr>
        <p:spPr>
          <a:xfrm flipH="1">
            <a:off x="7621600" y="4387629"/>
            <a:ext cx="29272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grpSp>
        <p:nvGrpSpPr>
          <p:cNvPr id="270" name="Google Shape;270;p22"/>
          <p:cNvGrpSpPr/>
          <p:nvPr/>
        </p:nvGrpSpPr>
        <p:grpSpPr>
          <a:xfrm>
            <a:off x="-309225" y="-3778866"/>
            <a:ext cx="13098431" cy="5274407"/>
            <a:chOff x="-231919" y="-2834150"/>
            <a:chExt cx="9823823" cy="3955805"/>
          </a:xfrm>
        </p:grpSpPr>
        <p:sp>
          <p:nvSpPr>
            <p:cNvPr id="271" name="Google Shape;271;p22"/>
            <p:cNvSpPr/>
            <p:nvPr/>
          </p:nvSpPr>
          <p:spPr>
            <a:xfrm>
              <a:off x="-231919" y="-2834150"/>
              <a:ext cx="9823823" cy="3955805"/>
            </a:xfrm>
            <a:custGeom>
              <a:avLst/>
              <a:gdLst/>
              <a:ahLst/>
              <a:cxnLst/>
              <a:rect l="l" t="t" r="r" b="b"/>
              <a:pathLst>
                <a:path w="67670" h="27249" extrusionOk="0">
                  <a:moveTo>
                    <a:pt x="3560" y="1"/>
                  </a:moveTo>
                  <a:cubicBezTo>
                    <a:pt x="3394" y="1"/>
                    <a:pt x="3170" y="111"/>
                    <a:pt x="2802" y="368"/>
                  </a:cubicBezTo>
                  <a:cubicBezTo>
                    <a:pt x="2208" y="783"/>
                    <a:pt x="1833" y="1618"/>
                    <a:pt x="1678" y="2302"/>
                  </a:cubicBezTo>
                  <a:cubicBezTo>
                    <a:pt x="928" y="5612"/>
                    <a:pt x="1" y="10647"/>
                    <a:pt x="2647" y="12773"/>
                  </a:cubicBezTo>
                  <a:cubicBezTo>
                    <a:pt x="7827" y="16938"/>
                    <a:pt x="17880" y="15971"/>
                    <a:pt x="24025" y="18503"/>
                  </a:cubicBezTo>
                  <a:cubicBezTo>
                    <a:pt x="27934" y="20114"/>
                    <a:pt x="31555" y="22514"/>
                    <a:pt x="35681" y="23440"/>
                  </a:cubicBezTo>
                  <a:cubicBezTo>
                    <a:pt x="37802" y="23915"/>
                    <a:pt x="39978" y="23983"/>
                    <a:pt x="42159" y="23983"/>
                  </a:cubicBezTo>
                  <a:cubicBezTo>
                    <a:pt x="43024" y="23983"/>
                    <a:pt x="43891" y="23972"/>
                    <a:pt x="44755" y="23972"/>
                  </a:cubicBezTo>
                  <a:cubicBezTo>
                    <a:pt x="45000" y="23972"/>
                    <a:pt x="45246" y="23973"/>
                    <a:pt x="45491" y="23975"/>
                  </a:cubicBezTo>
                  <a:cubicBezTo>
                    <a:pt x="51084" y="24026"/>
                    <a:pt x="56648" y="24790"/>
                    <a:pt x="62049" y="26248"/>
                  </a:cubicBezTo>
                  <a:cubicBezTo>
                    <a:pt x="63761" y="26711"/>
                    <a:pt x="65492" y="27248"/>
                    <a:pt x="67258" y="27248"/>
                  </a:cubicBezTo>
                  <a:cubicBezTo>
                    <a:pt x="67395" y="27248"/>
                    <a:pt x="67532" y="27245"/>
                    <a:pt x="67669" y="27238"/>
                  </a:cubicBezTo>
                  <a:cubicBezTo>
                    <a:pt x="66830" y="24189"/>
                    <a:pt x="63940" y="22096"/>
                    <a:pt x="60932" y="21123"/>
                  </a:cubicBezTo>
                  <a:cubicBezTo>
                    <a:pt x="57924" y="20149"/>
                    <a:pt x="54714" y="20060"/>
                    <a:pt x="51590" y="19569"/>
                  </a:cubicBezTo>
                  <a:cubicBezTo>
                    <a:pt x="44095" y="18395"/>
                    <a:pt x="37148" y="14931"/>
                    <a:pt x="29754" y="13234"/>
                  </a:cubicBezTo>
                  <a:cubicBezTo>
                    <a:pt x="26948" y="12589"/>
                    <a:pt x="21937" y="10851"/>
                    <a:pt x="19149" y="10133"/>
                  </a:cubicBezTo>
                  <a:cubicBezTo>
                    <a:pt x="17726" y="9767"/>
                    <a:pt x="16426" y="9689"/>
                    <a:pt x="15201" y="9689"/>
                  </a:cubicBezTo>
                  <a:cubicBezTo>
                    <a:pt x="14295" y="9689"/>
                    <a:pt x="13429" y="9732"/>
                    <a:pt x="12585" y="9732"/>
                  </a:cubicBezTo>
                  <a:cubicBezTo>
                    <a:pt x="10596" y="9732"/>
                    <a:pt x="8725" y="9495"/>
                    <a:pt x="6716" y="7905"/>
                  </a:cubicBezTo>
                  <a:cubicBezTo>
                    <a:pt x="5204" y="6711"/>
                    <a:pt x="5431" y="2166"/>
                    <a:pt x="4291" y="731"/>
                  </a:cubicBezTo>
                  <a:cubicBezTo>
                    <a:pt x="3950" y="300"/>
                    <a:pt x="3834" y="1"/>
                    <a:pt x="3560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grpSp>
          <p:nvGrpSpPr>
            <p:cNvPr id="272" name="Google Shape;272;p22"/>
            <p:cNvGrpSpPr/>
            <p:nvPr/>
          </p:nvGrpSpPr>
          <p:grpSpPr>
            <a:xfrm>
              <a:off x="5153723" y="231164"/>
              <a:ext cx="244251" cy="129674"/>
              <a:chOff x="4944000" y="1355175"/>
              <a:chExt cx="24250" cy="12875"/>
            </a:xfrm>
          </p:grpSpPr>
          <p:sp>
            <p:nvSpPr>
              <p:cNvPr id="273" name="Google Shape;273;p22"/>
              <p:cNvSpPr/>
              <p:nvPr/>
            </p:nvSpPr>
            <p:spPr>
              <a:xfrm>
                <a:off x="4944000" y="1355175"/>
                <a:ext cx="1625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650" h="168" extrusionOk="0">
                    <a:moveTo>
                      <a:pt x="334" y="0"/>
                    </a:moveTo>
                    <a:lnTo>
                      <a:pt x="84" y="2"/>
                    </a:lnTo>
                    <a:cubicBezTo>
                      <a:pt x="41" y="2"/>
                      <a:pt x="0" y="39"/>
                      <a:pt x="2" y="84"/>
                    </a:cubicBezTo>
                    <a:cubicBezTo>
                      <a:pt x="3" y="129"/>
                      <a:pt x="39" y="165"/>
                      <a:pt x="84" y="166"/>
                    </a:cubicBezTo>
                    <a:lnTo>
                      <a:pt x="84" y="165"/>
                    </a:lnTo>
                    <a:lnTo>
                      <a:pt x="334" y="167"/>
                    </a:lnTo>
                    <a:lnTo>
                      <a:pt x="459" y="167"/>
                    </a:lnTo>
                    <a:cubicBezTo>
                      <a:pt x="463" y="167"/>
                      <a:pt x="467" y="167"/>
                      <a:pt x="471" y="167"/>
                    </a:cubicBezTo>
                    <a:cubicBezTo>
                      <a:pt x="492" y="167"/>
                      <a:pt x="513" y="165"/>
                      <a:pt x="535" y="159"/>
                    </a:cubicBezTo>
                    <a:cubicBezTo>
                      <a:pt x="555" y="154"/>
                      <a:pt x="575" y="147"/>
                      <a:pt x="595" y="139"/>
                    </a:cubicBezTo>
                    <a:cubicBezTo>
                      <a:pt x="649" y="123"/>
                      <a:pt x="649" y="45"/>
                      <a:pt x="595" y="28"/>
                    </a:cubicBezTo>
                    <a:lnTo>
                      <a:pt x="538" y="9"/>
                    </a:lnTo>
                    <a:cubicBezTo>
                      <a:pt x="518" y="4"/>
                      <a:pt x="498" y="1"/>
                      <a:pt x="478" y="1"/>
                    </a:cubicBezTo>
                    <a:cubicBezTo>
                      <a:pt x="472" y="1"/>
                      <a:pt x="467" y="1"/>
                      <a:pt x="462" y="1"/>
                    </a:cubicBezTo>
                    <a:cubicBezTo>
                      <a:pt x="420" y="0"/>
                      <a:pt x="377" y="0"/>
                      <a:pt x="33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274" name="Google Shape;274;p22"/>
              <p:cNvSpPr/>
              <p:nvPr/>
            </p:nvSpPr>
            <p:spPr>
              <a:xfrm>
                <a:off x="4958550" y="1363500"/>
                <a:ext cx="9700" cy="4550"/>
              </a:xfrm>
              <a:custGeom>
                <a:avLst/>
                <a:gdLst/>
                <a:ahLst/>
                <a:cxnLst/>
                <a:rect l="l" t="t" r="r" b="b"/>
                <a:pathLst>
                  <a:path w="388" h="182" extrusionOk="0">
                    <a:moveTo>
                      <a:pt x="90" y="0"/>
                    </a:moveTo>
                    <a:cubicBezTo>
                      <a:pt x="40" y="1"/>
                      <a:pt x="0" y="42"/>
                      <a:pt x="0" y="91"/>
                    </a:cubicBezTo>
                    <a:cubicBezTo>
                      <a:pt x="1" y="141"/>
                      <a:pt x="40" y="181"/>
                      <a:pt x="90" y="182"/>
                    </a:cubicBezTo>
                    <a:lnTo>
                      <a:pt x="90" y="181"/>
                    </a:lnTo>
                    <a:lnTo>
                      <a:pt x="160" y="180"/>
                    </a:lnTo>
                    <a:lnTo>
                      <a:pt x="197" y="180"/>
                    </a:lnTo>
                    <a:cubicBezTo>
                      <a:pt x="208" y="180"/>
                      <a:pt x="219" y="178"/>
                      <a:pt x="230" y="174"/>
                    </a:cubicBezTo>
                    <a:cubicBezTo>
                      <a:pt x="236" y="172"/>
                      <a:pt x="241" y="170"/>
                      <a:pt x="248" y="168"/>
                    </a:cubicBezTo>
                    <a:cubicBezTo>
                      <a:pt x="294" y="154"/>
                      <a:pt x="388" y="161"/>
                      <a:pt x="388" y="91"/>
                    </a:cubicBezTo>
                    <a:cubicBezTo>
                      <a:pt x="387" y="64"/>
                      <a:pt x="369" y="42"/>
                      <a:pt x="344" y="33"/>
                    </a:cubicBezTo>
                    <a:cubicBezTo>
                      <a:pt x="333" y="30"/>
                      <a:pt x="323" y="27"/>
                      <a:pt x="312" y="26"/>
                    </a:cubicBezTo>
                    <a:cubicBezTo>
                      <a:pt x="290" y="23"/>
                      <a:pt x="269" y="18"/>
                      <a:pt x="248" y="13"/>
                    </a:cubicBezTo>
                    <a:cubicBezTo>
                      <a:pt x="241" y="11"/>
                      <a:pt x="236" y="9"/>
                      <a:pt x="230" y="7"/>
                    </a:cubicBezTo>
                    <a:cubicBezTo>
                      <a:pt x="219" y="4"/>
                      <a:pt x="208" y="1"/>
                      <a:pt x="197" y="1"/>
                    </a:cubicBezTo>
                    <a:lnTo>
                      <a:pt x="162" y="1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275" name="Google Shape;275;p22"/>
            <p:cNvGrpSpPr/>
            <p:nvPr/>
          </p:nvGrpSpPr>
          <p:grpSpPr>
            <a:xfrm>
              <a:off x="8423998" y="360839"/>
              <a:ext cx="244251" cy="129674"/>
              <a:chOff x="4944000" y="1355175"/>
              <a:chExt cx="24250" cy="12875"/>
            </a:xfrm>
          </p:grpSpPr>
          <p:sp>
            <p:nvSpPr>
              <p:cNvPr id="276" name="Google Shape;276;p22"/>
              <p:cNvSpPr/>
              <p:nvPr/>
            </p:nvSpPr>
            <p:spPr>
              <a:xfrm>
                <a:off x="4944000" y="1355175"/>
                <a:ext cx="1625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650" h="168" extrusionOk="0">
                    <a:moveTo>
                      <a:pt x="334" y="0"/>
                    </a:moveTo>
                    <a:lnTo>
                      <a:pt x="84" y="2"/>
                    </a:lnTo>
                    <a:cubicBezTo>
                      <a:pt x="41" y="2"/>
                      <a:pt x="0" y="39"/>
                      <a:pt x="2" y="84"/>
                    </a:cubicBezTo>
                    <a:cubicBezTo>
                      <a:pt x="3" y="129"/>
                      <a:pt x="39" y="165"/>
                      <a:pt x="84" y="166"/>
                    </a:cubicBezTo>
                    <a:lnTo>
                      <a:pt x="84" y="165"/>
                    </a:lnTo>
                    <a:lnTo>
                      <a:pt x="334" y="167"/>
                    </a:lnTo>
                    <a:lnTo>
                      <a:pt x="459" y="167"/>
                    </a:lnTo>
                    <a:cubicBezTo>
                      <a:pt x="463" y="167"/>
                      <a:pt x="467" y="167"/>
                      <a:pt x="471" y="167"/>
                    </a:cubicBezTo>
                    <a:cubicBezTo>
                      <a:pt x="492" y="167"/>
                      <a:pt x="513" y="165"/>
                      <a:pt x="535" y="159"/>
                    </a:cubicBezTo>
                    <a:cubicBezTo>
                      <a:pt x="555" y="154"/>
                      <a:pt x="575" y="147"/>
                      <a:pt x="595" y="139"/>
                    </a:cubicBezTo>
                    <a:cubicBezTo>
                      <a:pt x="649" y="123"/>
                      <a:pt x="649" y="45"/>
                      <a:pt x="595" y="28"/>
                    </a:cubicBezTo>
                    <a:lnTo>
                      <a:pt x="538" y="9"/>
                    </a:lnTo>
                    <a:cubicBezTo>
                      <a:pt x="518" y="4"/>
                      <a:pt x="498" y="1"/>
                      <a:pt x="478" y="1"/>
                    </a:cubicBezTo>
                    <a:cubicBezTo>
                      <a:pt x="472" y="1"/>
                      <a:pt x="467" y="1"/>
                      <a:pt x="462" y="1"/>
                    </a:cubicBezTo>
                    <a:cubicBezTo>
                      <a:pt x="420" y="0"/>
                      <a:pt x="377" y="0"/>
                      <a:pt x="33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277" name="Google Shape;277;p22"/>
              <p:cNvSpPr/>
              <p:nvPr/>
            </p:nvSpPr>
            <p:spPr>
              <a:xfrm>
                <a:off x="4958550" y="1363500"/>
                <a:ext cx="9700" cy="4550"/>
              </a:xfrm>
              <a:custGeom>
                <a:avLst/>
                <a:gdLst/>
                <a:ahLst/>
                <a:cxnLst/>
                <a:rect l="l" t="t" r="r" b="b"/>
                <a:pathLst>
                  <a:path w="388" h="182" extrusionOk="0">
                    <a:moveTo>
                      <a:pt x="90" y="0"/>
                    </a:moveTo>
                    <a:cubicBezTo>
                      <a:pt x="40" y="1"/>
                      <a:pt x="0" y="42"/>
                      <a:pt x="0" y="91"/>
                    </a:cubicBezTo>
                    <a:cubicBezTo>
                      <a:pt x="1" y="141"/>
                      <a:pt x="40" y="181"/>
                      <a:pt x="90" y="182"/>
                    </a:cubicBezTo>
                    <a:lnTo>
                      <a:pt x="90" y="181"/>
                    </a:lnTo>
                    <a:lnTo>
                      <a:pt x="160" y="180"/>
                    </a:lnTo>
                    <a:lnTo>
                      <a:pt x="197" y="180"/>
                    </a:lnTo>
                    <a:cubicBezTo>
                      <a:pt x="208" y="180"/>
                      <a:pt x="219" y="178"/>
                      <a:pt x="230" y="174"/>
                    </a:cubicBezTo>
                    <a:cubicBezTo>
                      <a:pt x="236" y="172"/>
                      <a:pt x="241" y="170"/>
                      <a:pt x="248" y="168"/>
                    </a:cubicBezTo>
                    <a:cubicBezTo>
                      <a:pt x="294" y="154"/>
                      <a:pt x="388" y="161"/>
                      <a:pt x="388" y="91"/>
                    </a:cubicBezTo>
                    <a:cubicBezTo>
                      <a:pt x="387" y="64"/>
                      <a:pt x="369" y="42"/>
                      <a:pt x="344" y="33"/>
                    </a:cubicBezTo>
                    <a:cubicBezTo>
                      <a:pt x="333" y="30"/>
                      <a:pt x="323" y="27"/>
                      <a:pt x="312" y="26"/>
                    </a:cubicBezTo>
                    <a:cubicBezTo>
                      <a:pt x="290" y="23"/>
                      <a:pt x="269" y="18"/>
                      <a:pt x="248" y="13"/>
                    </a:cubicBezTo>
                    <a:cubicBezTo>
                      <a:pt x="241" y="11"/>
                      <a:pt x="236" y="9"/>
                      <a:pt x="230" y="7"/>
                    </a:cubicBezTo>
                    <a:cubicBezTo>
                      <a:pt x="219" y="4"/>
                      <a:pt x="208" y="1"/>
                      <a:pt x="197" y="1"/>
                    </a:cubicBezTo>
                    <a:lnTo>
                      <a:pt x="162" y="1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278" name="Google Shape;278;p22"/>
            <p:cNvGrpSpPr/>
            <p:nvPr/>
          </p:nvGrpSpPr>
          <p:grpSpPr>
            <a:xfrm>
              <a:off x="6623773" y="141764"/>
              <a:ext cx="244251" cy="129674"/>
              <a:chOff x="4944000" y="1355175"/>
              <a:chExt cx="24250" cy="12875"/>
            </a:xfrm>
          </p:grpSpPr>
          <p:sp>
            <p:nvSpPr>
              <p:cNvPr id="279" name="Google Shape;279;p22"/>
              <p:cNvSpPr/>
              <p:nvPr/>
            </p:nvSpPr>
            <p:spPr>
              <a:xfrm>
                <a:off x="4944000" y="1355175"/>
                <a:ext cx="1625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650" h="168" extrusionOk="0">
                    <a:moveTo>
                      <a:pt x="334" y="0"/>
                    </a:moveTo>
                    <a:lnTo>
                      <a:pt x="84" y="2"/>
                    </a:lnTo>
                    <a:cubicBezTo>
                      <a:pt x="41" y="2"/>
                      <a:pt x="0" y="39"/>
                      <a:pt x="2" y="84"/>
                    </a:cubicBezTo>
                    <a:cubicBezTo>
                      <a:pt x="3" y="129"/>
                      <a:pt x="39" y="165"/>
                      <a:pt x="84" y="166"/>
                    </a:cubicBezTo>
                    <a:lnTo>
                      <a:pt x="84" y="165"/>
                    </a:lnTo>
                    <a:lnTo>
                      <a:pt x="334" y="167"/>
                    </a:lnTo>
                    <a:lnTo>
                      <a:pt x="459" y="167"/>
                    </a:lnTo>
                    <a:cubicBezTo>
                      <a:pt x="463" y="167"/>
                      <a:pt x="467" y="167"/>
                      <a:pt x="471" y="167"/>
                    </a:cubicBezTo>
                    <a:cubicBezTo>
                      <a:pt x="492" y="167"/>
                      <a:pt x="513" y="165"/>
                      <a:pt x="535" y="159"/>
                    </a:cubicBezTo>
                    <a:cubicBezTo>
                      <a:pt x="555" y="154"/>
                      <a:pt x="575" y="147"/>
                      <a:pt x="595" y="139"/>
                    </a:cubicBezTo>
                    <a:cubicBezTo>
                      <a:pt x="649" y="123"/>
                      <a:pt x="649" y="45"/>
                      <a:pt x="595" y="28"/>
                    </a:cubicBezTo>
                    <a:lnTo>
                      <a:pt x="538" y="9"/>
                    </a:lnTo>
                    <a:cubicBezTo>
                      <a:pt x="518" y="4"/>
                      <a:pt x="498" y="1"/>
                      <a:pt x="478" y="1"/>
                    </a:cubicBezTo>
                    <a:cubicBezTo>
                      <a:pt x="472" y="1"/>
                      <a:pt x="467" y="1"/>
                      <a:pt x="462" y="1"/>
                    </a:cubicBezTo>
                    <a:cubicBezTo>
                      <a:pt x="420" y="0"/>
                      <a:pt x="377" y="0"/>
                      <a:pt x="33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280" name="Google Shape;280;p22"/>
              <p:cNvSpPr/>
              <p:nvPr/>
            </p:nvSpPr>
            <p:spPr>
              <a:xfrm>
                <a:off x="4958550" y="1363500"/>
                <a:ext cx="9700" cy="4550"/>
              </a:xfrm>
              <a:custGeom>
                <a:avLst/>
                <a:gdLst/>
                <a:ahLst/>
                <a:cxnLst/>
                <a:rect l="l" t="t" r="r" b="b"/>
                <a:pathLst>
                  <a:path w="388" h="182" extrusionOk="0">
                    <a:moveTo>
                      <a:pt x="90" y="0"/>
                    </a:moveTo>
                    <a:cubicBezTo>
                      <a:pt x="40" y="1"/>
                      <a:pt x="0" y="42"/>
                      <a:pt x="0" y="91"/>
                    </a:cubicBezTo>
                    <a:cubicBezTo>
                      <a:pt x="1" y="141"/>
                      <a:pt x="40" y="181"/>
                      <a:pt x="90" y="182"/>
                    </a:cubicBezTo>
                    <a:lnTo>
                      <a:pt x="90" y="181"/>
                    </a:lnTo>
                    <a:lnTo>
                      <a:pt x="160" y="180"/>
                    </a:lnTo>
                    <a:lnTo>
                      <a:pt x="197" y="180"/>
                    </a:lnTo>
                    <a:cubicBezTo>
                      <a:pt x="208" y="180"/>
                      <a:pt x="219" y="178"/>
                      <a:pt x="230" y="174"/>
                    </a:cubicBezTo>
                    <a:cubicBezTo>
                      <a:pt x="236" y="172"/>
                      <a:pt x="241" y="170"/>
                      <a:pt x="248" y="168"/>
                    </a:cubicBezTo>
                    <a:cubicBezTo>
                      <a:pt x="294" y="154"/>
                      <a:pt x="388" y="161"/>
                      <a:pt x="388" y="91"/>
                    </a:cubicBezTo>
                    <a:cubicBezTo>
                      <a:pt x="387" y="64"/>
                      <a:pt x="369" y="42"/>
                      <a:pt x="344" y="33"/>
                    </a:cubicBezTo>
                    <a:cubicBezTo>
                      <a:pt x="333" y="30"/>
                      <a:pt x="323" y="27"/>
                      <a:pt x="312" y="26"/>
                    </a:cubicBezTo>
                    <a:cubicBezTo>
                      <a:pt x="290" y="23"/>
                      <a:pt x="269" y="18"/>
                      <a:pt x="248" y="13"/>
                    </a:cubicBezTo>
                    <a:cubicBezTo>
                      <a:pt x="241" y="11"/>
                      <a:pt x="236" y="9"/>
                      <a:pt x="230" y="7"/>
                    </a:cubicBezTo>
                    <a:cubicBezTo>
                      <a:pt x="219" y="4"/>
                      <a:pt x="208" y="1"/>
                      <a:pt x="197" y="1"/>
                    </a:cubicBezTo>
                    <a:lnTo>
                      <a:pt x="162" y="1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</p:grpSp>
    </p:spTree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2">
  <p:cSld name="CUSTOM_3_1"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Google Shape;282;p23"/>
          <p:cNvSpPr txBox="1">
            <a:spLocks noGrp="1"/>
          </p:cNvSpPr>
          <p:nvPr>
            <p:ph type="title"/>
          </p:nvPr>
        </p:nvSpPr>
        <p:spPr>
          <a:xfrm>
            <a:off x="3771900" y="946967"/>
            <a:ext cx="7460000" cy="141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23"/>
          <p:cNvSpPr txBox="1">
            <a:spLocks noGrp="1"/>
          </p:cNvSpPr>
          <p:nvPr>
            <p:ph type="ctrTitle" idx="2"/>
          </p:nvPr>
        </p:nvSpPr>
        <p:spPr>
          <a:xfrm flipH="1">
            <a:off x="1643200" y="3660700"/>
            <a:ext cx="2927200" cy="49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84" name="Google Shape;284;p23"/>
          <p:cNvSpPr txBox="1">
            <a:spLocks noGrp="1"/>
          </p:cNvSpPr>
          <p:nvPr>
            <p:ph type="subTitle" idx="1"/>
          </p:nvPr>
        </p:nvSpPr>
        <p:spPr>
          <a:xfrm flipH="1">
            <a:off x="1643167" y="3984329"/>
            <a:ext cx="29272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85" name="Google Shape;285;p23"/>
          <p:cNvSpPr txBox="1">
            <a:spLocks noGrp="1"/>
          </p:cNvSpPr>
          <p:nvPr>
            <p:ph type="ctrTitle" idx="3"/>
          </p:nvPr>
        </p:nvSpPr>
        <p:spPr>
          <a:xfrm flipH="1">
            <a:off x="4632400" y="3660703"/>
            <a:ext cx="2927200" cy="49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86" name="Google Shape;286;p23"/>
          <p:cNvSpPr txBox="1">
            <a:spLocks noGrp="1"/>
          </p:cNvSpPr>
          <p:nvPr>
            <p:ph type="subTitle" idx="4"/>
          </p:nvPr>
        </p:nvSpPr>
        <p:spPr>
          <a:xfrm flipH="1">
            <a:off x="4632400" y="3984396"/>
            <a:ext cx="29272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87" name="Google Shape;287;p23"/>
          <p:cNvSpPr txBox="1">
            <a:spLocks noGrp="1"/>
          </p:cNvSpPr>
          <p:nvPr>
            <p:ph type="ctrTitle" idx="5"/>
          </p:nvPr>
        </p:nvSpPr>
        <p:spPr>
          <a:xfrm flipH="1">
            <a:off x="7621633" y="3660701"/>
            <a:ext cx="2927200" cy="49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88" name="Google Shape;288;p23"/>
          <p:cNvSpPr txBox="1">
            <a:spLocks noGrp="1"/>
          </p:cNvSpPr>
          <p:nvPr>
            <p:ph type="subTitle" idx="6"/>
          </p:nvPr>
        </p:nvSpPr>
        <p:spPr>
          <a:xfrm flipH="1">
            <a:off x="7621600" y="3984396"/>
            <a:ext cx="29272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grpSp>
        <p:nvGrpSpPr>
          <p:cNvPr id="289" name="Google Shape;289;p23"/>
          <p:cNvGrpSpPr/>
          <p:nvPr/>
        </p:nvGrpSpPr>
        <p:grpSpPr>
          <a:xfrm rot="11218074" flipH="1">
            <a:off x="9995221" y="5114115"/>
            <a:ext cx="3600012" cy="2718011"/>
            <a:chOff x="4781675" y="3046350"/>
            <a:chExt cx="426050" cy="518900"/>
          </a:xfrm>
        </p:grpSpPr>
        <p:sp>
          <p:nvSpPr>
            <p:cNvPr id="290" name="Google Shape;290;p23"/>
            <p:cNvSpPr/>
            <p:nvPr/>
          </p:nvSpPr>
          <p:spPr>
            <a:xfrm>
              <a:off x="4781675" y="3046350"/>
              <a:ext cx="426050" cy="518900"/>
            </a:xfrm>
            <a:custGeom>
              <a:avLst/>
              <a:gdLst/>
              <a:ahLst/>
              <a:cxnLst/>
              <a:rect l="l" t="t" r="r" b="b"/>
              <a:pathLst>
                <a:path w="17042" h="20756" extrusionOk="0">
                  <a:moveTo>
                    <a:pt x="14204" y="1"/>
                  </a:moveTo>
                  <a:cubicBezTo>
                    <a:pt x="13529" y="1"/>
                    <a:pt x="13378" y="447"/>
                    <a:pt x="13107" y="1082"/>
                  </a:cubicBezTo>
                  <a:cubicBezTo>
                    <a:pt x="12270" y="3047"/>
                    <a:pt x="10686" y="3995"/>
                    <a:pt x="8835" y="4908"/>
                  </a:cubicBezTo>
                  <a:lnTo>
                    <a:pt x="4513" y="7039"/>
                  </a:lnTo>
                  <a:cubicBezTo>
                    <a:pt x="3779" y="7401"/>
                    <a:pt x="3036" y="7768"/>
                    <a:pt x="2409" y="8295"/>
                  </a:cubicBezTo>
                  <a:cubicBezTo>
                    <a:pt x="1919" y="8707"/>
                    <a:pt x="1510" y="9210"/>
                    <a:pt x="1171" y="9755"/>
                  </a:cubicBezTo>
                  <a:cubicBezTo>
                    <a:pt x="357" y="11066"/>
                    <a:pt x="1" y="12870"/>
                    <a:pt x="932" y="14100"/>
                  </a:cubicBezTo>
                  <a:cubicBezTo>
                    <a:pt x="1511" y="14866"/>
                    <a:pt x="2453" y="15244"/>
                    <a:pt x="3336" y="15620"/>
                  </a:cubicBezTo>
                  <a:cubicBezTo>
                    <a:pt x="5416" y="16508"/>
                    <a:pt x="7429" y="17582"/>
                    <a:pt x="9210" y="18976"/>
                  </a:cubicBezTo>
                  <a:cubicBezTo>
                    <a:pt x="9839" y="19468"/>
                    <a:pt x="10444" y="20004"/>
                    <a:pt x="11157" y="20365"/>
                  </a:cubicBezTo>
                  <a:cubicBezTo>
                    <a:pt x="11622" y="20601"/>
                    <a:pt x="12148" y="20756"/>
                    <a:pt x="12665" y="20756"/>
                  </a:cubicBezTo>
                  <a:cubicBezTo>
                    <a:pt x="12939" y="20756"/>
                    <a:pt x="13211" y="20712"/>
                    <a:pt x="13471" y="20614"/>
                  </a:cubicBezTo>
                  <a:cubicBezTo>
                    <a:pt x="14217" y="20330"/>
                    <a:pt x="14778" y="19497"/>
                    <a:pt x="14572" y="18726"/>
                  </a:cubicBezTo>
                  <a:cubicBezTo>
                    <a:pt x="14457" y="18299"/>
                    <a:pt x="14142" y="17956"/>
                    <a:pt x="13811" y="17662"/>
                  </a:cubicBezTo>
                  <a:cubicBezTo>
                    <a:pt x="12096" y="16140"/>
                    <a:pt x="9786" y="15477"/>
                    <a:pt x="7907" y="14161"/>
                  </a:cubicBezTo>
                  <a:cubicBezTo>
                    <a:pt x="7316" y="13747"/>
                    <a:pt x="6740" y="13221"/>
                    <a:pt x="6576" y="12518"/>
                  </a:cubicBezTo>
                  <a:cubicBezTo>
                    <a:pt x="6367" y="11615"/>
                    <a:pt x="6903" y="10702"/>
                    <a:pt x="7550" y="10039"/>
                  </a:cubicBezTo>
                  <a:cubicBezTo>
                    <a:pt x="9408" y="8134"/>
                    <a:pt x="12162" y="7458"/>
                    <a:pt x="14424" y="6057"/>
                  </a:cubicBezTo>
                  <a:cubicBezTo>
                    <a:pt x="15217" y="5566"/>
                    <a:pt x="15971" y="4961"/>
                    <a:pt x="16438" y="4152"/>
                  </a:cubicBezTo>
                  <a:cubicBezTo>
                    <a:pt x="16905" y="3344"/>
                    <a:pt x="17042" y="2298"/>
                    <a:pt x="16603" y="1474"/>
                  </a:cubicBezTo>
                  <a:cubicBezTo>
                    <a:pt x="16200" y="718"/>
                    <a:pt x="15252" y="100"/>
                    <a:pt x="14395" y="11"/>
                  </a:cubicBezTo>
                  <a:cubicBezTo>
                    <a:pt x="14327" y="4"/>
                    <a:pt x="14264" y="1"/>
                    <a:pt x="1420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91" name="Google Shape;291;p23"/>
            <p:cNvSpPr/>
            <p:nvPr/>
          </p:nvSpPr>
          <p:spPr>
            <a:xfrm rot="-819787">
              <a:off x="4822774" y="3348855"/>
              <a:ext cx="23513" cy="29666"/>
            </a:xfrm>
            <a:custGeom>
              <a:avLst/>
              <a:gdLst/>
              <a:ahLst/>
              <a:cxnLst/>
              <a:rect l="l" t="t" r="r" b="b"/>
              <a:pathLst>
                <a:path w="915" h="774" extrusionOk="0">
                  <a:moveTo>
                    <a:pt x="255" y="209"/>
                  </a:moveTo>
                  <a:lnTo>
                    <a:pt x="257" y="212"/>
                  </a:lnTo>
                  <a:lnTo>
                    <a:pt x="257" y="212"/>
                  </a:lnTo>
                  <a:cubicBezTo>
                    <a:pt x="256" y="211"/>
                    <a:pt x="256" y="210"/>
                    <a:pt x="255" y="209"/>
                  </a:cubicBezTo>
                  <a:close/>
                  <a:moveTo>
                    <a:pt x="480" y="435"/>
                  </a:moveTo>
                  <a:cubicBezTo>
                    <a:pt x="480" y="435"/>
                    <a:pt x="481" y="436"/>
                    <a:pt x="481" y="436"/>
                  </a:cubicBezTo>
                  <a:lnTo>
                    <a:pt x="481" y="436"/>
                  </a:lnTo>
                  <a:cubicBezTo>
                    <a:pt x="481" y="436"/>
                    <a:pt x="480" y="435"/>
                    <a:pt x="480" y="435"/>
                  </a:cubicBezTo>
                  <a:close/>
                  <a:moveTo>
                    <a:pt x="83" y="1"/>
                  </a:moveTo>
                  <a:cubicBezTo>
                    <a:pt x="71" y="1"/>
                    <a:pt x="58" y="4"/>
                    <a:pt x="47" y="10"/>
                  </a:cubicBezTo>
                  <a:cubicBezTo>
                    <a:pt x="12" y="31"/>
                    <a:pt x="1" y="75"/>
                    <a:pt x="20" y="109"/>
                  </a:cubicBezTo>
                  <a:lnTo>
                    <a:pt x="19" y="110"/>
                  </a:lnTo>
                  <a:cubicBezTo>
                    <a:pt x="85" y="239"/>
                    <a:pt x="169" y="357"/>
                    <a:pt x="271" y="459"/>
                  </a:cubicBezTo>
                  <a:cubicBezTo>
                    <a:pt x="324" y="513"/>
                    <a:pt x="382" y="562"/>
                    <a:pt x="442" y="607"/>
                  </a:cubicBezTo>
                  <a:cubicBezTo>
                    <a:pt x="469" y="627"/>
                    <a:pt x="498" y="647"/>
                    <a:pt x="528" y="664"/>
                  </a:cubicBezTo>
                  <a:cubicBezTo>
                    <a:pt x="561" y="686"/>
                    <a:pt x="597" y="704"/>
                    <a:pt x="634" y="717"/>
                  </a:cubicBezTo>
                  <a:cubicBezTo>
                    <a:pt x="671" y="727"/>
                    <a:pt x="706" y="740"/>
                    <a:pt x="742" y="752"/>
                  </a:cubicBezTo>
                  <a:cubicBezTo>
                    <a:pt x="777" y="762"/>
                    <a:pt x="814" y="773"/>
                    <a:pt x="851" y="773"/>
                  </a:cubicBezTo>
                  <a:cubicBezTo>
                    <a:pt x="856" y="773"/>
                    <a:pt x="862" y="773"/>
                    <a:pt x="868" y="772"/>
                  </a:cubicBezTo>
                  <a:cubicBezTo>
                    <a:pt x="885" y="771"/>
                    <a:pt x="901" y="761"/>
                    <a:pt x="908" y="745"/>
                  </a:cubicBezTo>
                  <a:cubicBezTo>
                    <a:pt x="915" y="729"/>
                    <a:pt x="911" y="710"/>
                    <a:pt x="899" y="697"/>
                  </a:cubicBezTo>
                  <a:cubicBezTo>
                    <a:pt x="846" y="653"/>
                    <a:pt x="776" y="633"/>
                    <a:pt x="718" y="594"/>
                  </a:cubicBezTo>
                  <a:cubicBezTo>
                    <a:pt x="716" y="592"/>
                    <a:pt x="712" y="589"/>
                    <a:pt x="710" y="587"/>
                  </a:cubicBezTo>
                  <a:cubicBezTo>
                    <a:pt x="701" y="579"/>
                    <a:pt x="692" y="572"/>
                    <a:pt x="681" y="565"/>
                  </a:cubicBezTo>
                  <a:cubicBezTo>
                    <a:pt x="665" y="556"/>
                    <a:pt x="649" y="548"/>
                    <a:pt x="634" y="539"/>
                  </a:cubicBezTo>
                  <a:cubicBezTo>
                    <a:pt x="605" y="521"/>
                    <a:pt x="576" y="503"/>
                    <a:pt x="548" y="485"/>
                  </a:cubicBezTo>
                  <a:cubicBezTo>
                    <a:pt x="535" y="475"/>
                    <a:pt x="521" y="466"/>
                    <a:pt x="507" y="456"/>
                  </a:cubicBezTo>
                  <a:lnTo>
                    <a:pt x="488" y="442"/>
                  </a:lnTo>
                  <a:cubicBezTo>
                    <a:pt x="486" y="440"/>
                    <a:pt x="483" y="438"/>
                    <a:pt x="481" y="436"/>
                  </a:cubicBezTo>
                  <a:lnTo>
                    <a:pt x="481" y="436"/>
                  </a:lnTo>
                  <a:cubicBezTo>
                    <a:pt x="485" y="440"/>
                    <a:pt x="487" y="442"/>
                    <a:pt x="487" y="442"/>
                  </a:cubicBezTo>
                  <a:cubicBezTo>
                    <a:pt x="487" y="442"/>
                    <a:pt x="480" y="436"/>
                    <a:pt x="477" y="434"/>
                  </a:cubicBezTo>
                  <a:cubicBezTo>
                    <a:pt x="451" y="413"/>
                    <a:pt x="424" y="390"/>
                    <a:pt x="399" y="367"/>
                  </a:cubicBezTo>
                  <a:cubicBezTo>
                    <a:pt x="350" y="321"/>
                    <a:pt x="304" y="272"/>
                    <a:pt x="262" y="219"/>
                  </a:cubicBezTo>
                  <a:cubicBezTo>
                    <a:pt x="261" y="217"/>
                    <a:pt x="259" y="215"/>
                    <a:pt x="258" y="213"/>
                  </a:cubicBezTo>
                  <a:lnTo>
                    <a:pt x="258" y="213"/>
                  </a:lnTo>
                  <a:lnTo>
                    <a:pt x="259" y="214"/>
                  </a:lnTo>
                  <a:lnTo>
                    <a:pt x="257" y="212"/>
                  </a:lnTo>
                  <a:lnTo>
                    <a:pt x="257" y="212"/>
                  </a:lnTo>
                  <a:cubicBezTo>
                    <a:pt x="257" y="212"/>
                    <a:pt x="258" y="213"/>
                    <a:pt x="258" y="213"/>
                  </a:cubicBezTo>
                  <a:lnTo>
                    <a:pt x="258" y="213"/>
                  </a:lnTo>
                  <a:lnTo>
                    <a:pt x="253" y="207"/>
                  </a:lnTo>
                  <a:lnTo>
                    <a:pt x="237" y="185"/>
                  </a:lnTo>
                  <a:cubicBezTo>
                    <a:pt x="225" y="169"/>
                    <a:pt x="214" y="152"/>
                    <a:pt x="203" y="136"/>
                  </a:cubicBezTo>
                  <a:cubicBezTo>
                    <a:pt x="183" y="103"/>
                    <a:pt x="163" y="70"/>
                    <a:pt x="146" y="37"/>
                  </a:cubicBezTo>
                  <a:cubicBezTo>
                    <a:pt x="132" y="14"/>
                    <a:pt x="108" y="1"/>
                    <a:pt x="8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92" name="Google Shape;292;p23"/>
            <p:cNvSpPr/>
            <p:nvPr/>
          </p:nvSpPr>
          <p:spPr>
            <a:xfrm rot="-819787">
              <a:off x="4844526" y="3360094"/>
              <a:ext cx="16164" cy="9659"/>
            </a:xfrm>
            <a:custGeom>
              <a:avLst/>
              <a:gdLst/>
              <a:ahLst/>
              <a:cxnLst/>
              <a:rect l="l" t="t" r="r" b="b"/>
              <a:pathLst>
                <a:path w="629" h="252" extrusionOk="0">
                  <a:moveTo>
                    <a:pt x="100" y="1"/>
                  </a:moveTo>
                  <a:cubicBezTo>
                    <a:pt x="25" y="1"/>
                    <a:pt x="0" y="118"/>
                    <a:pt x="84" y="140"/>
                  </a:cubicBezTo>
                  <a:lnTo>
                    <a:pt x="283" y="195"/>
                  </a:lnTo>
                  <a:cubicBezTo>
                    <a:pt x="317" y="204"/>
                    <a:pt x="351" y="213"/>
                    <a:pt x="385" y="224"/>
                  </a:cubicBezTo>
                  <a:cubicBezTo>
                    <a:pt x="406" y="229"/>
                    <a:pt x="426" y="234"/>
                    <a:pt x="446" y="235"/>
                  </a:cubicBezTo>
                  <a:lnTo>
                    <a:pt x="457" y="235"/>
                  </a:lnTo>
                  <a:cubicBezTo>
                    <a:pt x="458" y="235"/>
                    <a:pt x="459" y="235"/>
                    <a:pt x="460" y="235"/>
                  </a:cubicBezTo>
                  <a:lnTo>
                    <a:pt x="460" y="235"/>
                  </a:lnTo>
                  <a:cubicBezTo>
                    <a:pt x="460" y="235"/>
                    <a:pt x="460" y="235"/>
                    <a:pt x="460" y="235"/>
                  </a:cubicBezTo>
                  <a:lnTo>
                    <a:pt x="489" y="240"/>
                  </a:lnTo>
                  <a:cubicBezTo>
                    <a:pt x="510" y="244"/>
                    <a:pt x="537" y="251"/>
                    <a:pt x="562" y="251"/>
                  </a:cubicBezTo>
                  <a:cubicBezTo>
                    <a:pt x="584" y="251"/>
                    <a:pt x="604" y="245"/>
                    <a:pt x="617" y="225"/>
                  </a:cubicBezTo>
                  <a:cubicBezTo>
                    <a:pt x="628" y="204"/>
                    <a:pt x="625" y="178"/>
                    <a:pt x="608" y="160"/>
                  </a:cubicBezTo>
                  <a:cubicBezTo>
                    <a:pt x="593" y="144"/>
                    <a:pt x="568" y="139"/>
                    <a:pt x="549" y="130"/>
                  </a:cubicBezTo>
                  <a:lnTo>
                    <a:pt x="502" y="113"/>
                  </a:lnTo>
                  <a:cubicBezTo>
                    <a:pt x="501" y="113"/>
                    <a:pt x="498" y="112"/>
                    <a:pt x="495" y="110"/>
                  </a:cubicBezTo>
                  <a:lnTo>
                    <a:pt x="495" y="110"/>
                  </a:lnTo>
                  <a:cubicBezTo>
                    <a:pt x="495" y="110"/>
                    <a:pt x="488" y="106"/>
                    <a:pt x="489" y="106"/>
                  </a:cubicBezTo>
                  <a:cubicBezTo>
                    <a:pt x="477" y="101"/>
                    <a:pt x="465" y="95"/>
                    <a:pt x="452" y="91"/>
                  </a:cubicBezTo>
                  <a:cubicBezTo>
                    <a:pt x="418" y="81"/>
                    <a:pt x="383" y="73"/>
                    <a:pt x="349" y="64"/>
                  </a:cubicBezTo>
                  <a:lnTo>
                    <a:pt x="122" y="4"/>
                  </a:lnTo>
                  <a:cubicBezTo>
                    <a:pt x="114" y="2"/>
                    <a:pt x="107" y="1"/>
                    <a:pt x="10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93" name="Google Shape;293;p23"/>
            <p:cNvSpPr/>
            <p:nvPr/>
          </p:nvSpPr>
          <p:spPr>
            <a:xfrm rot="963541">
              <a:off x="4971313" y="3253547"/>
              <a:ext cx="19844" cy="17905"/>
            </a:xfrm>
            <a:custGeom>
              <a:avLst/>
              <a:gdLst/>
              <a:ahLst/>
              <a:cxnLst/>
              <a:rect l="l" t="t" r="r" b="b"/>
              <a:pathLst>
                <a:path w="764" h="432" extrusionOk="0">
                  <a:moveTo>
                    <a:pt x="693" y="0"/>
                  </a:moveTo>
                  <a:cubicBezTo>
                    <a:pt x="688" y="0"/>
                    <a:pt x="683" y="1"/>
                    <a:pt x="677" y="2"/>
                  </a:cubicBezTo>
                  <a:cubicBezTo>
                    <a:pt x="663" y="6"/>
                    <a:pt x="650" y="8"/>
                    <a:pt x="637" y="12"/>
                  </a:cubicBezTo>
                  <a:cubicBezTo>
                    <a:pt x="619" y="17"/>
                    <a:pt x="601" y="24"/>
                    <a:pt x="585" y="32"/>
                  </a:cubicBezTo>
                  <a:lnTo>
                    <a:pt x="507" y="69"/>
                  </a:lnTo>
                  <a:cubicBezTo>
                    <a:pt x="455" y="92"/>
                    <a:pt x="404" y="119"/>
                    <a:pt x="354" y="144"/>
                  </a:cubicBezTo>
                  <a:lnTo>
                    <a:pt x="46" y="298"/>
                  </a:lnTo>
                  <a:cubicBezTo>
                    <a:pt x="12" y="319"/>
                    <a:pt x="0" y="363"/>
                    <a:pt x="21" y="396"/>
                  </a:cubicBezTo>
                  <a:cubicBezTo>
                    <a:pt x="35" y="419"/>
                    <a:pt x="59" y="431"/>
                    <a:pt x="84" y="431"/>
                  </a:cubicBezTo>
                  <a:cubicBezTo>
                    <a:pt x="96" y="431"/>
                    <a:pt x="108" y="429"/>
                    <a:pt x="119" y="423"/>
                  </a:cubicBezTo>
                  <a:lnTo>
                    <a:pt x="431" y="276"/>
                  </a:lnTo>
                  <a:cubicBezTo>
                    <a:pt x="483" y="252"/>
                    <a:pt x="535" y="228"/>
                    <a:pt x="586" y="203"/>
                  </a:cubicBezTo>
                  <a:lnTo>
                    <a:pt x="660" y="166"/>
                  </a:lnTo>
                  <a:cubicBezTo>
                    <a:pt x="688" y="150"/>
                    <a:pt x="715" y="130"/>
                    <a:pt x="739" y="108"/>
                  </a:cubicBezTo>
                  <a:cubicBezTo>
                    <a:pt x="760" y="88"/>
                    <a:pt x="764" y="57"/>
                    <a:pt x="750" y="31"/>
                  </a:cubicBezTo>
                  <a:cubicBezTo>
                    <a:pt x="738" y="12"/>
                    <a:pt x="716" y="0"/>
                    <a:pt x="69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94" name="Google Shape;294;p23"/>
            <p:cNvSpPr/>
            <p:nvPr/>
          </p:nvSpPr>
          <p:spPr>
            <a:xfrm rot="963541">
              <a:off x="4955845" y="3246911"/>
              <a:ext cx="18831" cy="12351"/>
            </a:xfrm>
            <a:custGeom>
              <a:avLst/>
              <a:gdLst/>
              <a:ahLst/>
              <a:cxnLst/>
              <a:rect l="l" t="t" r="r" b="b"/>
              <a:pathLst>
                <a:path w="725" h="298" extrusionOk="0">
                  <a:moveTo>
                    <a:pt x="675" y="0"/>
                  </a:moveTo>
                  <a:cubicBezTo>
                    <a:pt x="674" y="0"/>
                    <a:pt x="674" y="0"/>
                    <a:pt x="674" y="0"/>
                  </a:cubicBezTo>
                  <a:cubicBezTo>
                    <a:pt x="618" y="1"/>
                    <a:pt x="563" y="15"/>
                    <a:pt x="509" y="28"/>
                  </a:cubicBezTo>
                  <a:cubicBezTo>
                    <a:pt x="454" y="41"/>
                    <a:pt x="403" y="53"/>
                    <a:pt x="350" y="70"/>
                  </a:cubicBezTo>
                  <a:cubicBezTo>
                    <a:pt x="244" y="105"/>
                    <a:pt x="139" y="145"/>
                    <a:pt x="37" y="189"/>
                  </a:cubicBezTo>
                  <a:cubicBezTo>
                    <a:pt x="8" y="202"/>
                    <a:pt x="0" y="244"/>
                    <a:pt x="15" y="268"/>
                  </a:cubicBezTo>
                  <a:cubicBezTo>
                    <a:pt x="27" y="287"/>
                    <a:pt x="46" y="297"/>
                    <a:pt x="66" y="297"/>
                  </a:cubicBezTo>
                  <a:cubicBezTo>
                    <a:pt x="76" y="297"/>
                    <a:pt x="86" y="295"/>
                    <a:pt x="96" y="289"/>
                  </a:cubicBezTo>
                  <a:cubicBezTo>
                    <a:pt x="188" y="248"/>
                    <a:pt x="287" y="210"/>
                    <a:pt x="387" y="176"/>
                  </a:cubicBezTo>
                  <a:cubicBezTo>
                    <a:pt x="436" y="159"/>
                    <a:pt x="486" y="141"/>
                    <a:pt x="535" y="123"/>
                  </a:cubicBezTo>
                  <a:cubicBezTo>
                    <a:pt x="588" y="108"/>
                    <a:pt x="641" y="90"/>
                    <a:pt x="692" y="68"/>
                  </a:cubicBezTo>
                  <a:cubicBezTo>
                    <a:pt x="725" y="52"/>
                    <a:pt x="708" y="0"/>
                    <a:pt x="67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95" name="Google Shape;295;p23"/>
            <p:cNvSpPr/>
            <p:nvPr/>
          </p:nvSpPr>
          <p:spPr>
            <a:xfrm rot="-819787">
              <a:off x="5006084" y="3464719"/>
              <a:ext cx="15290" cy="10195"/>
            </a:xfrm>
            <a:custGeom>
              <a:avLst/>
              <a:gdLst/>
              <a:ahLst/>
              <a:cxnLst/>
              <a:rect l="l" t="t" r="r" b="b"/>
              <a:pathLst>
                <a:path w="595" h="266" extrusionOk="0">
                  <a:moveTo>
                    <a:pt x="67" y="0"/>
                  </a:moveTo>
                  <a:cubicBezTo>
                    <a:pt x="41" y="0"/>
                    <a:pt x="16" y="18"/>
                    <a:pt x="9" y="45"/>
                  </a:cubicBezTo>
                  <a:cubicBezTo>
                    <a:pt x="1" y="77"/>
                    <a:pt x="20" y="111"/>
                    <a:pt x="52" y="120"/>
                  </a:cubicBezTo>
                  <a:lnTo>
                    <a:pt x="51" y="120"/>
                  </a:lnTo>
                  <a:lnTo>
                    <a:pt x="293" y="200"/>
                  </a:lnTo>
                  <a:cubicBezTo>
                    <a:pt x="332" y="214"/>
                    <a:pt x="372" y="226"/>
                    <a:pt x="413" y="237"/>
                  </a:cubicBezTo>
                  <a:lnTo>
                    <a:pt x="471" y="256"/>
                  </a:lnTo>
                  <a:cubicBezTo>
                    <a:pt x="494" y="263"/>
                    <a:pt x="519" y="266"/>
                    <a:pt x="544" y="266"/>
                  </a:cubicBezTo>
                  <a:cubicBezTo>
                    <a:pt x="565" y="266"/>
                    <a:pt x="583" y="252"/>
                    <a:pt x="590" y="231"/>
                  </a:cubicBezTo>
                  <a:cubicBezTo>
                    <a:pt x="595" y="211"/>
                    <a:pt x="585" y="190"/>
                    <a:pt x="568" y="179"/>
                  </a:cubicBezTo>
                  <a:cubicBezTo>
                    <a:pt x="560" y="172"/>
                    <a:pt x="551" y="166"/>
                    <a:pt x="542" y="160"/>
                  </a:cubicBezTo>
                  <a:cubicBezTo>
                    <a:pt x="530" y="155"/>
                    <a:pt x="517" y="150"/>
                    <a:pt x="505" y="146"/>
                  </a:cubicBezTo>
                  <a:lnTo>
                    <a:pt x="447" y="126"/>
                  </a:lnTo>
                  <a:cubicBezTo>
                    <a:pt x="407" y="111"/>
                    <a:pt x="367" y="96"/>
                    <a:pt x="325" y="82"/>
                  </a:cubicBezTo>
                  <a:lnTo>
                    <a:pt x="83" y="2"/>
                  </a:lnTo>
                  <a:cubicBezTo>
                    <a:pt x="78" y="1"/>
                    <a:pt x="73" y="0"/>
                    <a:pt x="6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grpSp>
        <p:nvGrpSpPr>
          <p:cNvPr id="296" name="Google Shape;296;p23"/>
          <p:cNvGrpSpPr/>
          <p:nvPr/>
        </p:nvGrpSpPr>
        <p:grpSpPr>
          <a:xfrm>
            <a:off x="-2772130" y="-2673598"/>
            <a:ext cx="10740131" cy="4324780"/>
            <a:chOff x="-2079097" y="-2005199"/>
            <a:chExt cx="8055098" cy="3243585"/>
          </a:xfrm>
        </p:grpSpPr>
        <p:sp>
          <p:nvSpPr>
            <p:cNvPr id="297" name="Google Shape;297;p23"/>
            <p:cNvSpPr/>
            <p:nvPr/>
          </p:nvSpPr>
          <p:spPr>
            <a:xfrm flipH="1">
              <a:off x="-2079097" y="-2005199"/>
              <a:ext cx="8055098" cy="3243585"/>
            </a:xfrm>
            <a:custGeom>
              <a:avLst/>
              <a:gdLst/>
              <a:ahLst/>
              <a:cxnLst/>
              <a:rect l="l" t="t" r="r" b="b"/>
              <a:pathLst>
                <a:path w="67670" h="27249" extrusionOk="0">
                  <a:moveTo>
                    <a:pt x="3560" y="1"/>
                  </a:moveTo>
                  <a:cubicBezTo>
                    <a:pt x="3394" y="1"/>
                    <a:pt x="3170" y="111"/>
                    <a:pt x="2802" y="368"/>
                  </a:cubicBezTo>
                  <a:cubicBezTo>
                    <a:pt x="2208" y="783"/>
                    <a:pt x="1833" y="1618"/>
                    <a:pt x="1678" y="2302"/>
                  </a:cubicBezTo>
                  <a:cubicBezTo>
                    <a:pt x="928" y="5612"/>
                    <a:pt x="1" y="10647"/>
                    <a:pt x="2647" y="12773"/>
                  </a:cubicBezTo>
                  <a:cubicBezTo>
                    <a:pt x="7827" y="16938"/>
                    <a:pt x="17880" y="15971"/>
                    <a:pt x="24025" y="18503"/>
                  </a:cubicBezTo>
                  <a:cubicBezTo>
                    <a:pt x="27934" y="20114"/>
                    <a:pt x="31555" y="22514"/>
                    <a:pt x="35681" y="23440"/>
                  </a:cubicBezTo>
                  <a:cubicBezTo>
                    <a:pt x="37802" y="23915"/>
                    <a:pt x="39978" y="23983"/>
                    <a:pt x="42159" y="23983"/>
                  </a:cubicBezTo>
                  <a:cubicBezTo>
                    <a:pt x="43024" y="23983"/>
                    <a:pt x="43891" y="23972"/>
                    <a:pt x="44755" y="23972"/>
                  </a:cubicBezTo>
                  <a:cubicBezTo>
                    <a:pt x="45000" y="23972"/>
                    <a:pt x="45246" y="23973"/>
                    <a:pt x="45491" y="23975"/>
                  </a:cubicBezTo>
                  <a:cubicBezTo>
                    <a:pt x="51084" y="24026"/>
                    <a:pt x="56648" y="24790"/>
                    <a:pt x="62049" y="26248"/>
                  </a:cubicBezTo>
                  <a:cubicBezTo>
                    <a:pt x="63761" y="26711"/>
                    <a:pt x="65492" y="27248"/>
                    <a:pt x="67258" y="27248"/>
                  </a:cubicBezTo>
                  <a:cubicBezTo>
                    <a:pt x="67395" y="27248"/>
                    <a:pt x="67532" y="27245"/>
                    <a:pt x="67669" y="27238"/>
                  </a:cubicBezTo>
                  <a:cubicBezTo>
                    <a:pt x="66830" y="24189"/>
                    <a:pt x="63940" y="22096"/>
                    <a:pt x="60932" y="21123"/>
                  </a:cubicBezTo>
                  <a:cubicBezTo>
                    <a:pt x="57924" y="20149"/>
                    <a:pt x="54714" y="20060"/>
                    <a:pt x="51590" y="19569"/>
                  </a:cubicBezTo>
                  <a:cubicBezTo>
                    <a:pt x="44095" y="18395"/>
                    <a:pt x="37148" y="14931"/>
                    <a:pt x="29754" y="13234"/>
                  </a:cubicBezTo>
                  <a:cubicBezTo>
                    <a:pt x="26948" y="12589"/>
                    <a:pt x="21937" y="10851"/>
                    <a:pt x="19149" y="10133"/>
                  </a:cubicBezTo>
                  <a:cubicBezTo>
                    <a:pt x="17726" y="9767"/>
                    <a:pt x="16426" y="9689"/>
                    <a:pt x="15201" y="9689"/>
                  </a:cubicBezTo>
                  <a:cubicBezTo>
                    <a:pt x="14295" y="9689"/>
                    <a:pt x="13429" y="9732"/>
                    <a:pt x="12585" y="9732"/>
                  </a:cubicBezTo>
                  <a:cubicBezTo>
                    <a:pt x="10596" y="9732"/>
                    <a:pt x="8725" y="9495"/>
                    <a:pt x="6716" y="7905"/>
                  </a:cubicBezTo>
                  <a:cubicBezTo>
                    <a:pt x="5204" y="6711"/>
                    <a:pt x="5431" y="2166"/>
                    <a:pt x="4291" y="731"/>
                  </a:cubicBezTo>
                  <a:cubicBezTo>
                    <a:pt x="3950" y="300"/>
                    <a:pt x="3834" y="1"/>
                    <a:pt x="3560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grpSp>
          <p:nvGrpSpPr>
            <p:cNvPr id="298" name="Google Shape;298;p23"/>
            <p:cNvGrpSpPr/>
            <p:nvPr/>
          </p:nvGrpSpPr>
          <p:grpSpPr>
            <a:xfrm>
              <a:off x="1359706" y="508235"/>
              <a:ext cx="200280" cy="106330"/>
              <a:chOff x="4567318" y="1382684"/>
              <a:chExt cx="19884" cy="10557"/>
            </a:xfrm>
          </p:grpSpPr>
          <p:sp>
            <p:nvSpPr>
              <p:cNvPr id="299" name="Google Shape;299;p23"/>
              <p:cNvSpPr/>
              <p:nvPr/>
            </p:nvSpPr>
            <p:spPr>
              <a:xfrm flipH="1">
                <a:off x="4573877" y="1382684"/>
                <a:ext cx="13325" cy="3444"/>
              </a:xfrm>
              <a:custGeom>
                <a:avLst/>
                <a:gdLst/>
                <a:ahLst/>
                <a:cxnLst/>
                <a:rect l="l" t="t" r="r" b="b"/>
                <a:pathLst>
                  <a:path w="650" h="168" extrusionOk="0">
                    <a:moveTo>
                      <a:pt x="334" y="0"/>
                    </a:moveTo>
                    <a:lnTo>
                      <a:pt x="84" y="2"/>
                    </a:lnTo>
                    <a:cubicBezTo>
                      <a:pt x="41" y="2"/>
                      <a:pt x="0" y="39"/>
                      <a:pt x="2" y="84"/>
                    </a:cubicBezTo>
                    <a:cubicBezTo>
                      <a:pt x="3" y="129"/>
                      <a:pt x="39" y="165"/>
                      <a:pt x="84" y="166"/>
                    </a:cubicBezTo>
                    <a:lnTo>
                      <a:pt x="84" y="165"/>
                    </a:lnTo>
                    <a:lnTo>
                      <a:pt x="334" y="167"/>
                    </a:lnTo>
                    <a:lnTo>
                      <a:pt x="459" y="167"/>
                    </a:lnTo>
                    <a:cubicBezTo>
                      <a:pt x="463" y="167"/>
                      <a:pt x="467" y="167"/>
                      <a:pt x="471" y="167"/>
                    </a:cubicBezTo>
                    <a:cubicBezTo>
                      <a:pt x="492" y="167"/>
                      <a:pt x="513" y="165"/>
                      <a:pt x="535" y="159"/>
                    </a:cubicBezTo>
                    <a:cubicBezTo>
                      <a:pt x="555" y="154"/>
                      <a:pt x="575" y="147"/>
                      <a:pt x="595" y="139"/>
                    </a:cubicBezTo>
                    <a:cubicBezTo>
                      <a:pt x="649" y="123"/>
                      <a:pt x="649" y="45"/>
                      <a:pt x="595" y="28"/>
                    </a:cubicBezTo>
                    <a:lnTo>
                      <a:pt x="538" y="9"/>
                    </a:lnTo>
                    <a:cubicBezTo>
                      <a:pt x="518" y="4"/>
                      <a:pt x="498" y="1"/>
                      <a:pt x="478" y="1"/>
                    </a:cubicBezTo>
                    <a:cubicBezTo>
                      <a:pt x="472" y="1"/>
                      <a:pt x="467" y="1"/>
                      <a:pt x="462" y="1"/>
                    </a:cubicBezTo>
                    <a:cubicBezTo>
                      <a:pt x="420" y="0"/>
                      <a:pt x="377" y="0"/>
                      <a:pt x="33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300" name="Google Shape;300;p23"/>
              <p:cNvSpPr/>
              <p:nvPr/>
            </p:nvSpPr>
            <p:spPr>
              <a:xfrm flipH="1">
                <a:off x="4567318" y="1389511"/>
                <a:ext cx="7954" cy="3731"/>
              </a:xfrm>
              <a:custGeom>
                <a:avLst/>
                <a:gdLst/>
                <a:ahLst/>
                <a:cxnLst/>
                <a:rect l="l" t="t" r="r" b="b"/>
                <a:pathLst>
                  <a:path w="388" h="182" extrusionOk="0">
                    <a:moveTo>
                      <a:pt x="90" y="0"/>
                    </a:moveTo>
                    <a:cubicBezTo>
                      <a:pt x="40" y="1"/>
                      <a:pt x="0" y="42"/>
                      <a:pt x="0" y="91"/>
                    </a:cubicBezTo>
                    <a:cubicBezTo>
                      <a:pt x="1" y="141"/>
                      <a:pt x="40" y="181"/>
                      <a:pt x="90" y="182"/>
                    </a:cubicBezTo>
                    <a:lnTo>
                      <a:pt x="90" y="181"/>
                    </a:lnTo>
                    <a:lnTo>
                      <a:pt x="160" y="180"/>
                    </a:lnTo>
                    <a:lnTo>
                      <a:pt x="197" y="180"/>
                    </a:lnTo>
                    <a:cubicBezTo>
                      <a:pt x="208" y="180"/>
                      <a:pt x="219" y="178"/>
                      <a:pt x="230" y="174"/>
                    </a:cubicBezTo>
                    <a:cubicBezTo>
                      <a:pt x="236" y="172"/>
                      <a:pt x="241" y="170"/>
                      <a:pt x="248" y="168"/>
                    </a:cubicBezTo>
                    <a:cubicBezTo>
                      <a:pt x="294" y="154"/>
                      <a:pt x="388" y="161"/>
                      <a:pt x="388" y="91"/>
                    </a:cubicBezTo>
                    <a:cubicBezTo>
                      <a:pt x="387" y="64"/>
                      <a:pt x="369" y="42"/>
                      <a:pt x="344" y="33"/>
                    </a:cubicBezTo>
                    <a:cubicBezTo>
                      <a:pt x="333" y="30"/>
                      <a:pt x="323" y="27"/>
                      <a:pt x="312" y="26"/>
                    </a:cubicBezTo>
                    <a:cubicBezTo>
                      <a:pt x="290" y="23"/>
                      <a:pt x="269" y="18"/>
                      <a:pt x="248" y="13"/>
                    </a:cubicBezTo>
                    <a:cubicBezTo>
                      <a:pt x="241" y="11"/>
                      <a:pt x="236" y="9"/>
                      <a:pt x="230" y="7"/>
                    </a:cubicBezTo>
                    <a:cubicBezTo>
                      <a:pt x="219" y="4"/>
                      <a:pt x="208" y="1"/>
                      <a:pt x="197" y="1"/>
                    </a:cubicBezTo>
                    <a:lnTo>
                      <a:pt x="162" y="1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301" name="Google Shape;301;p23"/>
            <p:cNvGrpSpPr/>
            <p:nvPr/>
          </p:nvGrpSpPr>
          <p:grpSpPr>
            <a:xfrm>
              <a:off x="154323" y="434930"/>
              <a:ext cx="200280" cy="106330"/>
              <a:chOff x="4301692" y="1384283"/>
              <a:chExt cx="19884" cy="10557"/>
            </a:xfrm>
          </p:grpSpPr>
          <p:sp>
            <p:nvSpPr>
              <p:cNvPr id="302" name="Google Shape;302;p23"/>
              <p:cNvSpPr/>
              <p:nvPr/>
            </p:nvSpPr>
            <p:spPr>
              <a:xfrm flipH="1">
                <a:off x="4308252" y="1384283"/>
                <a:ext cx="13325" cy="3444"/>
              </a:xfrm>
              <a:custGeom>
                <a:avLst/>
                <a:gdLst/>
                <a:ahLst/>
                <a:cxnLst/>
                <a:rect l="l" t="t" r="r" b="b"/>
                <a:pathLst>
                  <a:path w="650" h="168" extrusionOk="0">
                    <a:moveTo>
                      <a:pt x="334" y="0"/>
                    </a:moveTo>
                    <a:lnTo>
                      <a:pt x="84" y="2"/>
                    </a:lnTo>
                    <a:cubicBezTo>
                      <a:pt x="41" y="2"/>
                      <a:pt x="0" y="39"/>
                      <a:pt x="2" y="84"/>
                    </a:cubicBezTo>
                    <a:cubicBezTo>
                      <a:pt x="3" y="129"/>
                      <a:pt x="39" y="165"/>
                      <a:pt x="84" y="166"/>
                    </a:cubicBezTo>
                    <a:lnTo>
                      <a:pt x="84" y="165"/>
                    </a:lnTo>
                    <a:lnTo>
                      <a:pt x="334" y="167"/>
                    </a:lnTo>
                    <a:lnTo>
                      <a:pt x="459" y="167"/>
                    </a:lnTo>
                    <a:cubicBezTo>
                      <a:pt x="463" y="167"/>
                      <a:pt x="467" y="167"/>
                      <a:pt x="471" y="167"/>
                    </a:cubicBezTo>
                    <a:cubicBezTo>
                      <a:pt x="492" y="167"/>
                      <a:pt x="513" y="165"/>
                      <a:pt x="535" y="159"/>
                    </a:cubicBezTo>
                    <a:cubicBezTo>
                      <a:pt x="555" y="154"/>
                      <a:pt x="575" y="147"/>
                      <a:pt x="595" y="139"/>
                    </a:cubicBezTo>
                    <a:cubicBezTo>
                      <a:pt x="649" y="123"/>
                      <a:pt x="649" y="45"/>
                      <a:pt x="595" y="28"/>
                    </a:cubicBezTo>
                    <a:lnTo>
                      <a:pt x="538" y="9"/>
                    </a:lnTo>
                    <a:cubicBezTo>
                      <a:pt x="518" y="4"/>
                      <a:pt x="498" y="1"/>
                      <a:pt x="478" y="1"/>
                    </a:cubicBezTo>
                    <a:cubicBezTo>
                      <a:pt x="472" y="1"/>
                      <a:pt x="467" y="1"/>
                      <a:pt x="462" y="1"/>
                    </a:cubicBezTo>
                    <a:cubicBezTo>
                      <a:pt x="420" y="0"/>
                      <a:pt x="377" y="0"/>
                      <a:pt x="33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303" name="Google Shape;303;p23"/>
              <p:cNvSpPr/>
              <p:nvPr/>
            </p:nvSpPr>
            <p:spPr>
              <a:xfrm flipH="1">
                <a:off x="4301692" y="1391109"/>
                <a:ext cx="7954" cy="3731"/>
              </a:xfrm>
              <a:custGeom>
                <a:avLst/>
                <a:gdLst/>
                <a:ahLst/>
                <a:cxnLst/>
                <a:rect l="l" t="t" r="r" b="b"/>
                <a:pathLst>
                  <a:path w="388" h="182" extrusionOk="0">
                    <a:moveTo>
                      <a:pt x="90" y="0"/>
                    </a:moveTo>
                    <a:cubicBezTo>
                      <a:pt x="40" y="1"/>
                      <a:pt x="0" y="42"/>
                      <a:pt x="0" y="91"/>
                    </a:cubicBezTo>
                    <a:cubicBezTo>
                      <a:pt x="1" y="141"/>
                      <a:pt x="40" y="181"/>
                      <a:pt x="90" y="182"/>
                    </a:cubicBezTo>
                    <a:lnTo>
                      <a:pt x="90" y="181"/>
                    </a:lnTo>
                    <a:lnTo>
                      <a:pt x="160" y="180"/>
                    </a:lnTo>
                    <a:lnTo>
                      <a:pt x="197" y="180"/>
                    </a:lnTo>
                    <a:cubicBezTo>
                      <a:pt x="208" y="180"/>
                      <a:pt x="219" y="178"/>
                      <a:pt x="230" y="174"/>
                    </a:cubicBezTo>
                    <a:cubicBezTo>
                      <a:pt x="236" y="172"/>
                      <a:pt x="241" y="170"/>
                      <a:pt x="248" y="168"/>
                    </a:cubicBezTo>
                    <a:cubicBezTo>
                      <a:pt x="294" y="154"/>
                      <a:pt x="388" y="161"/>
                      <a:pt x="388" y="91"/>
                    </a:cubicBezTo>
                    <a:cubicBezTo>
                      <a:pt x="387" y="64"/>
                      <a:pt x="369" y="42"/>
                      <a:pt x="344" y="33"/>
                    </a:cubicBezTo>
                    <a:cubicBezTo>
                      <a:pt x="333" y="30"/>
                      <a:pt x="323" y="27"/>
                      <a:pt x="312" y="26"/>
                    </a:cubicBezTo>
                    <a:cubicBezTo>
                      <a:pt x="290" y="23"/>
                      <a:pt x="269" y="18"/>
                      <a:pt x="248" y="13"/>
                    </a:cubicBezTo>
                    <a:cubicBezTo>
                      <a:pt x="241" y="11"/>
                      <a:pt x="236" y="9"/>
                      <a:pt x="230" y="7"/>
                    </a:cubicBezTo>
                    <a:cubicBezTo>
                      <a:pt x="219" y="4"/>
                      <a:pt x="208" y="1"/>
                      <a:pt x="197" y="1"/>
                    </a:cubicBezTo>
                    <a:lnTo>
                      <a:pt x="162" y="1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</p:grpSp>
    </p:spTree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1">
  <p:cSld name="CUSTOM_19">
    <p:spTree>
      <p:nvGrpSpPr>
        <p:cNvPr id="1" name="Shape 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Google Shape;305;p24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06" name="Google Shape;306;p24"/>
          <p:cNvSpPr txBox="1">
            <a:spLocks noGrp="1"/>
          </p:cNvSpPr>
          <p:nvPr>
            <p:ph type="ctrTitle" idx="2"/>
          </p:nvPr>
        </p:nvSpPr>
        <p:spPr>
          <a:xfrm>
            <a:off x="2230651" y="2441871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07" name="Google Shape;307;p24"/>
          <p:cNvSpPr txBox="1">
            <a:spLocks noGrp="1"/>
          </p:cNvSpPr>
          <p:nvPr>
            <p:ph type="subTitle" idx="1"/>
          </p:nvPr>
        </p:nvSpPr>
        <p:spPr>
          <a:xfrm>
            <a:off x="2230684" y="2880592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8" name="Google Shape;308;p24"/>
          <p:cNvSpPr txBox="1">
            <a:spLocks noGrp="1"/>
          </p:cNvSpPr>
          <p:nvPr>
            <p:ph type="ctrTitle" idx="3"/>
          </p:nvPr>
        </p:nvSpPr>
        <p:spPr>
          <a:xfrm>
            <a:off x="7419313" y="2438400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09" name="Google Shape;309;p24"/>
          <p:cNvSpPr txBox="1">
            <a:spLocks noGrp="1"/>
          </p:cNvSpPr>
          <p:nvPr>
            <p:ph type="subTitle" idx="4"/>
          </p:nvPr>
        </p:nvSpPr>
        <p:spPr>
          <a:xfrm>
            <a:off x="7419332" y="28720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0" name="Google Shape;310;p24"/>
          <p:cNvSpPr txBox="1">
            <a:spLocks noGrp="1"/>
          </p:cNvSpPr>
          <p:nvPr>
            <p:ph type="ctrTitle" idx="5"/>
          </p:nvPr>
        </p:nvSpPr>
        <p:spPr>
          <a:xfrm>
            <a:off x="2230651" y="4245271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11" name="Google Shape;311;p24"/>
          <p:cNvSpPr txBox="1">
            <a:spLocks noGrp="1"/>
          </p:cNvSpPr>
          <p:nvPr>
            <p:ph type="subTitle" idx="6"/>
          </p:nvPr>
        </p:nvSpPr>
        <p:spPr>
          <a:xfrm>
            <a:off x="2230684" y="4683992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" name="Google Shape;312;p24"/>
          <p:cNvSpPr txBox="1">
            <a:spLocks noGrp="1"/>
          </p:cNvSpPr>
          <p:nvPr>
            <p:ph type="ctrTitle" idx="7"/>
          </p:nvPr>
        </p:nvSpPr>
        <p:spPr>
          <a:xfrm>
            <a:off x="7419313" y="4241800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13" name="Google Shape;313;p24"/>
          <p:cNvSpPr txBox="1">
            <a:spLocks noGrp="1"/>
          </p:cNvSpPr>
          <p:nvPr>
            <p:ph type="subTitle" idx="8"/>
          </p:nvPr>
        </p:nvSpPr>
        <p:spPr>
          <a:xfrm>
            <a:off x="7419332" y="46754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4" name="Google Shape;314;p24"/>
          <p:cNvGrpSpPr/>
          <p:nvPr/>
        </p:nvGrpSpPr>
        <p:grpSpPr>
          <a:xfrm>
            <a:off x="8621793" y="-2498235"/>
            <a:ext cx="7415155" cy="11280089"/>
            <a:chOff x="2543449" y="4242110"/>
            <a:chExt cx="1040130" cy="1640152"/>
          </a:xfrm>
        </p:grpSpPr>
        <p:sp>
          <p:nvSpPr>
            <p:cNvPr id="315" name="Google Shape;315;p24"/>
            <p:cNvSpPr/>
            <p:nvPr/>
          </p:nvSpPr>
          <p:spPr>
            <a:xfrm rot="-4203005">
              <a:off x="2298595" y="4784097"/>
              <a:ext cx="1529837" cy="556177"/>
            </a:xfrm>
            <a:custGeom>
              <a:avLst/>
              <a:gdLst/>
              <a:ahLst/>
              <a:cxnLst/>
              <a:rect l="l" t="t" r="r" b="b"/>
              <a:pathLst>
                <a:path w="59282" h="22955" extrusionOk="0">
                  <a:moveTo>
                    <a:pt x="59206" y="0"/>
                  </a:moveTo>
                  <a:cubicBezTo>
                    <a:pt x="59201" y="0"/>
                    <a:pt x="59195" y="4"/>
                    <a:pt x="59188" y="13"/>
                  </a:cubicBezTo>
                  <a:lnTo>
                    <a:pt x="49580" y="3488"/>
                  </a:lnTo>
                  <a:cubicBezTo>
                    <a:pt x="49404" y="3866"/>
                    <a:pt x="49242" y="3992"/>
                    <a:pt x="49076" y="3992"/>
                  </a:cubicBezTo>
                  <a:cubicBezTo>
                    <a:pt x="48743" y="3992"/>
                    <a:pt x="48390" y="3490"/>
                    <a:pt x="47869" y="3490"/>
                  </a:cubicBezTo>
                  <a:cubicBezTo>
                    <a:pt x="47660" y="3490"/>
                    <a:pt x="47424" y="3571"/>
                    <a:pt x="47150" y="3799"/>
                  </a:cubicBezTo>
                  <a:cubicBezTo>
                    <a:pt x="46575" y="4279"/>
                    <a:pt x="8390" y="7892"/>
                    <a:pt x="4800" y="14575"/>
                  </a:cubicBezTo>
                  <a:cubicBezTo>
                    <a:pt x="3738" y="16555"/>
                    <a:pt x="1179" y="15755"/>
                    <a:pt x="590" y="17776"/>
                  </a:cubicBezTo>
                  <a:cubicBezTo>
                    <a:pt x="0" y="19797"/>
                    <a:pt x="1001" y="22299"/>
                    <a:pt x="3208" y="22955"/>
                  </a:cubicBezTo>
                  <a:cubicBezTo>
                    <a:pt x="3305" y="20620"/>
                    <a:pt x="5507" y="18897"/>
                    <a:pt x="7320" y="17755"/>
                  </a:cubicBezTo>
                  <a:cubicBezTo>
                    <a:pt x="9378" y="16460"/>
                    <a:pt x="11678" y="15617"/>
                    <a:pt x="13950" y="14787"/>
                  </a:cubicBezTo>
                  <a:cubicBezTo>
                    <a:pt x="19133" y="12891"/>
                    <a:pt x="24368" y="10983"/>
                    <a:pt x="29840" y="10269"/>
                  </a:cubicBezTo>
                  <a:cubicBezTo>
                    <a:pt x="35848" y="9485"/>
                    <a:pt x="42042" y="10154"/>
                    <a:pt x="47918" y="8679"/>
                  </a:cubicBezTo>
                  <a:cubicBezTo>
                    <a:pt x="50927" y="7925"/>
                    <a:pt x="54869" y="6755"/>
                    <a:pt x="56980" y="4385"/>
                  </a:cubicBezTo>
                  <a:cubicBezTo>
                    <a:pt x="57800" y="3464"/>
                    <a:pt x="58458" y="2369"/>
                    <a:pt x="58926" y="1230"/>
                  </a:cubicBezTo>
                  <a:cubicBezTo>
                    <a:pt x="58983" y="1089"/>
                    <a:pt x="59281" y="0"/>
                    <a:pt x="5920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16" name="Google Shape;316;p24"/>
            <p:cNvSpPr/>
            <p:nvPr/>
          </p:nvSpPr>
          <p:spPr>
            <a:xfrm rot="-4203005">
              <a:off x="3031805" y="4812430"/>
              <a:ext cx="25419" cy="5960"/>
            </a:xfrm>
            <a:custGeom>
              <a:avLst/>
              <a:gdLst/>
              <a:ahLst/>
              <a:cxnLst/>
              <a:rect l="l" t="t" r="r" b="b"/>
              <a:pathLst>
                <a:path w="985" h="246" extrusionOk="0">
                  <a:moveTo>
                    <a:pt x="880" y="1"/>
                  </a:moveTo>
                  <a:cubicBezTo>
                    <a:pt x="872" y="1"/>
                    <a:pt x="864" y="2"/>
                    <a:pt x="856" y="3"/>
                  </a:cubicBezTo>
                  <a:cubicBezTo>
                    <a:pt x="829" y="7"/>
                    <a:pt x="805" y="12"/>
                    <a:pt x="779" y="15"/>
                  </a:cubicBezTo>
                  <a:lnTo>
                    <a:pt x="805" y="12"/>
                  </a:lnTo>
                  <a:lnTo>
                    <a:pt x="805" y="12"/>
                  </a:lnTo>
                  <a:cubicBezTo>
                    <a:pt x="620" y="36"/>
                    <a:pt x="435" y="48"/>
                    <a:pt x="249" y="48"/>
                  </a:cubicBezTo>
                  <a:cubicBezTo>
                    <a:pt x="199" y="48"/>
                    <a:pt x="149" y="47"/>
                    <a:pt x="100" y="45"/>
                  </a:cubicBezTo>
                  <a:cubicBezTo>
                    <a:pt x="45" y="46"/>
                    <a:pt x="1" y="90"/>
                    <a:pt x="1" y="145"/>
                  </a:cubicBezTo>
                  <a:cubicBezTo>
                    <a:pt x="2" y="198"/>
                    <a:pt x="45" y="242"/>
                    <a:pt x="100" y="244"/>
                  </a:cubicBezTo>
                  <a:lnTo>
                    <a:pt x="99" y="244"/>
                  </a:lnTo>
                  <a:cubicBezTo>
                    <a:pt x="145" y="245"/>
                    <a:pt x="192" y="246"/>
                    <a:pt x="239" y="246"/>
                  </a:cubicBezTo>
                  <a:cubicBezTo>
                    <a:pt x="463" y="246"/>
                    <a:pt x="687" y="229"/>
                    <a:pt x="908" y="194"/>
                  </a:cubicBezTo>
                  <a:cubicBezTo>
                    <a:pt x="934" y="188"/>
                    <a:pt x="955" y="171"/>
                    <a:pt x="967" y="149"/>
                  </a:cubicBezTo>
                  <a:cubicBezTo>
                    <a:pt x="981" y="126"/>
                    <a:pt x="984" y="98"/>
                    <a:pt x="978" y="73"/>
                  </a:cubicBezTo>
                  <a:cubicBezTo>
                    <a:pt x="971" y="48"/>
                    <a:pt x="955" y="26"/>
                    <a:pt x="933" y="14"/>
                  </a:cubicBezTo>
                  <a:cubicBezTo>
                    <a:pt x="916" y="5"/>
                    <a:pt x="898" y="1"/>
                    <a:pt x="88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17" name="Google Shape;317;p24"/>
            <p:cNvSpPr/>
            <p:nvPr/>
          </p:nvSpPr>
          <p:spPr>
            <a:xfrm rot="-4203005">
              <a:off x="3049438" y="4800908"/>
              <a:ext cx="15768" cy="5936"/>
            </a:xfrm>
            <a:custGeom>
              <a:avLst/>
              <a:gdLst/>
              <a:ahLst/>
              <a:cxnLst/>
              <a:rect l="l" t="t" r="r" b="b"/>
              <a:pathLst>
                <a:path w="611" h="245" extrusionOk="0">
                  <a:moveTo>
                    <a:pt x="518" y="1"/>
                  </a:moveTo>
                  <a:cubicBezTo>
                    <a:pt x="516" y="1"/>
                    <a:pt x="514" y="1"/>
                    <a:pt x="511" y="1"/>
                  </a:cubicBezTo>
                  <a:lnTo>
                    <a:pt x="99" y="47"/>
                  </a:lnTo>
                  <a:cubicBezTo>
                    <a:pt x="74" y="47"/>
                    <a:pt x="48" y="57"/>
                    <a:pt x="29" y="75"/>
                  </a:cubicBezTo>
                  <a:cubicBezTo>
                    <a:pt x="12" y="94"/>
                    <a:pt x="1" y="119"/>
                    <a:pt x="1" y="146"/>
                  </a:cubicBezTo>
                  <a:cubicBezTo>
                    <a:pt x="1" y="171"/>
                    <a:pt x="12" y="196"/>
                    <a:pt x="29" y="215"/>
                  </a:cubicBezTo>
                  <a:cubicBezTo>
                    <a:pt x="46" y="231"/>
                    <a:pt x="69" y="244"/>
                    <a:pt x="92" y="244"/>
                  </a:cubicBezTo>
                  <a:cubicBezTo>
                    <a:pt x="94" y="244"/>
                    <a:pt x="97" y="244"/>
                    <a:pt x="99" y="244"/>
                  </a:cubicBezTo>
                  <a:lnTo>
                    <a:pt x="511" y="199"/>
                  </a:lnTo>
                  <a:cubicBezTo>
                    <a:pt x="538" y="197"/>
                    <a:pt x="563" y="188"/>
                    <a:pt x="582" y="170"/>
                  </a:cubicBezTo>
                  <a:cubicBezTo>
                    <a:pt x="600" y="151"/>
                    <a:pt x="610" y="126"/>
                    <a:pt x="610" y="100"/>
                  </a:cubicBezTo>
                  <a:cubicBezTo>
                    <a:pt x="610" y="74"/>
                    <a:pt x="600" y="49"/>
                    <a:pt x="582" y="30"/>
                  </a:cubicBezTo>
                  <a:cubicBezTo>
                    <a:pt x="566" y="15"/>
                    <a:pt x="542" y="1"/>
                    <a:pt x="51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18" name="Google Shape;318;p24"/>
            <p:cNvSpPr/>
            <p:nvPr/>
          </p:nvSpPr>
          <p:spPr>
            <a:xfrm rot="-4203005">
              <a:off x="2993509" y="5088841"/>
              <a:ext cx="20232" cy="3562"/>
            </a:xfrm>
            <a:custGeom>
              <a:avLst/>
              <a:gdLst/>
              <a:ahLst/>
              <a:cxnLst/>
              <a:rect l="l" t="t" r="r" b="b"/>
              <a:pathLst>
                <a:path w="784" h="147" extrusionOk="0">
                  <a:moveTo>
                    <a:pt x="320" y="0"/>
                  </a:moveTo>
                  <a:cubicBezTo>
                    <a:pt x="236" y="0"/>
                    <a:pt x="153" y="5"/>
                    <a:pt x="70" y="13"/>
                  </a:cubicBezTo>
                  <a:cubicBezTo>
                    <a:pt x="35" y="18"/>
                    <a:pt x="1" y="42"/>
                    <a:pt x="4" y="80"/>
                  </a:cubicBezTo>
                  <a:cubicBezTo>
                    <a:pt x="5" y="111"/>
                    <a:pt x="30" y="145"/>
                    <a:pt x="64" y="145"/>
                  </a:cubicBezTo>
                  <a:cubicBezTo>
                    <a:pt x="66" y="145"/>
                    <a:pt x="68" y="145"/>
                    <a:pt x="70" y="145"/>
                  </a:cubicBezTo>
                  <a:lnTo>
                    <a:pt x="70" y="146"/>
                  </a:lnTo>
                  <a:cubicBezTo>
                    <a:pt x="145" y="139"/>
                    <a:pt x="221" y="136"/>
                    <a:pt x="296" y="136"/>
                  </a:cubicBezTo>
                  <a:cubicBezTo>
                    <a:pt x="332" y="136"/>
                    <a:pt x="367" y="136"/>
                    <a:pt x="402" y="138"/>
                  </a:cubicBezTo>
                  <a:cubicBezTo>
                    <a:pt x="456" y="141"/>
                    <a:pt x="512" y="141"/>
                    <a:pt x="567" y="144"/>
                  </a:cubicBezTo>
                  <a:cubicBezTo>
                    <a:pt x="570" y="144"/>
                    <a:pt x="572" y="144"/>
                    <a:pt x="575" y="144"/>
                  </a:cubicBezTo>
                  <a:cubicBezTo>
                    <a:pt x="582" y="144"/>
                    <a:pt x="590" y="143"/>
                    <a:pt x="597" y="142"/>
                  </a:cubicBezTo>
                  <a:cubicBezTo>
                    <a:pt x="597" y="142"/>
                    <a:pt x="604" y="140"/>
                    <a:pt x="606" y="139"/>
                  </a:cubicBezTo>
                  <a:lnTo>
                    <a:pt x="606" y="139"/>
                  </a:lnTo>
                  <a:cubicBezTo>
                    <a:pt x="612" y="138"/>
                    <a:pt x="617" y="138"/>
                    <a:pt x="622" y="138"/>
                  </a:cubicBezTo>
                  <a:cubicBezTo>
                    <a:pt x="631" y="138"/>
                    <a:pt x="640" y="139"/>
                    <a:pt x="649" y="140"/>
                  </a:cubicBezTo>
                  <a:cubicBezTo>
                    <a:pt x="677" y="140"/>
                    <a:pt x="704" y="142"/>
                    <a:pt x="732" y="144"/>
                  </a:cubicBezTo>
                  <a:cubicBezTo>
                    <a:pt x="732" y="144"/>
                    <a:pt x="733" y="144"/>
                    <a:pt x="734" y="144"/>
                  </a:cubicBezTo>
                  <a:cubicBezTo>
                    <a:pt x="777" y="144"/>
                    <a:pt x="784" y="77"/>
                    <a:pt x="742" y="66"/>
                  </a:cubicBezTo>
                  <a:cubicBezTo>
                    <a:pt x="716" y="59"/>
                    <a:pt x="689" y="51"/>
                    <a:pt x="662" y="45"/>
                  </a:cubicBezTo>
                  <a:cubicBezTo>
                    <a:pt x="647" y="43"/>
                    <a:pt x="634" y="40"/>
                    <a:pt x="619" y="35"/>
                  </a:cubicBezTo>
                  <a:lnTo>
                    <a:pt x="619" y="35"/>
                  </a:lnTo>
                  <a:cubicBezTo>
                    <a:pt x="617" y="33"/>
                    <a:pt x="611" y="29"/>
                    <a:pt x="611" y="29"/>
                  </a:cubicBezTo>
                  <a:cubicBezTo>
                    <a:pt x="603" y="25"/>
                    <a:pt x="593" y="22"/>
                    <a:pt x="584" y="21"/>
                  </a:cubicBezTo>
                  <a:cubicBezTo>
                    <a:pt x="525" y="11"/>
                    <a:pt x="465" y="4"/>
                    <a:pt x="405" y="2"/>
                  </a:cubicBezTo>
                  <a:cubicBezTo>
                    <a:pt x="376" y="1"/>
                    <a:pt x="348" y="0"/>
                    <a:pt x="32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19" name="Google Shape;319;p24"/>
            <p:cNvSpPr/>
            <p:nvPr/>
          </p:nvSpPr>
          <p:spPr>
            <a:xfrm rot="-4203005">
              <a:off x="3006767" y="5069533"/>
              <a:ext cx="14529" cy="2811"/>
            </a:xfrm>
            <a:custGeom>
              <a:avLst/>
              <a:gdLst/>
              <a:ahLst/>
              <a:cxnLst/>
              <a:rect l="l" t="t" r="r" b="b"/>
              <a:pathLst>
                <a:path w="563" h="116" extrusionOk="0">
                  <a:moveTo>
                    <a:pt x="396" y="1"/>
                  </a:moveTo>
                  <a:cubicBezTo>
                    <a:pt x="357" y="1"/>
                    <a:pt x="319" y="1"/>
                    <a:pt x="280" y="2"/>
                  </a:cubicBezTo>
                  <a:lnTo>
                    <a:pt x="50" y="9"/>
                  </a:lnTo>
                  <a:cubicBezTo>
                    <a:pt x="24" y="9"/>
                    <a:pt x="2" y="32"/>
                    <a:pt x="1" y="59"/>
                  </a:cubicBezTo>
                  <a:cubicBezTo>
                    <a:pt x="2" y="85"/>
                    <a:pt x="24" y="107"/>
                    <a:pt x="50" y="107"/>
                  </a:cubicBezTo>
                  <a:lnTo>
                    <a:pt x="280" y="115"/>
                  </a:lnTo>
                  <a:cubicBezTo>
                    <a:pt x="317" y="116"/>
                    <a:pt x="355" y="116"/>
                    <a:pt x="392" y="116"/>
                  </a:cubicBezTo>
                  <a:lnTo>
                    <a:pt x="451" y="116"/>
                  </a:lnTo>
                  <a:cubicBezTo>
                    <a:pt x="473" y="114"/>
                    <a:pt x="495" y="111"/>
                    <a:pt x="517" y="104"/>
                  </a:cubicBezTo>
                  <a:cubicBezTo>
                    <a:pt x="563" y="94"/>
                    <a:pt x="563" y="23"/>
                    <a:pt x="517" y="13"/>
                  </a:cubicBezTo>
                  <a:cubicBezTo>
                    <a:pt x="497" y="6"/>
                    <a:pt x="476" y="2"/>
                    <a:pt x="45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20" name="Google Shape;320;p24"/>
            <p:cNvSpPr/>
            <p:nvPr/>
          </p:nvSpPr>
          <p:spPr>
            <a:xfrm rot="-4203005">
              <a:off x="2932151" y="5434552"/>
              <a:ext cx="15019" cy="4240"/>
            </a:xfrm>
            <a:custGeom>
              <a:avLst/>
              <a:gdLst/>
              <a:ahLst/>
              <a:cxnLst/>
              <a:rect l="l" t="t" r="r" b="b"/>
              <a:pathLst>
                <a:path w="582" h="175" extrusionOk="0">
                  <a:moveTo>
                    <a:pt x="379" y="1"/>
                  </a:moveTo>
                  <a:cubicBezTo>
                    <a:pt x="353" y="1"/>
                    <a:pt x="326" y="3"/>
                    <a:pt x="299" y="4"/>
                  </a:cubicBezTo>
                  <a:lnTo>
                    <a:pt x="82" y="15"/>
                  </a:lnTo>
                  <a:cubicBezTo>
                    <a:pt x="41" y="18"/>
                    <a:pt x="1" y="51"/>
                    <a:pt x="3" y="94"/>
                  </a:cubicBezTo>
                  <a:cubicBezTo>
                    <a:pt x="5" y="132"/>
                    <a:pt x="34" y="174"/>
                    <a:pt x="74" y="174"/>
                  </a:cubicBezTo>
                  <a:cubicBezTo>
                    <a:pt x="76" y="174"/>
                    <a:pt x="79" y="174"/>
                    <a:pt x="82" y="173"/>
                  </a:cubicBezTo>
                  <a:lnTo>
                    <a:pt x="82" y="174"/>
                  </a:lnTo>
                  <a:lnTo>
                    <a:pt x="273" y="152"/>
                  </a:lnTo>
                  <a:cubicBezTo>
                    <a:pt x="306" y="149"/>
                    <a:pt x="338" y="146"/>
                    <a:pt x="371" y="141"/>
                  </a:cubicBezTo>
                  <a:cubicBezTo>
                    <a:pt x="406" y="136"/>
                    <a:pt x="439" y="128"/>
                    <a:pt x="474" y="121"/>
                  </a:cubicBezTo>
                  <a:cubicBezTo>
                    <a:pt x="508" y="114"/>
                    <a:pt x="565" y="112"/>
                    <a:pt x="576" y="71"/>
                  </a:cubicBezTo>
                  <a:cubicBezTo>
                    <a:pt x="582" y="49"/>
                    <a:pt x="573" y="27"/>
                    <a:pt x="554" y="16"/>
                  </a:cubicBezTo>
                  <a:cubicBezTo>
                    <a:pt x="538" y="6"/>
                    <a:pt x="519" y="5"/>
                    <a:pt x="501" y="5"/>
                  </a:cubicBezTo>
                  <a:cubicBezTo>
                    <a:pt x="498" y="5"/>
                    <a:pt x="494" y="5"/>
                    <a:pt x="491" y="5"/>
                  </a:cubicBezTo>
                  <a:lnTo>
                    <a:pt x="396" y="1"/>
                  </a:lnTo>
                  <a:cubicBezTo>
                    <a:pt x="390" y="1"/>
                    <a:pt x="385" y="1"/>
                    <a:pt x="37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21" name="Google Shape;321;p24"/>
            <p:cNvSpPr/>
            <p:nvPr/>
          </p:nvSpPr>
          <p:spPr>
            <a:xfrm rot="-4203005">
              <a:off x="2932288" y="5414115"/>
              <a:ext cx="11690" cy="3416"/>
            </a:xfrm>
            <a:custGeom>
              <a:avLst/>
              <a:gdLst/>
              <a:ahLst/>
              <a:cxnLst/>
              <a:rect l="l" t="t" r="r" b="b"/>
              <a:pathLst>
                <a:path w="453" h="141" extrusionOk="0">
                  <a:moveTo>
                    <a:pt x="139" y="1"/>
                  </a:moveTo>
                  <a:cubicBezTo>
                    <a:pt x="116" y="1"/>
                    <a:pt x="93" y="1"/>
                    <a:pt x="70" y="1"/>
                  </a:cubicBezTo>
                  <a:cubicBezTo>
                    <a:pt x="32" y="1"/>
                    <a:pt x="2" y="33"/>
                    <a:pt x="1" y="71"/>
                  </a:cubicBezTo>
                  <a:cubicBezTo>
                    <a:pt x="2" y="108"/>
                    <a:pt x="32" y="139"/>
                    <a:pt x="70" y="140"/>
                  </a:cubicBezTo>
                  <a:cubicBezTo>
                    <a:pt x="93" y="140"/>
                    <a:pt x="116" y="140"/>
                    <a:pt x="139" y="140"/>
                  </a:cubicBezTo>
                  <a:cubicBezTo>
                    <a:pt x="174" y="140"/>
                    <a:pt x="208" y="140"/>
                    <a:pt x="242" y="138"/>
                  </a:cubicBezTo>
                  <a:cubicBezTo>
                    <a:pt x="271" y="137"/>
                    <a:pt x="298" y="134"/>
                    <a:pt x="327" y="131"/>
                  </a:cubicBezTo>
                  <a:cubicBezTo>
                    <a:pt x="359" y="126"/>
                    <a:pt x="394" y="126"/>
                    <a:pt x="424" y="110"/>
                  </a:cubicBezTo>
                  <a:cubicBezTo>
                    <a:pt x="452" y="92"/>
                    <a:pt x="452" y="49"/>
                    <a:pt x="424" y="32"/>
                  </a:cubicBezTo>
                  <a:cubicBezTo>
                    <a:pt x="395" y="15"/>
                    <a:pt x="361" y="15"/>
                    <a:pt x="330" y="10"/>
                  </a:cubicBezTo>
                  <a:cubicBezTo>
                    <a:pt x="300" y="7"/>
                    <a:pt x="272" y="4"/>
                    <a:pt x="242" y="3"/>
                  </a:cubicBezTo>
                  <a:cubicBezTo>
                    <a:pt x="208" y="1"/>
                    <a:pt x="174" y="1"/>
                    <a:pt x="13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22" name="Google Shape;322;p24"/>
            <p:cNvSpPr/>
            <p:nvPr/>
          </p:nvSpPr>
          <p:spPr>
            <a:xfrm rot="-4203005">
              <a:off x="3144435" y="4567322"/>
              <a:ext cx="18013" cy="4482"/>
            </a:xfrm>
            <a:custGeom>
              <a:avLst/>
              <a:gdLst/>
              <a:ahLst/>
              <a:cxnLst/>
              <a:rect l="l" t="t" r="r" b="b"/>
              <a:pathLst>
                <a:path w="698" h="185" extrusionOk="0">
                  <a:moveTo>
                    <a:pt x="614" y="1"/>
                  </a:moveTo>
                  <a:cubicBezTo>
                    <a:pt x="612" y="1"/>
                    <a:pt x="609" y="1"/>
                    <a:pt x="607" y="1"/>
                  </a:cubicBezTo>
                  <a:cubicBezTo>
                    <a:pt x="595" y="1"/>
                    <a:pt x="582" y="2"/>
                    <a:pt x="571" y="3"/>
                  </a:cubicBezTo>
                  <a:lnTo>
                    <a:pt x="496" y="11"/>
                  </a:lnTo>
                  <a:cubicBezTo>
                    <a:pt x="447" y="15"/>
                    <a:pt x="399" y="21"/>
                    <a:pt x="349" y="26"/>
                  </a:cubicBezTo>
                  <a:cubicBezTo>
                    <a:pt x="248" y="40"/>
                    <a:pt x="147" y="56"/>
                    <a:pt x="46" y="72"/>
                  </a:cubicBezTo>
                  <a:cubicBezTo>
                    <a:pt x="17" y="75"/>
                    <a:pt x="0" y="110"/>
                    <a:pt x="4" y="135"/>
                  </a:cubicBezTo>
                  <a:cubicBezTo>
                    <a:pt x="8" y="159"/>
                    <a:pt x="29" y="185"/>
                    <a:pt x="55" y="185"/>
                  </a:cubicBezTo>
                  <a:cubicBezTo>
                    <a:pt x="57" y="185"/>
                    <a:pt x="59" y="185"/>
                    <a:pt x="61" y="184"/>
                  </a:cubicBezTo>
                  <a:lnTo>
                    <a:pt x="62" y="184"/>
                  </a:lnTo>
                  <a:cubicBezTo>
                    <a:pt x="164" y="173"/>
                    <a:pt x="266" y="163"/>
                    <a:pt x="367" y="150"/>
                  </a:cubicBezTo>
                  <a:cubicBezTo>
                    <a:pt x="416" y="143"/>
                    <a:pt x="464" y="136"/>
                    <a:pt x="512" y="129"/>
                  </a:cubicBezTo>
                  <a:lnTo>
                    <a:pt x="582" y="116"/>
                  </a:lnTo>
                  <a:cubicBezTo>
                    <a:pt x="596" y="114"/>
                    <a:pt x="609" y="112"/>
                    <a:pt x="621" y="109"/>
                  </a:cubicBezTo>
                  <a:cubicBezTo>
                    <a:pt x="636" y="105"/>
                    <a:pt x="650" y="99"/>
                    <a:pt x="663" y="92"/>
                  </a:cubicBezTo>
                  <a:cubicBezTo>
                    <a:pt x="697" y="71"/>
                    <a:pt x="690" y="19"/>
                    <a:pt x="652" y="7"/>
                  </a:cubicBezTo>
                  <a:cubicBezTo>
                    <a:pt x="640" y="3"/>
                    <a:pt x="627" y="1"/>
                    <a:pt x="61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23" name="Google Shape;323;p24"/>
            <p:cNvSpPr/>
            <p:nvPr/>
          </p:nvSpPr>
          <p:spPr>
            <a:xfrm rot="-4203005">
              <a:off x="3144926" y="4539954"/>
              <a:ext cx="11819" cy="4579"/>
            </a:xfrm>
            <a:custGeom>
              <a:avLst/>
              <a:gdLst/>
              <a:ahLst/>
              <a:cxnLst/>
              <a:rect l="l" t="t" r="r" b="b"/>
              <a:pathLst>
                <a:path w="458" h="189" extrusionOk="0">
                  <a:moveTo>
                    <a:pt x="383" y="0"/>
                  </a:moveTo>
                  <a:cubicBezTo>
                    <a:pt x="369" y="0"/>
                    <a:pt x="356" y="2"/>
                    <a:pt x="343" y="4"/>
                  </a:cubicBezTo>
                  <a:lnTo>
                    <a:pt x="304" y="12"/>
                  </a:lnTo>
                  <a:lnTo>
                    <a:pt x="218" y="30"/>
                  </a:lnTo>
                  <a:cubicBezTo>
                    <a:pt x="162" y="43"/>
                    <a:pt x="106" y="59"/>
                    <a:pt x="50" y="74"/>
                  </a:cubicBezTo>
                  <a:cubicBezTo>
                    <a:pt x="19" y="82"/>
                    <a:pt x="1" y="115"/>
                    <a:pt x="9" y="145"/>
                  </a:cubicBezTo>
                  <a:cubicBezTo>
                    <a:pt x="17" y="172"/>
                    <a:pt x="40" y="189"/>
                    <a:pt x="66" y="189"/>
                  </a:cubicBezTo>
                  <a:cubicBezTo>
                    <a:pt x="71" y="189"/>
                    <a:pt x="77" y="188"/>
                    <a:pt x="82" y="186"/>
                  </a:cubicBezTo>
                  <a:cubicBezTo>
                    <a:pt x="138" y="174"/>
                    <a:pt x="195" y="160"/>
                    <a:pt x="249" y="144"/>
                  </a:cubicBezTo>
                  <a:lnTo>
                    <a:pt x="332" y="121"/>
                  </a:lnTo>
                  <a:cubicBezTo>
                    <a:pt x="344" y="117"/>
                    <a:pt x="359" y="114"/>
                    <a:pt x="372" y="109"/>
                  </a:cubicBezTo>
                  <a:cubicBezTo>
                    <a:pt x="389" y="103"/>
                    <a:pt x="404" y="96"/>
                    <a:pt x="419" y="86"/>
                  </a:cubicBezTo>
                  <a:cubicBezTo>
                    <a:pt x="457" y="62"/>
                    <a:pt x="441" y="3"/>
                    <a:pt x="396" y="1"/>
                  </a:cubicBezTo>
                  <a:cubicBezTo>
                    <a:pt x="391" y="1"/>
                    <a:pt x="387" y="0"/>
                    <a:pt x="38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3">
  <p:cSld name="CUSTOM_17"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25"/>
          <p:cNvSpPr txBox="1">
            <a:spLocks noGrp="1"/>
          </p:cNvSpPr>
          <p:nvPr>
            <p:ph type="ctrTitle"/>
          </p:nvPr>
        </p:nvSpPr>
        <p:spPr>
          <a:xfrm flipH="1">
            <a:off x="957800" y="944699"/>
            <a:ext cx="6940800" cy="1394800"/>
          </a:xfrm>
          <a:prstGeom prst="rect">
            <a:avLst/>
          </a:prstGeom>
        </p:spPr>
        <p:txBody>
          <a:bodyPr spcFirstLastPara="1" wrap="square" lIns="91425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26" name="Google Shape;326;p25"/>
          <p:cNvSpPr txBox="1">
            <a:spLocks noGrp="1"/>
          </p:cNvSpPr>
          <p:nvPr>
            <p:ph type="subTitle" idx="1"/>
          </p:nvPr>
        </p:nvSpPr>
        <p:spPr>
          <a:xfrm flipH="1">
            <a:off x="956967" y="2175599"/>
            <a:ext cx="3007200" cy="145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 1">
  <p:cSld name="CUSTOM_16"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26"/>
          <p:cNvSpPr/>
          <p:nvPr/>
        </p:nvSpPr>
        <p:spPr>
          <a:xfrm>
            <a:off x="-111433" y="-57766"/>
            <a:ext cx="10060433" cy="3630044"/>
          </a:xfrm>
          <a:custGeom>
            <a:avLst/>
            <a:gdLst/>
            <a:ahLst/>
            <a:cxnLst/>
            <a:rect l="l" t="t" r="r" b="b"/>
            <a:pathLst>
              <a:path w="145298" h="56924" extrusionOk="0">
                <a:moveTo>
                  <a:pt x="0" y="0"/>
                </a:moveTo>
                <a:lnTo>
                  <a:pt x="0" y="55055"/>
                </a:lnTo>
                <a:cubicBezTo>
                  <a:pt x="5752" y="56379"/>
                  <a:pt x="12050" y="56924"/>
                  <a:pt x="18086" y="56924"/>
                </a:cubicBezTo>
                <a:cubicBezTo>
                  <a:pt x="21186" y="56924"/>
                  <a:pt x="24216" y="56780"/>
                  <a:pt x="27068" y="56525"/>
                </a:cubicBezTo>
                <a:cubicBezTo>
                  <a:pt x="40452" y="55322"/>
                  <a:pt x="53301" y="51228"/>
                  <a:pt x="64412" y="45330"/>
                </a:cubicBezTo>
                <a:cubicBezTo>
                  <a:pt x="71847" y="41354"/>
                  <a:pt x="78597" y="36558"/>
                  <a:pt x="86567" y="33283"/>
                </a:cubicBezTo>
                <a:cubicBezTo>
                  <a:pt x="101822" y="27085"/>
                  <a:pt x="121004" y="26717"/>
                  <a:pt x="133853" y="17795"/>
                </a:cubicBezTo>
                <a:cubicBezTo>
                  <a:pt x="139199" y="14085"/>
                  <a:pt x="143026" y="9073"/>
                  <a:pt x="144613" y="3626"/>
                </a:cubicBezTo>
                <a:cubicBezTo>
                  <a:pt x="144964" y="2439"/>
                  <a:pt x="145214" y="1236"/>
                  <a:pt x="145298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grpSp>
        <p:nvGrpSpPr>
          <p:cNvPr id="329" name="Google Shape;329;p26"/>
          <p:cNvGrpSpPr/>
          <p:nvPr/>
        </p:nvGrpSpPr>
        <p:grpSpPr>
          <a:xfrm flipH="1">
            <a:off x="7605312" y="-771230"/>
            <a:ext cx="4902944" cy="3636145"/>
            <a:chOff x="4822800" y="2395325"/>
            <a:chExt cx="807450" cy="598825"/>
          </a:xfrm>
        </p:grpSpPr>
        <p:sp>
          <p:nvSpPr>
            <p:cNvPr id="330" name="Google Shape;330;p26"/>
            <p:cNvSpPr/>
            <p:nvPr/>
          </p:nvSpPr>
          <p:spPr>
            <a:xfrm>
              <a:off x="4822800" y="2395325"/>
              <a:ext cx="807450" cy="598825"/>
            </a:xfrm>
            <a:custGeom>
              <a:avLst/>
              <a:gdLst/>
              <a:ahLst/>
              <a:cxnLst/>
              <a:rect l="l" t="t" r="r" b="b"/>
              <a:pathLst>
                <a:path w="32298" h="23953" extrusionOk="0">
                  <a:moveTo>
                    <a:pt x="5555" y="1"/>
                  </a:moveTo>
                  <a:cubicBezTo>
                    <a:pt x="3688" y="1"/>
                    <a:pt x="1707" y="413"/>
                    <a:pt x="0" y="571"/>
                  </a:cubicBezTo>
                  <a:cubicBezTo>
                    <a:pt x="2931" y="938"/>
                    <a:pt x="4272" y="2206"/>
                    <a:pt x="6023" y="3779"/>
                  </a:cubicBezTo>
                  <a:cubicBezTo>
                    <a:pt x="7865" y="5435"/>
                    <a:pt x="9279" y="7799"/>
                    <a:pt x="10017" y="10455"/>
                  </a:cubicBezTo>
                  <a:cubicBezTo>
                    <a:pt x="10241" y="11259"/>
                    <a:pt x="10409" y="12099"/>
                    <a:pt x="10773" y="12822"/>
                  </a:cubicBezTo>
                  <a:cubicBezTo>
                    <a:pt x="11147" y="13561"/>
                    <a:pt x="11706" y="14129"/>
                    <a:pt x="12295" y="14611"/>
                  </a:cubicBezTo>
                  <a:cubicBezTo>
                    <a:pt x="15119" y="16922"/>
                    <a:pt x="18633" y="17424"/>
                    <a:pt x="21910" y="18507"/>
                  </a:cubicBezTo>
                  <a:cubicBezTo>
                    <a:pt x="22992" y="18864"/>
                    <a:pt x="24051" y="19287"/>
                    <a:pt x="25081" y="19772"/>
                  </a:cubicBezTo>
                  <a:cubicBezTo>
                    <a:pt x="26833" y="20595"/>
                    <a:pt x="28937" y="21544"/>
                    <a:pt x="30375" y="23061"/>
                  </a:cubicBezTo>
                  <a:cubicBezTo>
                    <a:pt x="30682" y="23384"/>
                    <a:pt x="31130" y="23952"/>
                    <a:pt x="31503" y="23952"/>
                  </a:cubicBezTo>
                  <a:cubicBezTo>
                    <a:pt x="31688" y="23952"/>
                    <a:pt x="31855" y="23813"/>
                    <a:pt x="31977" y="23437"/>
                  </a:cubicBezTo>
                  <a:cubicBezTo>
                    <a:pt x="32297" y="22448"/>
                    <a:pt x="32268" y="20901"/>
                    <a:pt x="31982" y="19913"/>
                  </a:cubicBezTo>
                  <a:cubicBezTo>
                    <a:pt x="31609" y="18622"/>
                    <a:pt x="30656" y="17722"/>
                    <a:pt x="29677" y="17069"/>
                  </a:cubicBezTo>
                  <a:cubicBezTo>
                    <a:pt x="27475" y="15600"/>
                    <a:pt x="24964" y="15023"/>
                    <a:pt x="22573" y="14102"/>
                  </a:cubicBezTo>
                  <a:cubicBezTo>
                    <a:pt x="20181" y="13180"/>
                    <a:pt x="17756" y="11773"/>
                    <a:pt x="16373" y="9204"/>
                  </a:cubicBezTo>
                  <a:cubicBezTo>
                    <a:pt x="15763" y="8075"/>
                    <a:pt x="15389" y="6778"/>
                    <a:pt x="14833" y="5608"/>
                  </a:cubicBezTo>
                  <a:cubicBezTo>
                    <a:pt x="13503" y="2812"/>
                    <a:pt x="10931" y="1449"/>
                    <a:pt x="8419" y="466"/>
                  </a:cubicBezTo>
                  <a:cubicBezTo>
                    <a:pt x="7538" y="121"/>
                    <a:pt x="6563" y="1"/>
                    <a:pt x="555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1" name="Google Shape;331;p26"/>
            <p:cNvSpPr/>
            <p:nvPr/>
          </p:nvSpPr>
          <p:spPr>
            <a:xfrm>
              <a:off x="4999025" y="2416600"/>
              <a:ext cx="5025" cy="4925"/>
            </a:xfrm>
            <a:custGeom>
              <a:avLst/>
              <a:gdLst/>
              <a:ahLst/>
              <a:cxnLst/>
              <a:rect l="l" t="t" r="r" b="b"/>
              <a:pathLst>
                <a:path w="201" h="197" extrusionOk="0">
                  <a:moveTo>
                    <a:pt x="101" y="1"/>
                  </a:moveTo>
                  <a:cubicBezTo>
                    <a:pt x="49" y="1"/>
                    <a:pt x="0" y="46"/>
                    <a:pt x="3" y="99"/>
                  </a:cubicBezTo>
                  <a:cubicBezTo>
                    <a:pt x="4" y="153"/>
                    <a:pt x="47" y="197"/>
                    <a:pt x="101" y="197"/>
                  </a:cubicBezTo>
                  <a:cubicBezTo>
                    <a:pt x="152" y="197"/>
                    <a:pt x="201" y="153"/>
                    <a:pt x="199" y="99"/>
                  </a:cubicBezTo>
                  <a:cubicBezTo>
                    <a:pt x="198" y="45"/>
                    <a:pt x="154" y="2"/>
                    <a:pt x="1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2" name="Google Shape;332;p26"/>
            <p:cNvSpPr/>
            <p:nvPr/>
          </p:nvSpPr>
          <p:spPr>
            <a:xfrm>
              <a:off x="5016350" y="2430825"/>
              <a:ext cx="14400" cy="4225"/>
            </a:xfrm>
            <a:custGeom>
              <a:avLst/>
              <a:gdLst/>
              <a:ahLst/>
              <a:cxnLst/>
              <a:rect l="l" t="t" r="r" b="b"/>
              <a:pathLst>
                <a:path w="576" h="169" extrusionOk="0">
                  <a:moveTo>
                    <a:pt x="414" y="0"/>
                  </a:moveTo>
                  <a:cubicBezTo>
                    <a:pt x="375" y="0"/>
                    <a:pt x="335" y="2"/>
                    <a:pt x="296" y="5"/>
                  </a:cubicBezTo>
                  <a:cubicBezTo>
                    <a:pt x="214" y="13"/>
                    <a:pt x="132" y="28"/>
                    <a:pt x="52" y="49"/>
                  </a:cubicBezTo>
                  <a:cubicBezTo>
                    <a:pt x="19" y="57"/>
                    <a:pt x="0" y="91"/>
                    <a:pt x="9" y="125"/>
                  </a:cubicBezTo>
                  <a:cubicBezTo>
                    <a:pt x="17" y="151"/>
                    <a:pt x="42" y="169"/>
                    <a:pt x="69" y="169"/>
                  </a:cubicBezTo>
                  <a:cubicBezTo>
                    <a:pt x="74" y="169"/>
                    <a:pt x="79" y="168"/>
                    <a:pt x="84" y="167"/>
                  </a:cubicBezTo>
                  <a:cubicBezTo>
                    <a:pt x="120" y="158"/>
                    <a:pt x="157" y="150"/>
                    <a:pt x="195" y="144"/>
                  </a:cubicBezTo>
                  <a:lnTo>
                    <a:pt x="223" y="139"/>
                  </a:lnTo>
                  <a:lnTo>
                    <a:pt x="238" y="137"/>
                  </a:lnTo>
                  <a:lnTo>
                    <a:pt x="241" y="137"/>
                  </a:lnTo>
                  <a:cubicBezTo>
                    <a:pt x="259" y="135"/>
                    <a:pt x="280" y="133"/>
                    <a:pt x="300" y="131"/>
                  </a:cubicBezTo>
                  <a:cubicBezTo>
                    <a:pt x="336" y="128"/>
                    <a:pt x="374" y="127"/>
                    <a:pt x="412" y="126"/>
                  </a:cubicBezTo>
                  <a:lnTo>
                    <a:pt x="468" y="126"/>
                  </a:lnTo>
                  <a:cubicBezTo>
                    <a:pt x="471" y="126"/>
                    <a:pt x="474" y="126"/>
                    <a:pt x="477" y="126"/>
                  </a:cubicBezTo>
                  <a:cubicBezTo>
                    <a:pt x="497" y="126"/>
                    <a:pt x="516" y="123"/>
                    <a:pt x="536" y="116"/>
                  </a:cubicBezTo>
                  <a:cubicBezTo>
                    <a:pt x="555" y="111"/>
                    <a:pt x="569" y="94"/>
                    <a:pt x="573" y="73"/>
                  </a:cubicBezTo>
                  <a:cubicBezTo>
                    <a:pt x="576" y="53"/>
                    <a:pt x="565" y="32"/>
                    <a:pt x="547" y="22"/>
                  </a:cubicBezTo>
                  <a:cubicBezTo>
                    <a:pt x="537" y="16"/>
                    <a:pt x="525" y="11"/>
                    <a:pt x="513" y="6"/>
                  </a:cubicBezTo>
                  <a:cubicBezTo>
                    <a:pt x="500" y="3"/>
                    <a:pt x="487" y="2"/>
                    <a:pt x="475" y="2"/>
                  </a:cubicBezTo>
                  <a:cubicBezTo>
                    <a:pt x="455" y="1"/>
                    <a:pt x="436" y="0"/>
                    <a:pt x="41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3" name="Google Shape;333;p26"/>
            <p:cNvSpPr/>
            <p:nvPr/>
          </p:nvSpPr>
          <p:spPr>
            <a:xfrm>
              <a:off x="5136400" y="2735125"/>
              <a:ext cx="10200" cy="3250"/>
            </a:xfrm>
            <a:custGeom>
              <a:avLst/>
              <a:gdLst/>
              <a:ahLst/>
              <a:cxnLst/>
              <a:rect l="l" t="t" r="r" b="b"/>
              <a:pathLst>
                <a:path w="408" h="130" extrusionOk="0">
                  <a:moveTo>
                    <a:pt x="131" y="0"/>
                  </a:moveTo>
                  <a:cubicBezTo>
                    <a:pt x="102" y="1"/>
                    <a:pt x="72" y="5"/>
                    <a:pt x="43" y="10"/>
                  </a:cubicBezTo>
                  <a:cubicBezTo>
                    <a:pt x="18" y="17"/>
                    <a:pt x="1" y="39"/>
                    <a:pt x="1" y="65"/>
                  </a:cubicBezTo>
                  <a:cubicBezTo>
                    <a:pt x="2" y="88"/>
                    <a:pt x="17" y="116"/>
                    <a:pt x="43" y="120"/>
                  </a:cubicBezTo>
                  <a:lnTo>
                    <a:pt x="43" y="119"/>
                  </a:lnTo>
                  <a:cubicBezTo>
                    <a:pt x="72" y="126"/>
                    <a:pt x="102" y="129"/>
                    <a:pt x="131" y="130"/>
                  </a:cubicBezTo>
                  <a:lnTo>
                    <a:pt x="205" y="130"/>
                  </a:lnTo>
                  <a:cubicBezTo>
                    <a:pt x="229" y="130"/>
                    <a:pt x="255" y="130"/>
                    <a:pt x="279" y="129"/>
                  </a:cubicBezTo>
                  <a:cubicBezTo>
                    <a:pt x="292" y="129"/>
                    <a:pt x="305" y="128"/>
                    <a:pt x="318" y="127"/>
                  </a:cubicBezTo>
                  <a:cubicBezTo>
                    <a:pt x="327" y="127"/>
                    <a:pt x="337" y="126"/>
                    <a:pt x="346" y="124"/>
                  </a:cubicBezTo>
                  <a:cubicBezTo>
                    <a:pt x="356" y="120"/>
                    <a:pt x="365" y="116"/>
                    <a:pt x="373" y="110"/>
                  </a:cubicBezTo>
                  <a:cubicBezTo>
                    <a:pt x="408" y="90"/>
                    <a:pt x="408" y="39"/>
                    <a:pt x="373" y="19"/>
                  </a:cubicBezTo>
                  <a:cubicBezTo>
                    <a:pt x="365" y="13"/>
                    <a:pt x="356" y="9"/>
                    <a:pt x="346" y="6"/>
                  </a:cubicBezTo>
                  <a:cubicBezTo>
                    <a:pt x="337" y="3"/>
                    <a:pt x="327" y="2"/>
                    <a:pt x="319" y="2"/>
                  </a:cubicBezTo>
                  <a:cubicBezTo>
                    <a:pt x="305" y="2"/>
                    <a:pt x="293" y="1"/>
                    <a:pt x="279" y="1"/>
                  </a:cubicBezTo>
                  <a:cubicBezTo>
                    <a:pt x="255" y="0"/>
                    <a:pt x="230" y="0"/>
                    <a:pt x="20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4" name="Google Shape;334;p26"/>
            <p:cNvSpPr/>
            <p:nvPr/>
          </p:nvSpPr>
          <p:spPr>
            <a:xfrm>
              <a:off x="5140125" y="2750750"/>
              <a:ext cx="19950" cy="2875"/>
            </a:xfrm>
            <a:custGeom>
              <a:avLst/>
              <a:gdLst/>
              <a:ahLst/>
              <a:cxnLst/>
              <a:rect l="l" t="t" r="r" b="b"/>
              <a:pathLst>
                <a:path w="798" h="115" extrusionOk="0">
                  <a:moveTo>
                    <a:pt x="407" y="1"/>
                  </a:moveTo>
                  <a:lnTo>
                    <a:pt x="53" y="4"/>
                  </a:lnTo>
                  <a:cubicBezTo>
                    <a:pt x="24" y="4"/>
                    <a:pt x="1" y="27"/>
                    <a:pt x="0" y="56"/>
                  </a:cubicBezTo>
                  <a:cubicBezTo>
                    <a:pt x="1" y="85"/>
                    <a:pt x="24" y="108"/>
                    <a:pt x="53" y="109"/>
                  </a:cubicBezTo>
                  <a:lnTo>
                    <a:pt x="53" y="112"/>
                  </a:lnTo>
                  <a:lnTo>
                    <a:pt x="407" y="114"/>
                  </a:lnTo>
                  <a:lnTo>
                    <a:pt x="538" y="114"/>
                  </a:lnTo>
                  <a:cubicBezTo>
                    <a:pt x="554" y="113"/>
                    <a:pt x="571" y="109"/>
                    <a:pt x="584" y="108"/>
                  </a:cubicBezTo>
                  <a:lnTo>
                    <a:pt x="670" y="103"/>
                  </a:lnTo>
                  <a:cubicBezTo>
                    <a:pt x="701" y="103"/>
                    <a:pt x="733" y="99"/>
                    <a:pt x="764" y="90"/>
                  </a:cubicBezTo>
                  <a:cubicBezTo>
                    <a:pt x="797" y="81"/>
                    <a:pt x="797" y="34"/>
                    <a:pt x="764" y="25"/>
                  </a:cubicBezTo>
                  <a:cubicBezTo>
                    <a:pt x="733" y="16"/>
                    <a:pt x="701" y="12"/>
                    <a:pt x="670" y="12"/>
                  </a:cubicBezTo>
                  <a:lnTo>
                    <a:pt x="584" y="7"/>
                  </a:lnTo>
                  <a:cubicBezTo>
                    <a:pt x="571" y="6"/>
                    <a:pt x="555" y="2"/>
                    <a:pt x="53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5" name="Google Shape;335;p26"/>
            <p:cNvSpPr/>
            <p:nvPr/>
          </p:nvSpPr>
          <p:spPr>
            <a:xfrm>
              <a:off x="5574550" y="2840650"/>
              <a:ext cx="12700" cy="3500"/>
            </a:xfrm>
            <a:custGeom>
              <a:avLst/>
              <a:gdLst/>
              <a:ahLst/>
              <a:cxnLst/>
              <a:rect l="l" t="t" r="r" b="b"/>
              <a:pathLst>
                <a:path w="508" h="140" extrusionOk="0">
                  <a:moveTo>
                    <a:pt x="54" y="1"/>
                  </a:moveTo>
                  <a:cubicBezTo>
                    <a:pt x="26" y="1"/>
                    <a:pt x="1" y="31"/>
                    <a:pt x="3" y="58"/>
                  </a:cubicBezTo>
                  <a:cubicBezTo>
                    <a:pt x="3" y="88"/>
                    <a:pt x="28" y="113"/>
                    <a:pt x="59" y="114"/>
                  </a:cubicBezTo>
                  <a:lnTo>
                    <a:pt x="275" y="136"/>
                  </a:lnTo>
                  <a:cubicBezTo>
                    <a:pt x="309" y="139"/>
                    <a:pt x="344" y="140"/>
                    <a:pt x="379" y="140"/>
                  </a:cubicBezTo>
                  <a:lnTo>
                    <a:pt x="435" y="140"/>
                  </a:lnTo>
                  <a:cubicBezTo>
                    <a:pt x="437" y="140"/>
                    <a:pt x="440" y="140"/>
                    <a:pt x="442" y="140"/>
                  </a:cubicBezTo>
                  <a:cubicBezTo>
                    <a:pt x="461" y="140"/>
                    <a:pt x="482" y="139"/>
                    <a:pt x="495" y="124"/>
                  </a:cubicBezTo>
                  <a:cubicBezTo>
                    <a:pt x="506" y="113"/>
                    <a:pt x="508" y="96"/>
                    <a:pt x="500" y="83"/>
                  </a:cubicBezTo>
                  <a:cubicBezTo>
                    <a:pt x="490" y="62"/>
                    <a:pt x="468" y="58"/>
                    <a:pt x="447" y="54"/>
                  </a:cubicBezTo>
                  <a:lnTo>
                    <a:pt x="396" y="43"/>
                  </a:lnTo>
                  <a:cubicBezTo>
                    <a:pt x="357" y="36"/>
                    <a:pt x="318" y="28"/>
                    <a:pt x="278" y="24"/>
                  </a:cubicBezTo>
                  <a:lnTo>
                    <a:pt x="59" y="1"/>
                  </a:lnTo>
                  <a:cubicBezTo>
                    <a:pt x="57" y="1"/>
                    <a:pt x="56" y="1"/>
                    <a:pt x="5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6" name="Google Shape;336;p26"/>
            <p:cNvSpPr/>
            <p:nvPr/>
          </p:nvSpPr>
          <p:spPr>
            <a:xfrm>
              <a:off x="5569225" y="2853800"/>
              <a:ext cx="12600" cy="3100"/>
            </a:xfrm>
            <a:custGeom>
              <a:avLst/>
              <a:gdLst/>
              <a:ahLst/>
              <a:cxnLst/>
              <a:rect l="l" t="t" r="r" b="b"/>
              <a:pathLst>
                <a:path w="504" h="124" extrusionOk="0">
                  <a:moveTo>
                    <a:pt x="180" y="1"/>
                  </a:moveTo>
                  <a:cubicBezTo>
                    <a:pt x="148" y="1"/>
                    <a:pt x="117" y="1"/>
                    <a:pt x="85" y="1"/>
                  </a:cubicBezTo>
                  <a:cubicBezTo>
                    <a:pt x="84" y="1"/>
                    <a:pt x="82" y="1"/>
                    <a:pt x="81" y="1"/>
                  </a:cubicBezTo>
                  <a:cubicBezTo>
                    <a:pt x="1" y="1"/>
                    <a:pt x="1" y="123"/>
                    <a:pt x="81" y="123"/>
                  </a:cubicBezTo>
                  <a:cubicBezTo>
                    <a:pt x="82" y="123"/>
                    <a:pt x="84" y="123"/>
                    <a:pt x="85" y="123"/>
                  </a:cubicBezTo>
                  <a:lnTo>
                    <a:pt x="86" y="123"/>
                  </a:lnTo>
                  <a:cubicBezTo>
                    <a:pt x="122" y="123"/>
                    <a:pt x="157" y="124"/>
                    <a:pt x="193" y="124"/>
                  </a:cubicBezTo>
                  <a:cubicBezTo>
                    <a:pt x="220" y="124"/>
                    <a:pt x="248" y="124"/>
                    <a:pt x="275" y="122"/>
                  </a:cubicBezTo>
                  <a:lnTo>
                    <a:pt x="365" y="119"/>
                  </a:lnTo>
                  <a:cubicBezTo>
                    <a:pt x="383" y="119"/>
                    <a:pt x="401" y="117"/>
                    <a:pt x="418" y="113"/>
                  </a:cubicBezTo>
                  <a:cubicBezTo>
                    <a:pt x="430" y="110"/>
                    <a:pt x="433" y="105"/>
                    <a:pt x="442" y="104"/>
                  </a:cubicBezTo>
                  <a:cubicBezTo>
                    <a:pt x="452" y="103"/>
                    <a:pt x="458" y="101"/>
                    <a:pt x="467" y="99"/>
                  </a:cubicBezTo>
                  <a:cubicBezTo>
                    <a:pt x="503" y="93"/>
                    <a:pt x="503" y="33"/>
                    <a:pt x="467" y="25"/>
                  </a:cubicBezTo>
                  <a:cubicBezTo>
                    <a:pt x="458" y="23"/>
                    <a:pt x="450" y="21"/>
                    <a:pt x="442" y="20"/>
                  </a:cubicBezTo>
                  <a:cubicBezTo>
                    <a:pt x="436" y="19"/>
                    <a:pt x="430" y="17"/>
                    <a:pt x="424" y="14"/>
                  </a:cubicBezTo>
                  <a:cubicBezTo>
                    <a:pt x="408" y="8"/>
                    <a:pt x="392" y="6"/>
                    <a:pt x="375" y="6"/>
                  </a:cubicBezTo>
                  <a:cubicBezTo>
                    <a:pt x="372" y="6"/>
                    <a:pt x="369" y="6"/>
                    <a:pt x="365" y="6"/>
                  </a:cubicBezTo>
                  <a:lnTo>
                    <a:pt x="274" y="2"/>
                  </a:lnTo>
                  <a:cubicBezTo>
                    <a:pt x="243" y="1"/>
                    <a:pt x="211" y="1"/>
                    <a:pt x="18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7" name="Google Shape;337;p26"/>
            <p:cNvSpPr/>
            <p:nvPr/>
          </p:nvSpPr>
          <p:spPr>
            <a:xfrm>
              <a:off x="5394250" y="2848825"/>
              <a:ext cx="14175" cy="2750"/>
            </a:xfrm>
            <a:custGeom>
              <a:avLst/>
              <a:gdLst/>
              <a:ahLst/>
              <a:cxnLst/>
              <a:rect l="l" t="t" r="r" b="b"/>
              <a:pathLst>
                <a:path w="567" h="110" extrusionOk="0">
                  <a:moveTo>
                    <a:pt x="102" y="1"/>
                  </a:moveTo>
                  <a:cubicBezTo>
                    <a:pt x="92" y="1"/>
                    <a:pt x="82" y="1"/>
                    <a:pt x="72" y="2"/>
                  </a:cubicBezTo>
                  <a:cubicBezTo>
                    <a:pt x="1" y="2"/>
                    <a:pt x="1" y="108"/>
                    <a:pt x="72" y="108"/>
                  </a:cubicBezTo>
                  <a:cubicBezTo>
                    <a:pt x="84" y="108"/>
                    <a:pt x="97" y="109"/>
                    <a:pt x="110" y="109"/>
                  </a:cubicBezTo>
                  <a:cubicBezTo>
                    <a:pt x="116" y="109"/>
                    <a:pt x="122" y="109"/>
                    <a:pt x="129" y="108"/>
                  </a:cubicBezTo>
                  <a:cubicBezTo>
                    <a:pt x="146" y="107"/>
                    <a:pt x="168" y="104"/>
                    <a:pt x="188" y="104"/>
                  </a:cubicBezTo>
                  <a:lnTo>
                    <a:pt x="303" y="100"/>
                  </a:lnTo>
                  <a:cubicBezTo>
                    <a:pt x="379" y="98"/>
                    <a:pt x="459" y="100"/>
                    <a:pt x="534" y="87"/>
                  </a:cubicBezTo>
                  <a:cubicBezTo>
                    <a:pt x="566" y="82"/>
                    <a:pt x="566" y="28"/>
                    <a:pt x="534" y="23"/>
                  </a:cubicBezTo>
                  <a:cubicBezTo>
                    <a:pt x="459" y="10"/>
                    <a:pt x="379" y="12"/>
                    <a:pt x="303" y="10"/>
                  </a:cubicBezTo>
                  <a:lnTo>
                    <a:pt x="191" y="6"/>
                  </a:lnTo>
                  <a:cubicBezTo>
                    <a:pt x="171" y="6"/>
                    <a:pt x="151" y="4"/>
                    <a:pt x="132" y="2"/>
                  </a:cubicBezTo>
                  <a:cubicBezTo>
                    <a:pt x="122" y="1"/>
                    <a:pt x="112" y="1"/>
                    <a:pt x="10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8" name="Google Shape;338;p26"/>
            <p:cNvSpPr/>
            <p:nvPr/>
          </p:nvSpPr>
          <p:spPr>
            <a:xfrm>
              <a:off x="5178525" y="2618350"/>
              <a:ext cx="15000" cy="3650"/>
            </a:xfrm>
            <a:custGeom>
              <a:avLst/>
              <a:gdLst/>
              <a:ahLst/>
              <a:cxnLst/>
              <a:rect l="l" t="t" r="r" b="b"/>
              <a:pathLst>
                <a:path w="600" h="146" extrusionOk="0">
                  <a:moveTo>
                    <a:pt x="240" y="1"/>
                  </a:moveTo>
                  <a:cubicBezTo>
                    <a:pt x="222" y="1"/>
                    <a:pt x="204" y="1"/>
                    <a:pt x="186" y="3"/>
                  </a:cubicBezTo>
                  <a:cubicBezTo>
                    <a:pt x="137" y="3"/>
                    <a:pt x="90" y="9"/>
                    <a:pt x="44" y="24"/>
                  </a:cubicBezTo>
                  <a:cubicBezTo>
                    <a:pt x="17" y="31"/>
                    <a:pt x="0" y="57"/>
                    <a:pt x="4" y="84"/>
                  </a:cubicBezTo>
                  <a:cubicBezTo>
                    <a:pt x="8" y="111"/>
                    <a:pt x="31" y="132"/>
                    <a:pt x="58" y="132"/>
                  </a:cubicBezTo>
                  <a:cubicBezTo>
                    <a:pt x="69" y="133"/>
                    <a:pt x="79" y="134"/>
                    <a:pt x="89" y="134"/>
                  </a:cubicBezTo>
                  <a:cubicBezTo>
                    <a:pt x="100" y="134"/>
                    <a:pt x="110" y="133"/>
                    <a:pt x="121" y="132"/>
                  </a:cubicBezTo>
                  <a:cubicBezTo>
                    <a:pt x="142" y="131"/>
                    <a:pt x="163" y="130"/>
                    <a:pt x="183" y="130"/>
                  </a:cubicBezTo>
                  <a:cubicBezTo>
                    <a:pt x="195" y="130"/>
                    <a:pt x="208" y="130"/>
                    <a:pt x="221" y="130"/>
                  </a:cubicBezTo>
                  <a:cubicBezTo>
                    <a:pt x="251" y="130"/>
                    <a:pt x="281" y="131"/>
                    <a:pt x="311" y="131"/>
                  </a:cubicBezTo>
                  <a:cubicBezTo>
                    <a:pt x="355" y="133"/>
                    <a:pt x="395" y="137"/>
                    <a:pt x="436" y="141"/>
                  </a:cubicBezTo>
                  <a:cubicBezTo>
                    <a:pt x="459" y="143"/>
                    <a:pt x="485" y="145"/>
                    <a:pt x="510" y="145"/>
                  </a:cubicBezTo>
                  <a:cubicBezTo>
                    <a:pt x="529" y="145"/>
                    <a:pt x="547" y="144"/>
                    <a:pt x="564" y="140"/>
                  </a:cubicBezTo>
                  <a:cubicBezTo>
                    <a:pt x="591" y="132"/>
                    <a:pt x="599" y="100"/>
                    <a:pt x="580" y="81"/>
                  </a:cubicBezTo>
                  <a:cubicBezTo>
                    <a:pt x="548" y="51"/>
                    <a:pt x="497" y="35"/>
                    <a:pt x="455" y="25"/>
                  </a:cubicBezTo>
                  <a:cubicBezTo>
                    <a:pt x="408" y="14"/>
                    <a:pt x="362" y="7"/>
                    <a:pt x="315" y="4"/>
                  </a:cubicBezTo>
                  <a:cubicBezTo>
                    <a:pt x="289" y="2"/>
                    <a:pt x="265" y="1"/>
                    <a:pt x="24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339" name="Google Shape;339;p26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5150800" cy="150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5849402"/>
      </p:ext>
    </p:extLst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 2">
  <p:cSld name="CUSTOM_16_1"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27"/>
          <p:cNvSpPr/>
          <p:nvPr/>
        </p:nvSpPr>
        <p:spPr>
          <a:xfrm rot="10800721">
            <a:off x="5702719" y="4031490"/>
            <a:ext cx="7286004" cy="4561557"/>
          </a:xfrm>
          <a:custGeom>
            <a:avLst/>
            <a:gdLst/>
            <a:ahLst/>
            <a:cxnLst/>
            <a:rect l="l" t="t" r="r" b="b"/>
            <a:pathLst>
              <a:path w="91644" h="90549" extrusionOk="0">
                <a:moveTo>
                  <a:pt x="65495" y="1"/>
                </a:moveTo>
                <a:cubicBezTo>
                  <a:pt x="61193" y="1"/>
                  <a:pt x="56859" y="973"/>
                  <a:pt x="53043" y="2964"/>
                </a:cubicBezTo>
                <a:cubicBezTo>
                  <a:pt x="51353" y="3845"/>
                  <a:pt x="49769" y="4857"/>
                  <a:pt x="48209" y="5833"/>
                </a:cubicBezTo>
                <a:cubicBezTo>
                  <a:pt x="45268" y="7666"/>
                  <a:pt x="42304" y="9381"/>
                  <a:pt x="38541" y="9798"/>
                </a:cubicBezTo>
                <a:cubicBezTo>
                  <a:pt x="37831" y="9877"/>
                  <a:pt x="37122" y="9909"/>
                  <a:pt x="36415" y="9909"/>
                </a:cubicBezTo>
                <a:cubicBezTo>
                  <a:pt x="33291" y="9909"/>
                  <a:pt x="30189" y="9277"/>
                  <a:pt x="27064" y="9238"/>
                </a:cubicBezTo>
                <a:cubicBezTo>
                  <a:pt x="26995" y="9237"/>
                  <a:pt x="26926" y="9237"/>
                  <a:pt x="26858" y="9237"/>
                </a:cubicBezTo>
                <a:cubicBezTo>
                  <a:pt x="19021" y="9237"/>
                  <a:pt x="11236" y="13268"/>
                  <a:pt x="6692" y="19323"/>
                </a:cubicBezTo>
                <a:cubicBezTo>
                  <a:pt x="2108" y="25431"/>
                  <a:pt x="810" y="33384"/>
                  <a:pt x="2906" y="40337"/>
                </a:cubicBezTo>
                <a:cubicBezTo>
                  <a:pt x="3989" y="43933"/>
                  <a:pt x="5930" y="47326"/>
                  <a:pt x="6228" y="51088"/>
                </a:cubicBezTo>
                <a:cubicBezTo>
                  <a:pt x="6954" y="60411"/>
                  <a:pt x="1" y="67817"/>
                  <a:pt x="5502" y="77008"/>
                </a:cubicBezTo>
                <a:cubicBezTo>
                  <a:pt x="8907" y="82688"/>
                  <a:pt x="14765" y="85855"/>
                  <a:pt x="21849" y="86259"/>
                </a:cubicBezTo>
                <a:cubicBezTo>
                  <a:pt x="22847" y="86317"/>
                  <a:pt x="23847" y="86337"/>
                  <a:pt x="24848" y="86337"/>
                </a:cubicBezTo>
                <a:cubicBezTo>
                  <a:pt x="27150" y="86337"/>
                  <a:pt x="29457" y="86231"/>
                  <a:pt x="31754" y="86231"/>
                </a:cubicBezTo>
                <a:cubicBezTo>
                  <a:pt x="33441" y="86231"/>
                  <a:pt x="35122" y="86288"/>
                  <a:pt x="36791" y="86486"/>
                </a:cubicBezTo>
                <a:cubicBezTo>
                  <a:pt x="41554" y="87045"/>
                  <a:pt x="46019" y="88712"/>
                  <a:pt x="50650" y="89808"/>
                </a:cubicBezTo>
                <a:cubicBezTo>
                  <a:pt x="52792" y="90310"/>
                  <a:pt x="54938" y="90549"/>
                  <a:pt x="57057" y="90549"/>
                </a:cubicBezTo>
                <a:cubicBezTo>
                  <a:pt x="69987" y="90549"/>
                  <a:pt x="81896" y="81663"/>
                  <a:pt x="85702" y="69746"/>
                </a:cubicBezTo>
                <a:cubicBezTo>
                  <a:pt x="87119" y="65293"/>
                  <a:pt x="87643" y="60947"/>
                  <a:pt x="86488" y="56494"/>
                </a:cubicBezTo>
                <a:cubicBezTo>
                  <a:pt x="85333" y="52089"/>
                  <a:pt x="83095" y="47814"/>
                  <a:pt x="83499" y="43111"/>
                </a:cubicBezTo>
                <a:cubicBezTo>
                  <a:pt x="83880" y="38396"/>
                  <a:pt x="86964" y="34170"/>
                  <a:pt x="88548" y="29633"/>
                </a:cubicBezTo>
                <a:cubicBezTo>
                  <a:pt x="91643" y="20811"/>
                  <a:pt x="88548" y="10595"/>
                  <a:pt x="80987" y="4892"/>
                </a:cubicBezTo>
                <a:cubicBezTo>
                  <a:pt x="76701" y="1666"/>
                  <a:pt x="71126" y="1"/>
                  <a:pt x="65495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grpSp>
        <p:nvGrpSpPr>
          <p:cNvPr id="342" name="Google Shape;342;p27"/>
          <p:cNvGrpSpPr/>
          <p:nvPr/>
        </p:nvGrpSpPr>
        <p:grpSpPr>
          <a:xfrm rot="10800000" flipH="1">
            <a:off x="1260100" y="5932132"/>
            <a:ext cx="4902944" cy="3636145"/>
            <a:chOff x="4822800" y="2395325"/>
            <a:chExt cx="807450" cy="598825"/>
          </a:xfrm>
        </p:grpSpPr>
        <p:sp>
          <p:nvSpPr>
            <p:cNvPr id="343" name="Google Shape;343;p27"/>
            <p:cNvSpPr/>
            <p:nvPr/>
          </p:nvSpPr>
          <p:spPr>
            <a:xfrm>
              <a:off x="4822800" y="2395325"/>
              <a:ext cx="807450" cy="598825"/>
            </a:xfrm>
            <a:custGeom>
              <a:avLst/>
              <a:gdLst/>
              <a:ahLst/>
              <a:cxnLst/>
              <a:rect l="l" t="t" r="r" b="b"/>
              <a:pathLst>
                <a:path w="32298" h="23953" extrusionOk="0">
                  <a:moveTo>
                    <a:pt x="5555" y="1"/>
                  </a:moveTo>
                  <a:cubicBezTo>
                    <a:pt x="3688" y="1"/>
                    <a:pt x="1707" y="413"/>
                    <a:pt x="0" y="571"/>
                  </a:cubicBezTo>
                  <a:cubicBezTo>
                    <a:pt x="2931" y="938"/>
                    <a:pt x="4272" y="2206"/>
                    <a:pt x="6023" y="3779"/>
                  </a:cubicBezTo>
                  <a:cubicBezTo>
                    <a:pt x="7865" y="5435"/>
                    <a:pt x="9279" y="7799"/>
                    <a:pt x="10017" y="10455"/>
                  </a:cubicBezTo>
                  <a:cubicBezTo>
                    <a:pt x="10241" y="11259"/>
                    <a:pt x="10409" y="12099"/>
                    <a:pt x="10773" y="12822"/>
                  </a:cubicBezTo>
                  <a:cubicBezTo>
                    <a:pt x="11147" y="13561"/>
                    <a:pt x="11706" y="14129"/>
                    <a:pt x="12295" y="14611"/>
                  </a:cubicBezTo>
                  <a:cubicBezTo>
                    <a:pt x="15119" y="16922"/>
                    <a:pt x="18633" y="17424"/>
                    <a:pt x="21910" y="18507"/>
                  </a:cubicBezTo>
                  <a:cubicBezTo>
                    <a:pt x="22992" y="18864"/>
                    <a:pt x="24051" y="19287"/>
                    <a:pt x="25081" y="19772"/>
                  </a:cubicBezTo>
                  <a:cubicBezTo>
                    <a:pt x="26833" y="20595"/>
                    <a:pt x="28937" y="21544"/>
                    <a:pt x="30375" y="23061"/>
                  </a:cubicBezTo>
                  <a:cubicBezTo>
                    <a:pt x="30682" y="23384"/>
                    <a:pt x="31130" y="23952"/>
                    <a:pt x="31503" y="23952"/>
                  </a:cubicBezTo>
                  <a:cubicBezTo>
                    <a:pt x="31688" y="23952"/>
                    <a:pt x="31855" y="23813"/>
                    <a:pt x="31977" y="23437"/>
                  </a:cubicBezTo>
                  <a:cubicBezTo>
                    <a:pt x="32297" y="22448"/>
                    <a:pt x="32268" y="20901"/>
                    <a:pt x="31982" y="19913"/>
                  </a:cubicBezTo>
                  <a:cubicBezTo>
                    <a:pt x="31609" y="18622"/>
                    <a:pt x="30656" y="17722"/>
                    <a:pt x="29677" y="17069"/>
                  </a:cubicBezTo>
                  <a:cubicBezTo>
                    <a:pt x="27475" y="15600"/>
                    <a:pt x="24964" y="15023"/>
                    <a:pt x="22573" y="14102"/>
                  </a:cubicBezTo>
                  <a:cubicBezTo>
                    <a:pt x="20181" y="13180"/>
                    <a:pt x="17756" y="11773"/>
                    <a:pt x="16373" y="9204"/>
                  </a:cubicBezTo>
                  <a:cubicBezTo>
                    <a:pt x="15763" y="8075"/>
                    <a:pt x="15389" y="6778"/>
                    <a:pt x="14833" y="5608"/>
                  </a:cubicBezTo>
                  <a:cubicBezTo>
                    <a:pt x="13503" y="2812"/>
                    <a:pt x="10931" y="1449"/>
                    <a:pt x="8419" y="466"/>
                  </a:cubicBezTo>
                  <a:cubicBezTo>
                    <a:pt x="7538" y="121"/>
                    <a:pt x="6563" y="1"/>
                    <a:pt x="555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44" name="Google Shape;344;p27"/>
            <p:cNvSpPr/>
            <p:nvPr/>
          </p:nvSpPr>
          <p:spPr>
            <a:xfrm>
              <a:off x="4999025" y="2416600"/>
              <a:ext cx="5025" cy="4925"/>
            </a:xfrm>
            <a:custGeom>
              <a:avLst/>
              <a:gdLst/>
              <a:ahLst/>
              <a:cxnLst/>
              <a:rect l="l" t="t" r="r" b="b"/>
              <a:pathLst>
                <a:path w="201" h="197" extrusionOk="0">
                  <a:moveTo>
                    <a:pt x="101" y="1"/>
                  </a:moveTo>
                  <a:cubicBezTo>
                    <a:pt x="49" y="1"/>
                    <a:pt x="0" y="46"/>
                    <a:pt x="3" y="99"/>
                  </a:cubicBezTo>
                  <a:cubicBezTo>
                    <a:pt x="4" y="153"/>
                    <a:pt x="47" y="197"/>
                    <a:pt x="101" y="197"/>
                  </a:cubicBezTo>
                  <a:cubicBezTo>
                    <a:pt x="152" y="197"/>
                    <a:pt x="201" y="153"/>
                    <a:pt x="199" y="99"/>
                  </a:cubicBezTo>
                  <a:cubicBezTo>
                    <a:pt x="198" y="45"/>
                    <a:pt x="154" y="2"/>
                    <a:pt x="1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45" name="Google Shape;345;p27"/>
            <p:cNvSpPr/>
            <p:nvPr/>
          </p:nvSpPr>
          <p:spPr>
            <a:xfrm>
              <a:off x="5016350" y="2430825"/>
              <a:ext cx="14400" cy="4225"/>
            </a:xfrm>
            <a:custGeom>
              <a:avLst/>
              <a:gdLst/>
              <a:ahLst/>
              <a:cxnLst/>
              <a:rect l="l" t="t" r="r" b="b"/>
              <a:pathLst>
                <a:path w="576" h="169" extrusionOk="0">
                  <a:moveTo>
                    <a:pt x="414" y="0"/>
                  </a:moveTo>
                  <a:cubicBezTo>
                    <a:pt x="375" y="0"/>
                    <a:pt x="335" y="2"/>
                    <a:pt x="296" y="5"/>
                  </a:cubicBezTo>
                  <a:cubicBezTo>
                    <a:pt x="214" y="13"/>
                    <a:pt x="132" y="28"/>
                    <a:pt x="52" y="49"/>
                  </a:cubicBezTo>
                  <a:cubicBezTo>
                    <a:pt x="19" y="57"/>
                    <a:pt x="0" y="91"/>
                    <a:pt x="9" y="125"/>
                  </a:cubicBezTo>
                  <a:cubicBezTo>
                    <a:pt x="17" y="151"/>
                    <a:pt x="42" y="169"/>
                    <a:pt x="69" y="169"/>
                  </a:cubicBezTo>
                  <a:cubicBezTo>
                    <a:pt x="74" y="169"/>
                    <a:pt x="79" y="168"/>
                    <a:pt x="84" y="167"/>
                  </a:cubicBezTo>
                  <a:cubicBezTo>
                    <a:pt x="120" y="158"/>
                    <a:pt x="157" y="150"/>
                    <a:pt x="195" y="144"/>
                  </a:cubicBezTo>
                  <a:lnTo>
                    <a:pt x="223" y="139"/>
                  </a:lnTo>
                  <a:lnTo>
                    <a:pt x="238" y="137"/>
                  </a:lnTo>
                  <a:lnTo>
                    <a:pt x="241" y="137"/>
                  </a:lnTo>
                  <a:cubicBezTo>
                    <a:pt x="259" y="135"/>
                    <a:pt x="280" y="133"/>
                    <a:pt x="300" y="131"/>
                  </a:cubicBezTo>
                  <a:cubicBezTo>
                    <a:pt x="336" y="128"/>
                    <a:pt x="374" y="127"/>
                    <a:pt x="412" y="126"/>
                  </a:cubicBezTo>
                  <a:lnTo>
                    <a:pt x="468" y="126"/>
                  </a:lnTo>
                  <a:cubicBezTo>
                    <a:pt x="471" y="126"/>
                    <a:pt x="474" y="126"/>
                    <a:pt x="477" y="126"/>
                  </a:cubicBezTo>
                  <a:cubicBezTo>
                    <a:pt x="497" y="126"/>
                    <a:pt x="516" y="123"/>
                    <a:pt x="536" y="116"/>
                  </a:cubicBezTo>
                  <a:cubicBezTo>
                    <a:pt x="555" y="111"/>
                    <a:pt x="569" y="94"/>
                    <a:pt x="573" y="73"/>
                  </a:cubicBezTo>
                  <a:cubicBezTo>
                    <a:pt x="576" y="53"/>
                    <a:pt x="565" y="32"/>
                    <a:pt x="547" y="22"/>
                  </a:cubicBezTo>
                  <a:cubicBezTo>
                    <a:pt x="537" y="16"/>
                    <a:pt x="525" y="11"/>
                    <a:pt x="513" y="6"/>
                  </a:cubicBezTo>
                  <a:cubicBezTo>
                    <a:pt x="500" y="3"/>
                    <a:pt x="487" y="2"/>
                    <a:pt x="475" y="2"/>
                  </a:cubicBezTo>
                  <a:cubicBezTo>
                    <a:pt x="455" y="1"/>
                    <a:pt x="436" y="0"/>
                    <a:pt x="41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46" name="Google Shape;346;p27"/>
            <p:cNvSpPr/>
            <p:nvPr/>
          </p:nvSpPr>
          <p:spPr>
            <a:xfrm>
              <a:off x="5136400" y="2735125"/>
              <a:ext cx="10200" cy="3250"/>
            </a:xfrm>
            <a:custGeom>
              <a:avLst/>
              <a:gdLst/>
              <a:ahLst/>
              <a:cxnLst/>
              <a:rect l="l" t="t" r="r" b="b"/>
              <a:pathLst>
                <a:path w="408" h="130" extrusionOk="0">
                  <a:moveTo>
                    <a:pt x="131" y="0"/>
                  </a:moveTo>
                  <a:cubicBezTo>
                    <a:pt x="102" y="1"/>
                    <a:pt x="72" y="5"/>
                    <a:pt x="43" y="10"/>
                  </a:cubicBezTo>
                  <a:cubicBezTo>
                    <a:pt x="18" y="17"/>
                    <a:pt x="1" y="39"/>
                    <a:pt x="1" y="65"/>
                  </a:cubicBezTo>
                  <a:cubicBezTo>
                    <a:pt x="2" y="88"/>
                    <a:pt x="17" y="116"/>
                    <a:pt x="43" y="120"/>
                  </a:cubicBezTo>
                  <a:lnTo>
                    <a:pt x="43" y="119"/>
                  </a:lnTo>
                  <a:cubicBezTo>
                    <a:pt x="72" y="126"/>
                    <a:pt x="102" y="129"/>
                    <a:pt x="131" y="130"/>
                  </a:cubicBezTo>
                  <a:lnTo>
                    <a:pt x="205" y="130"/>
                  </a:lnTo>
                  <a:cubicBezTo>
                    <a:pt x="229" y="130"/>
                    <a:pt x="255" y="130"/>
                    <a:pt x="279" y="129"/>
                  </a:cubicBezTo>
                  <a:cubicBezTo>
                    <a:pt x="292" y="129"/>
                    <a:pt x="305" y="128"/>
                    <a:pt x="318" y="127"/>
                  </a:cubicBezTo>
                  <a:cubicBezTo>
                    <a:pt x="327" y="127"/>
                    <a:pt x="337" y="126"/>
                    <a:pt x="346" y="124"/>
                  </a:cubicBezTo>
                  <a:cubicBezTo>
                    <a:pt x="356" y="120"/>
                    <a:pt x="365" y="116"/>
                    <a:pt x="373" y="110"/>
                  </a:cubicBezTo>
                  <a:cubicBezTo>
                    <a:pt x="408" y="90"/>
                    <a:pt x="408" y="39"/>
                    <a:pt x="373" y="19"/>
                  </a:cubicBezTo>
                  <a:cubicBezTo>
                    <a:pt x="365" y="13"/>
                    <a:pt x="356" y="9"/>
                    <a:pt x="346" y="6"/>
                  </a:cubicBezTo>
                  <a:cubicBezTo>
                    <a:pt x="337" y="3"/>
                    <a:pt x="327" y="2"/>
                    <a:pt x="319" y="2"/>
                  </a:cubicBezTo>
                  <a:cubicBezTo>
                    <a:pt x="305" y="2"/>
                    <a:pt x="293" y="1"/>
                    <a:pt x="279" y="1"/>
                  </a:cubicBezTo>
                  <a:cubicBezTo>
                    <a:pt x="255" y="0"/>
                    <a:pt x="230" y="0"/>
                    <a:pt x="20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47" name="Google Shape;347;p27"/>
            <p:cNvSpPr/>
            <p:nvPr/>
          </p:nvSpPr>
          <p:spPr>
            <a:xfrm>
              <a:off x="5140125" y="2750750"/>
              <a:ext cx="19950" cy="2875"/>
            </a:xfrm>
            <a:custGeom>
              <a:avLst/>
              <a:gdLst/>
              <a:ahLst/>
              <a:cxnLst/>
              <a:rect l="l" t="t" r="r" b="b"/>
              <a:pathLst>
                <a:path w="798" h="115" extrusionOk="0">
                  <a:moveTo>
                    <a:pt x="407" y="1"/>
                  </a:moveTo>
                  <a:lnTo>
                    <a:pt x="53" y="4"/>
                  </a:lnTo>
                  <a:cubicBezTo>
                    <a:pt x="24" y="4"/>
                    <a:pt x="1" y="27"/>
                    <a:pt x="0" y="56"/>
                  </a:cubicBezTo>
                  <a:cubicBezTo>
                    <a:pt x="1" y="85"/>
                    <a:pt x="24" y="108"/>
                    <a:pt x="53" y="109"/>
                  </a:cubicBezTo>
                  <a:lnTo>
                    <a:pt x="53" y="112"/>
                  </a:lnTo>
                  <a:lnTo>
                    <a:pt x="407" y="114"/>
                  </a:lnTo>
                  <a:lnTo>
                    <a:pt x="538" y="114"/>
                  </a:lnTo>
                  <a:cubicBezTo>
                    <a:pt x="554" y="113"/>
                    <a:pt x="571" y="109"/>
                    <a:pt x="584" y="108"/>
                  </a:cubicBezTo>
                  <a:lnTo>
                    <a:pt x="670" y="103"/>
                  </a:lnTo>
                  <a:cubicBezTo>
                    <a:pt x="701" y="103"/>
                    <a:pt x="733" y="99"/>
                    <a:pt x="764" y="90"/>
                  </a:cubicBezTo>
                  <a:cubicBezTo>
                    <a:pt x="797" y="81"/>
                    <a:pt x="797" y="34"/>
                    <a:pt x="764" y="25"/>
                  </a:cubicBezTo>
                  <a:cubicBezTo>
                    <a:pt x="733" y="16"/>
                    <a:pt x="701" y="12"/>
                    <a:pt x="670" y="12"/>
                  </a:cubicBezTo>
                  <a:lnTo>
                    <a:pt x="584" y="7"/>
                  </a:lnTo>
                  <a:cubicBezTo>
                    <a:pt x="571" y="6"/>
                    <a:pt x="555" y="2"/>
                    <a:pt x="53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48" name="Google Shape;348;p27"/>
            <p:cNvSpPr/>
            <p:nvPr/>
          </p:nvSpPr>
          <p:spPr>
            <a:xfrm>
              <a:off x="5574550" y="2840650"/>
              <a:ext cx="12700" cy="3500"/>
            </a:xfrm>
            <a:custGeom>
              <a:avLst/>
              <a:gdLst/>
              <a:ahLst/>
              <a:cxnLst/>
              <a:rect l="l" t="t" r="r" b="b"/>
              <a:pathLst>
                <a:path w="508" h="140" extrusionOk="0">
                  <a:moveTo>
                    <a:pt x="54" y="1"/>
                  </a:moveTo>
                  <a:cubicBezTo>
                    <a:pt x="26" y="1"/>
                    <a:pt x="1" y="31"/>
                    <a:pt x="3" y="58"/>
                  </a:cubicBezTo>
                  <a:cubicBezTo>
                    <a:pt x="3" y="88"/>
                    <a:pt x="28" y="113"/>
                    <a:pt x="59" y="114"/>
                  </a:cubicBezTo>
                  <a:lnTo>
                    <a:pt x="275" y="136"/>
                  </a:lnTo>
                  <a:cubicBezTo>
                    <a:pt x="309" y="139"/>
                    <a:pt x="344" y="140"/>
                    <a:pt x="379" y="140"/>
                  </a:cubicBezTo>
                  <a:lnTo>
                    <a:pt x="435" y="140"/>
                  </a:lnTo>
                  <a:cubicBezTo>
                    <a:pt x="437" y="140"/>
                    <a:pt x="440" y="140"/>
                    <a:pt x="442" y="140"/>
                  </a:cubicBezTo>
                  <a:cubicBezTo>
                    <a:pt x="461" y="140"/>
                    <a:pt x="482" y="139"/>
                    <a:pt x="495" y="124"/>
                  </a:cubicBezTo>
                  <a:cubicBezTo>
                    <a:pt x="506" y="113"/>
                    <a:pt x="508" y="96"/>
                    <a:pt x="500" y="83"/>
                  </a:cubicBezTo>
                  <a:cubicBezTo>
                    <a:pt x="490" y="62"/>
                    <a:pt x="468" y="58"/>
                    <a:pt x="447" y="54"/>
                  </a:cubicBezTo>
                  <a:lnTo>
                    <a:pt x="396" y="43"/>
                  </a:lnTo>
                  <a:cubicBezTo>
                    <a:pt x="357" y="36"/>
                    <a:pt x="318" y="28"/>
                    <a:pt x="278" y="24"/>
                  </a:cubicBezTo>
                  <a:lnTo>
                    <a:pt x="59" y="1"/>
                  </a:lnTo>
                  <a:cubicBezTo>
                    <a:pt x="57" y="1"/>
                    <a:pt x="56" y="1"/>
                    <a:pt x="5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49" name="Google Shape;349;p27"/>
            <p:cNvSpPr/>
            <p:nvPr/>
          </p:nvSpPr>
          <p:spPr>
            <a:xfrm>
              <a:off x="5569225" y="2853800"/>
              <a:ext cx="12600" cy="3100"/>
            </a:xfrm>
            <a:custGeom>
              <a:avLst/>
              <a:gdLst/>
              <a:ahLst/>
              <a:cxnLst/>
              <a:rect l="l" t="t" r="r" b="b"/>
              <a:pathLst>
                <a:path w="504" h="124" extrusionOk="0">
                  <a:moveTo>
                    <a:pt x="180" y="1"/>
                  </a:moveTo>
                  <a:cubicBezTo>
                    <a:pt x="148" y="1"/>
                    <a:pt x="117" y="1"/>
                    <a:pt x="85" y="1"/>
                  </a:cubicBezTo>
                  <a:cubicBezTo>
                    <a:pt x="84" y="1"/>
                    <a:pt x="82" y="1"/>
                    <a:pt x="81" y="1"/>
                  </a:cubicBezTo>
                  <a:cubicBezTo>
                    <a:pt x="1" y="1"/>
                    <a:pt x="1" y="123"/>
                    <a:pt x="81" y="123"/>
                  </a:cubicBezTo>
                  <a:cubicBezTo>
                    <a:pt x="82" y="123"/>
                    <a:pt x="84" y="123"/>
                    <a:pt x="85" y="123"/>
                  </a:cubicBezTo>
                  <a:lnTo>
                    <a:pt x="86" y="123"/>
                  </a:lnTo>
                  <a:cubicBezTo>
                    <a:pt x="122" y="123"/>
                    <a:pt x="157" y="124"/>
                    <a:pt x="193" y="124"/>
                  </a:cubicBezTo>
                  <a:cubicBezTo>
                    <a:pt x="220" y="124"/>
                    <a:pt x="248" y="124"/>
                    <a:pt x="275" y="122"/>
                  </a:cubicBezTo>
                  <a:lnTo>
                    <a:pt x="365" y="119"/>
                  </a:lnTo>
                  <a:cubicBezTo>
                    <a:pt x="383" y="119"/>
                    <a:pt x="401" y="117"/>
                    <a:pt x="418" y="113"/>
                  </a:cubicBezTo>
                  <a:cubicBezTo>
                    <a:pt x="430" y="110"/>
                    <a:pt x="433" y="105"/>
                    <a:pt x="442" y="104"/>
                  </a:cubicBezTo>
                  <a:cubicBezTo>
                    <a:pt x="452" y="103"/>
                    <a:pt x="458" y="101"/>
                    <a:pt x="467" y="99"/>
                  </a:cubicBezTo>
                  <a:cubicBezTo>
                    <a:pt x="503" y="93"/>
                    <a:pt x="503" y="33"/>
                    <a:pt x="467" y="25"/>
                  </a:cubicBezTo>
                  <a:cubicBezTo>
                    <a:pt x="458" y="23"/>
                    <a:pt x="450" y="21"/>
                    <a:pt x="442" y="20"/>
                  </a:cubicBezTo>
                  <a:cubicBezTo>
                    <a:pt x="436" y="19"/>
                    <a:pt x="430" y="17"/>
                    <a:pt x="424" y="14"/>
                  </a:cubicBezTo>
                  <a:cubicBezTo>
                    <a:pt x="408" y="8"/>
                    <a:pt x="392" y="6"/>
                    <a:pt x="375" y="6"/>
                  </a:cubicBezTo>
                  <a:cubicBezTo>
                    <a:pt x="372" y="6"/>
                    <a:pt x="369" y="6"/>
                    <a:pt x="365" y="6"/>
                  </a:cubicBezTo>
                  <a:lnTo>
                    <a:pt x="274" y="2"/>
                  </a:lnTo>
                  <a:cubicBezTo>
                    <a:pt x="243" y="1"/>
                    <a:pt x="211" y="1"/>
                    <a:pt x="18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50" name="Google Shape;350;p27"/>
            <p:cNvSpPr/>
            <p:nvPr/>
          </p:nvSpPr>
          <p:spPr>
            <a:xfrm>
              <a:off x="5394250" y="2848825"/>
              <a:ext cx="14175" cy="2750"/>
            </a:xfrm>
            <a:custGeom>
              <a:avLst/>
              <a:gdLst/>
              <a:ahLst/>
              <a:cxnLst/>
              <a:rect l="l" t="t" r="r" b="b"/>
              <a:pathLst>
                <a:path w="567" h="110" extrusionOk="0">
                  <a:moveTo>
                    <a:pt x="102" y="1"/>
                  </a:moveTo>
                  <a:cubicBezTo>
                    <a:pt x="92" y="1"/>
                    <a:pt x="82" y="1"/>
                    <a:pt x="72" y="2"/>
                  </a:cubicBezTo>
                  <a:cubicBezTo>
                    <a:pt x="1" y="2"/>
                    <a:pt x="1" y="108"/>
                    <a:pt x="72" y="108"/>
                  </a:cubicBezTo>
                  <a:cubicBezTo>
                    <a:pt x="84" y="108"/>
                    <a:pt x="97" y="109"/>
                    <a:pt x="110" y="109"/>
                  </a:cubicBezTo>
                  <a:cubicBezTo>
                    <a:pt x="116" y="109"/>
                    <a:pt x="122" y="109"/>
                    <a:pt x="129" y="108"/>
                  </a:cubicBezTo>
                  <a:cubicBezTo>
                    <a:pt x="146" y="107"/>
                    <a:pt x="168" y="104"/>
                    <a:pt x="188" y="104"/>
                  </a:cubicBezTo>
                  <a:lnTo>
                    <a:pt x="303" y="100"/>
                  </a:lnTo>
                  <a:cubicBezTo>
                    <a:pt x="379" y="98"/>
                    <a:pt x="459" y="100"/>
                    <a:pt x="534" y="87"/>
                  </a:cubicBezTo>
                  <a:cubicBezTo>
                    <a:pt x="566" y="82"/>
                    <a:pt x="566" y="28"/>
                    <a:pt x="534" y="23"/>
                  </a:cubicBezTo>
                  <a:cubicBezTo>
                    <a:pt x="459" y="10"/>
                    <a:pt x="379" y="12"/>
                    <a:pt x="303" y="10"/>
                  </a:cubicBezTo>
                  <a:lnTo>
                    <a:pt x="191" y="6"/>
                  </a:lnTo>
                  <a:cubicBezTo>
                    <a:pt x="171" y="6"/>
                    <a:pt x="151" y="4"/>
                    <a:pt x="132" y="2"/>
                  </a:cubicBezTo>
                  <a:cubicBezTo>
                    <a:pt x="122" y="1"/>
                    <a:pt x="112" y="1"/>
                    <a:pt x="10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51" name="Google Shape;351;p27"/>
            <p:cNvSpPr/>
            <p:nvPr/>
          </p:nvSpPr>
          <p:spPr>
            <a:xfrm>
              <a:off x="5178525" y="2618350"/>
              <a:ext cx="15000" cy="3650"/>
            </a:xfrm>
            <a:custGeom>
              <a:avLst/>
              <a:gdLst/>
              <a:ahLst/>
              <a:cxnLst/>
              <a:rect l="l" t="t" r="r" b="b"/>
              <a:pathLst>
                <a:path w="600" h="146" extrusionOk="0">
                  <a:moveTo>
                    <a:pt x="240" y="1"/>
                  </a:moveTo>
                  <a:cubicBezTo>
                    <a:pt x="222" y="1"/>
                    <a:pt x="204" y="1"/>
                    <a:pt x="186" y="3"/>
                  </a:cubicBezTo>
                  <a:cubicBezTo>
                    <a:pt x="137" y="3"/>
                    <a:pt x="90" y="9"/>
                    <a:pt x="44" y="24"/>
                  </a:cubicBezTo>
                  <a:cubicBezTo>
                    <a:pt x="17" y="31"/>
                    <a:pt x="0" y="57"/>
                    <a:pt x="4" y="84"/>
                  </a:cubicBezTo>
                  <a:cubicBezTo>
                    <a:pt x="8" y="111"/>
                    <a:pt x="31" y="132"/>
                    <a:pt x="58" y="132"/>
                  </a:cubicBezTo>
                  <a:cubicBezTo>
                    <a:pt x="69" y="133"/>
                    <a:pt x="79" y="134"/>
                    <a:pt x="89" y="134"/>
                  </a:cubicBezTo>
                  <a:cubicBezTo>
                    <a:pt x="100" y="134"/>
                    <a:pt x="110" y="133"/>
                    <a:pt x="121" y="132"/>
                  </a:cubicBezTo>
                  <a:cubicBezTo>
                    <a:pt x="142" y="131"/>
                    <a:pt x="163" y="130"/>
                    <a:pt x="183" y="130"/>
                  </a:cubicBezTo>
                  <a:cubicBezTo>
                    <a:pt x="195" y="130"/>
                    <a:pt x="208" y="130"/>
                    <a:pt x="221" y="130"/>
                  </a:cubicBezTo>
                  <a:cubicBezTo>
                    <a:pt x="251" y="130"/>
                    <a:pt x="281" y="131"/>
                    <a:pt x="311" y="131"/>
                  </a:cubicBezTo>
                  <a:cubicBezTo>
                    <a:pt x="355" y="133"/>
                    <a:pt x="395" y="137"/>
                    <a:pt x="436" y="141"/>
                  </a:cubicBezTo>
                  <a:cubicBezTo>
                    <a:pt x="459" y="143"/>
                    <a:pt x="485" y="145"/>
                    <a:pt x="510" y="145"/>
                  </a:cubicBezTo>
                  <a:cubicBezTo>
                    <a:pt x="529" y="145"/>
                    <a:pt x="547" y="144"/>
                    <a:pt x="564" y="140"/>
                  </a:cubicBezTo>
                  <a:cubicBezTo>
                    <a:pt x="591" y="132"/>
                    <a:pt x="599" y="100"/>
                    <a:pt x="580" y="81"/>
                  </a:cubicBezTo>
                  <a:cubicBezTo>
                    <a:pt x="548" y="51"/>
                    <a:pt x="497" y="35"/>
                    <a:pt x="455" y="25"/>
                  </a:cubicBezTo>
                  <a:cubicBezTo>
                    <a:pt x="408" y="14"/>
                    <a:pt x="362" y="7"/>
                    <a:pt x="315" y="4"/>
                  </a:cubicBezTo>
                  <a:cubicBezTo>
                    <a:pt x="289" y="2"/>
                    <a:pt x="265" y="1"/>
                    <a:pt x="24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352" name="Google Shape;352;p27"/>
          <p:cNvSpPr txBox="1">
            <a:spLocks noGrp="1"/>
          </p:cNvSpPr>
          <p:nvPr>
            <p:ph type="title"/>
          </p:nvPr>
        </p:nvSpPr>
        <p:spPr>
          <a:xfrm flipH="1">
            <a:off x="6446033" y="4741567"/>
            <a:ext cx="4990800" cy="150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9pPr>
          </a:lstStyle>
          <a:p>
            <a:endParaRPr/>
          </a:p>
        </p:txBody>
      </p:sp>
      <p:grpSp>
        <p:nvGrpSpPr>
          <p:cNvPr id="353" name="Google Shape;353;p27"/>
          <p:cNvGrpSpPr/>
          <p:nvPr/>
        </p:nvGrpSpPr>
        <p:grpSpPr>
          <a:xfrm>
            <a:off x="-2922457" y="1669617"/>
            <a:ext cx="6108391" cy="6241352"/>
            <a:chOff x="5375511" y="3071797"/>
            <a:chExt cx="684501" cy="780091"/>
          </a:xfrm>
        </p:grpSpPr>
        <p:sp>
          <p:nvSpPr>
            <p:cNvPr id="354" name="Google Shape;354;p27"/>
            <p:cNvSpPr/>
            <p:nvPr/>
          </p:nvSpPr>
          <p:spPr>
            <a:xfrm rot="-2642628">
              <a:off x="5498903" y="3160523"/>
              <a:ext cx="437717" cy="602638"/>
            </a:xfrm>
            <a:custGeom>
              <a:avLst/>
              <a:gdLst/>
              <a:ahLst/>
              <a:cxnLst/>
              <a:rect l="l" t="t" r="r" b="b"/>
              <a:pathLst>
                <a:path w="25196" h="38101" extrusionOk="0">
                  <a:moveTo>
                    <a:pt x="5812" y="0"/>
                  </a:moveTo>
                  <a:cubicBezTo>
                    <a:pt x="5344" y="0"/>
                    <a:pt x="4892" y="201"/>
                    <a:pt x="4483" y="705"/>
                  </a:cubicBezTo>
                  <a:cubicBezTo>
                    <a:pt x="3787" y="1563"/>
                    <a:pt x="4286" y="2585"/>
                    <a:pt x="4828" y="3371"/>
                  </a:cubicBezTo>
                  <a:cubicBezTo>
                    <a:pt x="5386" y="4183"/>
                    <a:pt x="5945" y="5036"/>
                    <a:pt x="6574" y="5809"/>
                  </a:cubicBezTo>
                  <a:cubicBezTo>
                    <a:pt x="7955" y="7509"/>
                    <a:pt x="9626" y="8948"/>
                    <a:pt x="11347" y="10292"/>
                  </a:cubicBezTo>
                  <a:cubicBezTo>
                    <a:pt x="13363" y="11867"/>
                    <a:pt x="15431" y="13351"/>
                    <a:pt x="17346" y="15048"/>
                  </a:cubicBezTo>
                  <a:cubicBezTo>
                    <a:pt x="17988" y="15616"/>
                    <a:pt x="18591" y="16258"/>
                    <a:pt x="18944" y="17040"/>
                  </a:cubicBezTo>
                  <a:cubicBezTo>
                    <a:pt x="20022" y="19419"/>
                    <a:pt x="17645" y="21228"/>
                    <a:pt x="15802" y="22191"/>
                  </a:cubicBezTo>
                  <a:cubicBezTo>
                    <a:pt x="13859" y="23206"/>
                    <a:pt x="11673" y="23812"/>
                    <a:pt x="9948" y="25213"/>
                  </a:cubicBezTo>
                  <a:cubicBezTo>
                    <a:pt x="8232" y="26605"/>
                    <a:pt x="7306" y="28698"/>
                    <a:pt x="5668" y="30165"/>
                  </a:cubicBezTo>
                  <a:cubicBezTo>
                    <a:pt x="4509" y="31202"/>
                    <a:pt x="3221" y="32113"/>
                    <a:pt x="2271" y="33358"/>
                  </a:cubicBezTo>
                  <a:cubicBezTo>
                    <a:pt x="1538" y="34318"/>
                    <a:pt x="946" y="35376"/>
                    <a:pt x="510" y="36501"/>
                  </a:cubicBezTo>
                  <a:cubicBezTo>
                    <a:pt x="237" y="37208"/>
                    <a:pt x="0" y="37469"/>
                    <a:pt x="756" y="37764"/>
                  </a:cubicBezTo>
                  <a:cubicBezTo>
                    <a:pt x="1265" y="37962"/>
                    <a:pt x="1847" y="38051"/>
                    <a:pt x="2389" y="38087"/>
                  </a:cubicBezTo>
                  <a:cubicBezTo>
                    <a:pt x="2525" y="38096"/>
                    <a:pt x="2660" y="38101"/>
                    <a:pt x="2795" y="38101"/>
                  </a:cubicBezTo>
                  <a:cubicBezTo>
                    <a:pt x="4845" y="38101"/>
                    <a:pt x="6742" y="37061"/>
                    <a:pt x="8009" y="35453"/>
                  </a:cubicBezTo>
                  <a:cubicBezTo>
                    <a:pt x="9470" y="33600"/>
                    <a:pt x="10444" y="31431"/>
                    <a:pt x="12016" y="29660"/>
                  </a:cubicBezTo>
                  <a:cubicBezTo>
                    <a:pt x="13514" y="27972"/>
                    <a:pt x="15404" y="26592"/>
                    <a:pt x="17588" y="25956"/>
                  </a:cubicBezTo>
                  <a:cubicBezTo>
                    <a:pt x="19093" y="25519"/>
                    <a:pt x="20733" y="25422"/>
                    <a:pt x="22064" y="24596"/>
                  </a:cubicBezTo>
                  <a:cubicBezTo>
                    <a:pt x="23832" y="23496"/>
                    <a:pt x="25195" y="20833"/>
                    <a:pt x="24924" y="18739"/>
                  </a:cubicBezTo>
                  <a:cubicBezTo>
                    <a:pt x="24895" y="18519"/>
                    <a:pt x="24843" y="18303"/>
                    <a:pt x="24770" y="18093"/>
                  </a:cubicBezTo>
                  <a:cubicBezTo>
                    <a:pt x="24369" y="16934"/>
                    <a:pt x="23381" y="16034"/>
                    <a:pt x="22715" y="15024"/>
                  </a:cubicBezTo>
                  <a:cubicBezTo>
                    <a:pt x="21793" y="13625"/>
                    <a:pt x="21507" y="12047"/>
                    <a:pt x="20093" y="10952"/>
                  </a:cubicBezTo>
                  <a:cubicBezTo>
                    <a:pt x="18196" y="9483"/>
                    <a:pt x="15835" y="8737"/>
                    <a:pt x="14018" y="7149"/>
                  </a:cubicBezTo>
                  <a:cubicBezTo>
                    <a:pt x="12485" y="5809"/>
                    <a:pt x="11302" y="4107"/>
                    <a:pt x="9779" y="2751"/>
                  </a:cubicBezTo>
                  <a:cubicBezTo>
                    <a:pt x="8876" y="1948"/>
                    <a:pt x="7269" y="0"/>
                    <a:pt x="581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55" name="Google Shape;355;p27"/>
            <p:cNvSpPr/>
            <p:nvPr/>
          </p:nvSpPr>
          <p:spPr>
            <a:xfrm>
              <a:off x="5710550" y="3288982"/>
              <a:ext cx="14425" cy="4025"/>
            </a:xfrm>
            <a:custGeom>
              <a:avLst/>
              <a:gdLst/>
              <a:ahLst/>
              <a:cxnLst/>
              <a:rect l="l" t="t" r="r" b="b"/>
              <a:pathLst>
                <a:path w="577" h="161" extrusionOk="0">
                  <a:moveTo>
                    <a:pt x="80" y="0"/>
                  </a:moveTo>
                  <a:cubicBezTo>
                    <a:pt x="37" y="0"/>
                    <a:pt x="1" y="36"/>
                    <a:pt x="1" y="81"/>
                  </a:cubicBezTo>
                  <a:cubicBezTo>
                    <a:pt x="1" y="126"/>
                    <a:pt x="37" y="161"/>
                    <a:pt x="80" y="161"/>
                  </a:cubicBezTo>
                  <a:cubicBezTo>
                    <a:pt x="82" y="161"/>
                    <a:pt x="83" y="161"/>
                    <a:pt x="84" y="161"/>
                  </a:cubicBezTo>
                  <a:lnTo>
                    <a:pt x="294" y="159"/>
                  </a:lnTo>
                  <a:lnTo>
                    <a:pt x="399" y="157"/>
                  </a:lnTo>
                  <a:lnTo>
                    <a:pt x="478" y="157"/>
                  </a:lnTo>
                  <a:cubicBezTo>
                    <a:pt x="495" y="156"/>
                    <a:pt x="512" y="152"/>
                    <a:pt x="528" y="145"/>
                  </a:cubicBezTo>
                  <a:cubicBezTo>
                    <a:pt x="576" y="124"/>
                    <a:pt x="576" y="37"/>
                    <a:pt x="528" y="16"/>
                  </a:cubicBezTo>
                  <a:cubicBezTo>
                    <a:pt x="512" y="9"/>
                    <a:pt x="495" y="5"/>
                    <a:pt x="478" y="4"/>
                  </a:cubicBezTo>
                  <a:lnTo>
                    <a:pt x="399" y="4"/>
                  </a:lnTo>
                  <a:lnTo>
                    <a:pt x="294" y="3"/>
                  </a:lnTo>
                  <a:lnTo>
                    <a:pt x="84" y="0"/>
                  </a:lnTo>
                  <a:cubicBezTo>
                    <a:pt x="83" y="0"/>
                    <a:pt x="82" y="0"/>
                    <a:pt x="8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56" name="Google Shape;356;p27"/>
            <p:cNvSpPr/>
            <p:nvPr/>
          </p:nvSpPr>
          <p:spPr>
            <a:xfrm>
              <a:off x="5721125" y="3298007"/>
              <a:ext cx="20800" cy="4550"/>
            </a:xfrm>
            <a:custGeom>
              <a:avLst/>
              <a:gdLst/>
              <a:ahLst/>
              <a:cxnLst/>
              <a:rect l="l" t="t" r="r" b="b"/>
              <a:pathLst>
                <a:path w="832" h="182" extrusionOk="0">
                  <a:moveTo>
                    <a:pt x="554" y="0"/>
                  </a:moveTo>
                  <a:cubicBezTo>
                    <a:pt x="542" y="0"/>
                    <a:pt x="531" y="0"/>
                    <a:pt x="519" y="1"/>
                  </a:cubicBezTo>
                  <a:lnTo>
                    <a:pt x="431" y="2"/>
                  </a:lnTo>
                  <a:cubicBezTo>
                    <a:pt x="371" y="3"/>
                    <a:pt x="311" y="3"/>
                    <a:pt x="250" y="6"/>
                  </a:cubicBezTo>
                  <a:cubicBezTo>
                    <a:pt x="185" y="6"/>
                    <a:pt x="120" y="12"/>
                    <a:pt x="54" y="21"/>
                  </a:cubicBezTo>
                  <a:cubicBezTo>
                    <a:pt x="23" y="29"/>
                    <a:pt x="1" y="58"/>
                    <a:pt x="1" y="91"/>
                  </a:cubicBezTo>
                  <a:cubicBezTo>
                    <a:pt x="3" y="120"/>
                    <a:pt x="23" y="155"/>
                    <a:pt x="54" y="160"/>
                  </a:cubicBezTo>
                  <a:cubicBezTo>
                    <a:pt x="119" y="172"/>
                    <a:pt x="185" y="173"/>
                    <a:pt x="250" y="175"/>
                  </a:cubicBezTo>
                  <a:cubicBezTo>
                    <a:pt x="311" y="178"/>
                    <a:pt x="371" y="178"/>
                    <a:pt x="431" y="178"/>
                  </a:cubicBezTo>
                  <a:lnTo>
                    <a:pt x="519" y="180"/>
                  </a:lnTo>
                  <a:cubicBezTo>
                    <a:pt x="529" y="181"/>
                    <a:pt x="538" y="181"/>
                    <a:pt x="547" y="181"/>
                  </a:cubicBezTo>
                  <a:cubicBezTo>
                    <a:pt x="574" y="181"/>
                    <a:pt x="601" y="179"/>
                    <a:pt x="628" y="175"/>
                  </a:cubicBezTo>
                  <a:cubicBezTo>
                    <a:pt x="657" y="170"/>
                    <a:pt x="686" y="166"/>
                    <a:pt x="715" y="161"/>
                  </a:cubicBezTo>
                  <a:cubicBezTo>
                    <a:pt x="751" y="156"/>
                    <a:pt x="785" y="154"/>
                    <a:pt x="811" y="128"/>
                  </a:cubicBezTo>
                  <a:cubicBezTo>
                    <a:pt x="831" y="106"/>
                    <a:pt x="831" y="74"/>
                    <a:pt x="811" y="54"/>
                  </a:cubicBezTo>
                  <a:cubicBezTo>
                    <a:pt x="785" y="27"/>
                    <a:pt x="751" y="25"/>
                    <a:pt x="715" y="20"/>
                  </a:cubicBezTo>
                  <a:cubicBezTo>
                    <a:pt x="686" y="16"/>
                    <a:pt x="657" y="11"/>
                    <a:pt x="628" y="5"/>
                  </a:cubicBezTo>
                  <a:cubicBezTo>
                    <a:pt x="603" y="2"/>
                    <a:pt x="578" y="0"/>
                    <a:pt x="55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57" name="Google Shape;357;p27"/>
            <p:cNvSpPr/>
            <p:nvPr/>
          </p:nvSpPr>
          <p:spPr>
            <a:xfrm>
              <a:off x="5842282" y="3421630"/>
              <a:ext cx="18425" cy="5800"/>
            </a:xfrm>
            <a:custGeom>
              <a:avLst/>
              <a:gdLst/>
              <a:ahLst/>
              <a:cxnLst/>
              <a:rect l="l" t="t" r="r" b="b"/>
              <a:pathLst>
                <a:path w="737" h="232" extrusionOk="0">
                  <a:moveTo>
                    <a:pt x="76" y="1"/>
                  </a:moveTo>
                  <a:cubicBezTo>
                    <a:pt x="46" y="1"/>
                    <a:pt x="15" y="17"/>
                    <a:pt x="8" y="49"/>
                  </a:cubicBezTo>
                  <a:cubicBezTo>
                    <a:pt x="1" y="83"/>
                    <a:pt x="19" y="124"/>
                    <a:pt x="56" y="133"/>
                  </a:cubicBezTo>
                  <a:lnTo>
                    <a:pt x="56" y="132"/>
                  </a:lnTo>
                  <a:cubicBezTo>
                    <a:pt x="161" y="154"/>
                    <a:pt x="265" y="177"/>
                    <a:pt x="370" y="198"/>
                  </a:cubicBezTo>
                  <a:cubicBezTo>
                    <a:pt x="421" y="208"/>
                    <a:pt x="474" y="214"/>
                    <a:pt x="527" y="222"/>
                  </a:cubicBezTo>
                  <a:cubicBezTo>
                    <a:pt x="552" y="226"/>
                    <a:pt x="578" y="231"/>
                    <a:pt x="603" y="231"/>
                  </a:cubicBezTo>
                  <a:cubicBezTo>
                    <a:pt x="610" y="231"/>
                    <a:pt x="618" y="231"/>
                    <a:pt x="625" y="230"/>
                  </a:cubicBezTo>
                  <a:cubicBezTo>
                    <a:pt x="629" y="229"/>
                    <a:pt x="631" y="229"/>
                    <a:pt x="631" y="229"/>
                  </a:cubicBezTo>
                  <a:lnTo>
                    <a:pt x="631" y="229"/>
                  </a:lnTo>
                  <a:cubicBezTo>
                    <a:pt x="632" y="229"/>
                    <a:pt x="631" y="229"/>
                    <a:pt x="628" y="230"/>
                  </a:cubicBezTo>
                  <a:lnTo>
                    <a:pt x="638" y="231"/>
                  </a:lnTo>
                  <a:lnTo>
                    <a:pt x="658" y="232"/>
                  </a:lnTo>
                  <a:cubicBezTo>
                    <a:pt x="673" y="232"/>
                    <a:pt x="688" y="231"/>
                    <a:pt x="704" y="228"/>
                  </a:cubicBezTo>
                  <a:cubicBezTo>
                    <a:pt x="721" y="223"/>
                    <a:pt x="732" y="209"/>
                    <a:pt x="735" y="193"/>
                  </a:cubicBezTo>
                  <a:cubicBezTo>
                    <a:pt x="737" y="175"/>
                    <a:pt x="728" y="159"/>
                    <a:pt x="715" y="150"/>
                  </a:cubicBezTo>
                  <a:cubicBezTo>
                    <a:pt x="702" y="142"/>
                    <a:pt x="688" y="136"/>
                    <a:pt x="674" y="131"/>
                  </a:cubicBezTo>
                  <a:cubicBezTo>
                    <a:pt x="665" y="127"/>
                    <a:pt x="656" y="124"/>
                    <a:pt x="646" y="120"/>
                  </a:cubicBezTo>
                  <a:cubicBezTo>
                    <a:pt x="620" y="107"/>
                    <a:pt x="591" y="98"/>
                    <a:pt x="563" y="94"/>
                  </a:cubicBezTo>
                  <a:cubicBezTo>
                    <a:pt x="510" y="81"/>
                    <a:pt x="458" y="67"/>
                    <a:pt x="406" y="58"/>
                  </a:cubicBezTo>
                  <a:cubicBezTo>
                    <a:pt x="301" y="39"/>
                    <a:pt x="197" y="20"/>
                    <a:pt x="91" y="2"/>
                  </a:cubicBezTo>
                  <a:cubicBezTo>
                    <a:pt x="86" y="1"/>
                    <a:pt x="81" y="1"/>
                    <a:pt x="7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58" name="Google Shape;358;p27"/>
            <p:cNvSpPr/>
            <p:nvPr/>
          </p:nvSpPr>
          <p:spPr>
            <a:xfrm>
              <a:off x="5852832" y="3409180"/>
              <a:ext cx="13225" cy="4700"/>
            </a:xfrm>
            <a:custGeom>
              <a:avLst/>
              <a:gdLst/>
              <a:ahLst/>
              <a:cxnLst/>
              <a:rect l="l" t="t" r="r" b="b"/>
              <a:pathLst>
                <a:path w="529" h="188" extrusionOk="0">
                  <a:moveTo>
                    <a:pt x="173" y="0"/>
                  </a:moveTo>
                  <a:cubicBezTo>
                    <a:pt x="131" y="0"/>
                    <a:pt x="89" y="4"/>
                    <a:pt x="48" y="14"/>
                  </a:cubicBezTo>
                  <a:cubicBezTo>
                    <a:pt x="17" y="19"/>
                    <a:pt x="1" y="53"/>
                    <a:pt x="4" y="80"/>
                  </a:cubicBezTo>
                  <a:cubicBezTo>
                    <a:pt x="8" y="106"/>
                    <a:pt x="31" y="133"/>
                    <a:pt x="59" y="133"/>
                  </a:cubicBezTo>
                  <a:cubicBezTo>
                    <a:pt x="61" y="133"/>
                    <a:pt x="62" y="133"/>
                    <a:pt x="64" y="133"/>
                  </a:cubicBezTo>
                  <a:cubicBezTo>
                    <a:pt x="90" y="131"/>
                    <a:pt x="116" y="129"/>
                    <a:pt x="142" y="129"/>
                  </a:cubicBezTo>
                  <a:cubicBezTo>
                    <a:pt x="151" y="129"/>
                    <a:pt x="159" y="130"/>
                    <a:pt x="168" y="130"/>
                  </a:cubicBezTo>
                  <a:cubicBezTo>
                    <a:pt x="203" y="130"/>
                    <a:pt x="239" y="134"/>
                    <a:pt x="275" y="134"/>
                  </a:cubicBezTo>
                  <a:cubicBezTo>
                    <a:pt x="275" y="134"/>
                    <a:pt x="275" y="134"/>
                    <a:pt x="276" y="134"/>
                  </a:cubicBezTo>
                  <a:lnTo>
                    <a:pt x="276" y="134"/>
                  </a:lnTo>
                  <a:cubicBezTo>
                    <a:pt x="276" y="134"/>
                    <a:pt x="276" y="134"/>
                    <a:pt x="276" y="134"/>
                  </a:cubicBezTo>
                  <a:lnTo>
                    <a:pt x="290" y="136"/>
                  </a:lnTo>
                  <a:cubicBezTo>
                    <a:pt x="299" y="138"/>
                    <a:pt x="306" y="139"/>
                    <a:pt x="315" y="141"/>
                  </a:cubicBezTo>
                  <a:cubicBezTo>
                    <a:pt x="333" y="145"/>
                    <a:pt x="349" y="150"/>
                    <a:pt x="367" y="154"/>
                  </a:cubicBezTo>
                  <a:cubicBezTo>
                    <a:pt x="401" y="165"/>
                    <a:pt x="433" y="181"/>
                    <a:pt x="468" y="187"/>
                  </a:cubicBezTo>
                  <a:cubicBezTo>
                    <a:pt x="471" y="188"/>
                    <a:pt x="474" y="188"/>
                    <a:pt x="477" y="188"/>
                  </a:cubicBezTo>
                  <a:cubicBezTo>
                    <a:pt x="509" y="188"/>
                    <a:pt x="529" y="149"/>
                    <a:pt x="504" y="124"/>
                  </a:cubicBezTo>
                  <a:cubicBezTo>
                    <a:pt x="477" y="95"/>
                    <a:pt x="443" y="74"/>
                    <a:pt x="407" y="60"/>
                  </a:cubicBezTo>
                  <a:cubicBezTo>
                    <a:pt x="371" y="43"/>
                    <a:pt x="332" y="30"/>
                    <a:pt x="294" y="19"/>
                  </a:cubicBezTo>
                  <a:cubicBezTo>
                    <a:pt x="255" y="8"/>
                    <a:pt x="215" y="1"/>
                    <a:pt x="17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59" name="Google Shape;359;p27"/>
            <p:cNvSpPr/>
            <p:nvPr/>
          </p:nvSpPr>
          <p:spPr>
            <a:xfrm>
              <a:off x="5749369" y="3676650"/>
              <a:ext cx="22225" cy="3550"/>
            </a:xfrm>
            <a:custGeom>
              <a:avLst/>
              <a:gdLst/>
              <a:ahLst/>
              <a:cxnLst/>
              <a:rect l="l" t="t" r="r" b="b"/>
              <a:pathLst>
                <a:path w="889" h="142" extrusionOk="0">
                  <a:moveTo>
                    <a:pt x="555" y="1"/>
                  </a:moveTo>
                  <a:cubicBezTo>
                    <a:pt x="524" y="1"/>
                    <a:pt x="493" y="1"/>
                    <a:pt x="462" y="1"/>
                  </a:cubicBezTo>
                  <a:lnTo>
                    <a:pt x="94" y="1"/>
                  </a:lnTo>
                  <a:cubicBezTo>
                    <a:pt x="94" y="1"/>
                    <a:pt x="93" y="1"/>
                    <a:pt x="93" y="1"/>
                  </a:cubicBezTo>
                  <a:cubicBezTo>
                    <a:pt x="0" y="1"/>
                    <a:pt x="1" y="141"/>
                    <a:pt x="94" y="141"/>
                  </a:cubicBezTo>
                  <a:lnTo>
                    <a:pt x="462" y="141"/>
                  </a:lnTo>
                  <a:cubicBezTo>
                    <a:pt x="523" y="141"/>
                    <a:pt x="584" y="141"/>
                    <a:pt x="646" y="139"/>
                  </a:cubicBezTo>
                  <a:cubicBezTo>
                    <a:pt x="677" y="138"/>
                    <a:pt x="709" y="139"/>
                    <a:pt x="739" y="136"/>
                  </a:cubicBezTo>
                  <a:lnTo>
                    <a:pt x="781" y="130"/>
                  </a:lnTo>
                  <a:cubicBezTo>
                    <a:pt x="800" y="130"/>
                    <a:pt x="820" y="127"/>
                    <a:pt x="838" y="122"/>
                  </a:cubicBezTo>
                  <a:cubicBezTo>
                    <a:pt x="889" y="106"/>
                    <a:pt x="889" y="35"/>
                    <a:pt x="838" y="19"/>
                  </a:cubicBezTo>
                  <a:cubicBezTo>
                    <a:pt x="821" y="13"/>
                    <a:pt x="803" y="11"/>
                    <a:pt x="785" y="10"/>
                  </a:cubicBezTo>
                  <a:cubicBezTo>
                    <a:pt x="770" y="9"/>
                    <a:pt x="754" y="7"/>
                    <a:pt x="739" y="6"/>
                  </a:cubicBezTo>
                  <a:cubicBezTo>
                    <a:pt x="709" y="2"/>
                    <a:pt x="677" y="3"/>
                    <a:pt x="646" y="2"/>
                  </a:cubicBezTo>
                  <a:cubicBezTo>
                    <a:pt x="616" y="1"/>
                    <a:pt x="585" y="1"/>
                    <a:pt x="55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60" name="Google Shape;360;p27"/>
            <p:cNvSpPr/>
            <p:nvPr/>
          </p:nvSpPr>
          <p:spPr>
            <a:xfrm>
              <a:off x="5788763" y="3591500"/>
              <a:ext cx="22475" cy="5075"/>
            </a:xfrm>
            <a:custGeom>
              <a:avLst/>
              <a:gdLst/>
              <a:ahLst/>
              <a:cxnLst/>
              <a:rect l="l" t="t" r="r" b="b"/>
              <a:pathLst>
                <a:path w="899" h="203" extrusionOk="0">
                  <a:moveTo>
                    <a:pt x="779" y="0"/>
                  </a:moveTo>
                  <a:cubicBezTo>
                    <a:pt x="768" y="1"/>
                    <a:pt x="756" y="3"/>
                    <a:pt x="745" y="6"/>
                  </a:cubicBezTo>
                  <a:cubicBezTo>
                    <a:pt x="692" y="16"/>
                    <a:pt x="638" y="25"/>
                    <a:pt x="584" y="33"/>
                  </a:cubicBezTo>
                  <a:lnTo>
                    <a:pt x="547" y="39"/>
                  </a:lnTo>
                  <a:lnTo>
                    <a:pt x="528" y="41"/>
                  </a:lnTo>
                  <a:lnTo>
                    <a:pt x="519" y="42"/>
                  </a:lnTo>
                  <a:cubicBezTo>
                    <a:pt x="492" y="47"/>
                    <a:pt x="466" y="50"/>
                    <a:pt x="440" y="52"/>
                  </a:cubicBezTo>
                  <a:cubicBezTo>
                    <a:pt x="318" y="66"/>
                    <a:pt x="196" y="74"/>
                    <a:pt x="74" y="78"/>
                  </a:cubicBezTo>
                  <a:cubicBezTo>
                    <a:pt x="0" y="83"/>
                    <a:pt x="0" y="191"/>
                    <a:pt x="74" y="194"/>
                  </a:cubicBezTo>
                  <a:cubicBezTo>
                    <a:pt x="139" y="200"/>
                    <a:pt x="204" y="203"/>
                    <a:pt x="270" y="203"/>
                  </a:cubicBezTo>
                  <a:cubicBezTo>
                    <a:pt x="424" y="203"/>
                    <a:pt x="578" y="187"/>
                    <a:pt x="730" y="154"/>
                  </a:cubicBezTo>
                  <a:cubicBezTo>
                    <a:pt x="759" y="148"/>
                    <a:pt x="792" y="144"/>
                    <a:pt x="818" y="130"/>
                  </a:cubicBezTo>
                  <a:cubicBezTo>
                    <a:pt x="829" y="125"/>
                    <a:pt x="838" y="117"/>
                    <a:pt x="849" y="111"/>
                  </a:cubicBezTo>
                  <a:cubicBezTo>
                    <a:pt x="864" y="103"/>
                    <a:pt x="877" y="92"/>
                    <a:pt x="888" y="78"/>
                  </a:cubicBezTo>
                  <a:cubicBezTo>
                    <a:pt x="898" y="62"/>
                    <a:pt x="897" y="40"/>
                    <a:pt x="884" y="27"/>
                  </a:cubicBezTo>
                  <a:cubicBezTo>
                    <a:pt x="871" y="14"/>
                    <a:pt x="853" y="7"/>
                    <a:pt x="835" y="7"/>
                  </a:cubicBezTo>
                  <a:lnTo>
                    <a:pt x="817" y="6"/>
                  </a:lnTo>
                  <a:cubicBezTo>
                    <a:pt x="814" y="6"/>
                    <a:pt x="811" y="6"/>
                    <a:pt x="808" y="5"/>
                  </a:cubicBezTo>
                  <a:lnTo>
                    <a:pt x="808" y="5"/>
                  </a:lnTo>
                  <a:cubicBezTo>
                    <a:pt x="808" y="5"/>
                    <a:pt x="812" y="5"/>
                    <a:pt x="813" y="5"/>
                  </a:cubicBezTo>
                  <a:cubicBezTo>
                    <a:pt x="813" y="5"/>
                    <a:pt x="812" y="5"/>
                    <a:pt x="810" y="5"/>
                  </a:cubicBezTo>
                  <a:cubicBezTo>
                    <a:pt x="799" y="2"/>
                    <a:pt x="790" y="1"/>
                    <a:pt x="77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61" name="Google Shape;361;p27"/>
            <p:cNvSpPr/>
            <p:nvPr/>
          </p:nvSpPr>
          <p:spPr>
            <a:xfrm>
              <a:off x="5772138" y="3603275"/>
              <a:ext cx="13725" cy="5200"/>
            </a:xfrm>
            <a:custGeom>
              <a:avLst/>
              <a:gdLst/>
              <a:ahLst/>
              <a:cxnLst/>
              <a:rect l="l" t="t" r="r" b="b"/>
              <a:pathLst>
                <a:path w="549" h="208" extrusionOk="0">
                  <a:moveTo>
                    <a:pt x="448" y="1"/>
                  </a:moveTo>
                  <a:cubicBezTo>
                    <a:pt x="425" y="2"/>
                    <a:pt x="403" y="5"/>
                    <a:pt x="380" y="9"/>
                  </a:cubicBezTo>
                  <a:cubicBezTo>
                    <a:pt x="345" y="15"/>
                    <a:pt x="309" y="23"/>
                    <a:pt x="274" y="30"/>
                  </a:cubicBezTo>
                  <a:lnTo>
                    <a:pt x="61" y="70"/>
                  </a:lnTo>
                  <a:cubicBezTo>
                    <a:pt x="24" y="78"/>
                    <a:pt x="1" y="123"/>
                    <a:pt x="11" y="157"/>
                  </a:cubicBezTo>
                  <a:cubicBezTo>
                    <a:pt x="23" y="191"/>
                    <a:pt x="50" y="208"/>
                    <a:pt x="82" y="208"/>
                  </a:cubicBezTo>
                  <a:cubicBezTo>
                    <a:pt x="87" y="208"/>
                    <a:pt x="92" y="207"/>
                    <a:pt x="98" y="206"/>
                  </a:cubicBezTo>
                  <a:lnTo>
                    <a:pt x="309" y="170"/>
                  </a:lnTo>
                  <a:cubicBezTo>
                    <a:pt x="343" y="164"/>
                    <a:pt x="378" y="159"/>
                    <a:pt x="413" y="152"/>
                  </a:cubicBezTo>
                  <a:cubicBezTo>
                    <a:pt x="430" y="149"/>
                    <a:pt x="447" y="145"/>
                    <a:pt x="464" y="141"/>
                  </a:cubicBezTo>
                  <a:cubicBezTo>
                    <a:pt x="473" y="138"/>
                    <a:pt x="483" y="133"/>
                    <a:pt x="491" y="127"/>
                  </a:cubicBezTo>
                  <a:lnTo>
                    <a:pt x="491" y="127"/>
                  </a:lnTo>
                  <a:cubicBezTo>
                    <a:pt x="491" y="127"/>
                    <a:pt x="491" y="127"/>
                    <a:pt x="491" y="127"/>
                  </a:cubicBezTo>
                  <a:cubicBezTo>
                    <a:pt x="491" y="127"/>
                    <a:pt x="497" y="123"/>
                    <a:pt x="500" y="120"/>
                  </a:cubicBezTo>
                  <a:lnTo>
                    <a:pt x="500" y="120"/>
                  </a:lnTo>
                  <a:cubicBezTo>
                    <a:pt x="502" y="119"/>
                    <a:pt x="506" y="117"/>
                    <a:pt x="507" y="117"/>
                  </a:cubicBezTo>
                  <a:lnTo>
                    <a:pt x="520" y="109"/>
                  </a:lnTo>
                  <a:cubicBezTo>
                    <a:pt x="537" y="98"/>
                    <a:pt x="548" y="76"/>
                    <a:pt x="545" y="56"/>
                  </a:cubicBezTo>
                  <a:cubicBezTo>
                    <a:pt x="543" y="35"/>
                    <a:pt x="527" y="17"/>
                    <a:pt x="507" y="12"/>
                  </a:cubicBezTo>
                  <a:cubicBezTo>
                    <a:pt x="500" y="11"/>
                    <a:pt x="491" y="10"/>
                    <a:pt x="484" y="8"/>
                  </a:cubicBezTo>
                  <a:cubicBezTo>
                    <a:pt x="472" y="5"/>
                    <a:pt x="461" y="2"/>
                    <a:pt x="44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 1">
  <p:cSld name="CUSTOM_24">
    <p:spTree>
      <p:nvGrpSpPr>
        <p:cNvPr id="1" name="Shape 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3" name="Google Shape;363;p28"/>
          <p:cNvGrpSpPr/>
          <p:nvPr/>
        </p:nvGrpSpPr>
        <p:grpSpPr>
          <a:xfrm rot="21155350">
            <a:off x="-2736098" y="-647955"/>
            <a:ext cx="13685287" cy="6857677"/>
            <a:chOff x="-771515" y="-173900"/>
            <a:chExt cx="10424240" cy="5143485"/>
          </a:xfrm>
        </p:grpSpPr>
        <p:sp>
          <p:nvSpPr>
            <p:cNvPr id="364" name="Google Shape;364;p28"/>
            <p:cNvSpPr/>
            <p:nvPr/>
          </p:nvSpPr>
          <p:spPr>
            <a:xfrm flipH="1">
              <a:off x="-771515" y="-173900"/>
              <a:ext cx="10424240" cy="5143485"/>
            </a:xfrm>
            <a:custGeom>
              <a:avLst/>
              <a:gdLst/>
              <a:ahLst/>
              <a:cxnLst/>
              <a:rect l="l" t="t" r="r" b="b"/>
              <a:pathLst>
                <a:path w="60555" h="26906" extrusionOk="0">
                  <a:moveTo>
                    <a:pt x="30368" y="1"/>
                  </a:moveTo>
                  <a:cubicBezTo>
                    <a:pt x="29859" y="1"/>
                    <a:pt x="29289" y="93"/>
                    <a:pt x="28992" y="105"/>
                  </a:cubicBezTo>
                  <a:lnTo>
                    <a:pt x="25316" y="255"/>
                  </a:lnTo>
                  <a:cubicBezTo>
                    <a:pt x="24289" y="297"/>
                    <a:pt x="23262" y="343"/>
                    <a:pt x="22235" y="382"/>
                  </a:cubicBezTo>
                  <a:cubicBezTo>
                    <a:pt x="21241" y="420"/>
                    <a:pt x="20858" y="575"/>
                    <a:pt x="19992" y="1085"/>
                  </a:cubicBezTo>
                  <a:cubicBezTo>
                    <a:pt x="18442" y="1998"/>
                    <a:pt x="16834" y="2805"/>
                    <a:pt x="15216" y="3589"/>
                  </a:cubicBezTo>
                  <a:cubicBezTo>
                    <a:pt x="10132" y="6050"/>
                    <a:pt x="3799" y="8371"/>
                    <a:pt x="918" y="13609"/>
                  </a:cubicBezTo>
                  <a:cubicBezTo>
                    <a:pt x="1" y="15277"/>
                    <a:pt x="44" y="16824"/>
                    <a:pt x="912" y="18515"/>
                  </a:cubicBezTo>
                  <a:cubicBezTo>
                    <a:pt x="3962" y="24466"/>
                    <a:pt x="10965" y="25739"/>
                    <a:pt x="17006" y="26454"/>
                  </a:cubicBezTo>
                  <a:cubicBezTo>
                    <a:pt x="17872" y="26557"/>
                    <a:pt x="18795" y="26736"/>
                    <a:pt x="19683" y="26736"/>
                  </a:cubicBezTo>
                  <a:cubicBezTo>
                    <a:pt x="19821" y="26736"/>
                    <a:pt x="19959" y="26731"/>
                    <a:pt x="20095" y="26722"/>
                  </a:cubicBezTo>
                  <a:cubicBezTo>
                    <a:pt x="20696" y="26679"/>
                    <a:pt x="21227" y="26546"/>
                    <a:pt x="21817" y="26546"/>
                  </a:cubicBezTo>
                  <a:cubicBezTo>
                    <a:pt x="21917" y="26546"/>
                    <a:pt x="22020" y="26549"/>
                    <a:pt x="22125" y="26558"/>
                  </a:cubicBezTo>
                  <a:lnTo>
                    <a:pt x="22310" y="26574"/>
                  </a:lnTo>
                  <a:cubicBezTo>
                    <a:pt x="24357" y="26746"/>
                    <a:pt x="26382" y="26905"/>
                    <a:pt x="28439" y="26905"/>
                  </a:cubicBezTo>
                  <a:cubicBezTo>
                    <a:pt x="28546" y="26905"/>
                    <a:pt x="28654" y="26905"/>
                    <a:pt x="28762" y="26904"/>
                  </a:cubicBezTo>
                  <a:cubicBezTo>
                    <a:pt x="31570" y="26880"/>
                    <a:pt x="34392" y="26703"/>
                    <a:pt x="37183" y="26397"/>
                  </a:cubicBezTo>
                  <a:cubicBezTo>
                    <a:pt x="40909" y="25991"/>
                    <a:pt x="44586" y="25231"/>
                    <a:pt x="48222" y="24336"/>
                  </a:cubicBezTo>
                  <a:cubicBezTo>
                    <a:pt x="51765" y="23463"/>
                    <a:pt x="55234" y="22562"/>
                    <a:pt x="58428" y="20736"/>
                  </a:cubicBezTo>
                  <a:cubicBezTo>
                    <a:pt x="59364" y="20201"/>
                    <a:pt x="60356" y="19457"/>
                    <a:pt x="60455" y="18383"/>
                  </a:cubicBezTo>
                  <a:cubicBezTo>
                    <a:pt x="60555" y="17316"/>
                    <a:pt x="59658" y="16354"/>
                    <a:pt x="58636" y="16034"/>
                  </a:cubicBezTo>
                  <a:cubicBezTo>
                    <a:pt x="58242" y="15911"/>
                    <a:pt x="57836" y="15862"/>
                    <a:pt x="57425" y="15862"/>
                  </a:cubicBezTo>
                  <a:cubicBezTo>
                    <a:pt x="56769" y="15862"/>
                    <a:pt x="56103" y="15987"/>
                    <a:pt x="55461" y="16136"/>
                  </a:cubicBezTo>
                  <a:cubicBezTo>
                    <a:pt x="52270" y="16878"/>
                    <a:pt x="49222" y="18146"/>
                    <a:pt x="46130" y="19209"/>
                  </a:cubicBezTo>
                  <a:cubicBezTo>
                    <a:pt x="42962" y="20297"/>
                    <a:pt x="39753" y="21288"/>
                    <a:pt x="36473" y="21983"/>
                  </a:cubicBezTo>
                  <a:cubicBezTo>
                    <a:pt x="33633" y="22584"/>
                    <a:pt x="30836" y="22859"/>
                    <a:pt x="28061" y="22859"/>
                  </a:cubicBezTo>
                  <a:cubicBezTo>
                    <a:pt x="23194" y="22859"/>
                    <a:pt x="18394" y="22011"/>
                    <a:pt x="13550" y="20582"/>
                  </a:cubicBezTo>
                  <a:cubicBezTo>
                    <a:pt x="12514" y="20277"/>
                    <a:pt x="11473" y="19930"/>
                    <a:pt x="10585" y="19315"/>
                  </a:cubicBezTo>
                  <a:cubicBezTo>
                    <a:pt x="9696" y="18702"/>
                    <a:pt x="8969" y="17781"/>
                    <a:pt x="8814" y="16713"/>
                  </a:cubicBezTo>
                  <a:cubicBezTo>
                    <a:pt x="8634" y="15469"/>
                    <a:pt x="9239" y="14249"/>
                    <a:pt x="9947" y="13211"/>
                  </a:cubicBezTo>
                  <a:cubicBezTo>
                    <a:pt x="11915" y="10335"/>
                    <a:pt x="15499" y="7337"/>
                    <a:pt x="19073" y="6824"/>
                  </a:cubicBezTo>
                  <a:cubicBezTo>
                    <a:pt x="23152" y="6237"/>
                    <a:pt x="27106" y="4191"/>
                    <a:pt x="30457" y="1792"/>
                  </a:cubicBezTo>
                  <a:cubicBezTo>
                    <a:pt x="30759" y="1575"/>
                    <a:pt x="31069" y="1342"/>
                    <a:pt x="31241" y="1011"/>
                  </a:cubicBezTo>
                  <a:cubicBezTo>
                    <a:pt x="31675" y="181"/>
                    <a:pt x="31080" y="1"/>
                    <a:pt x="30368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65" name="Google Shape;365;p28"/>
            <p:cNvSpPr/>
            <p:nvPr/>
          </p:nvSpPr>
          <p:spPr>
            <a:xfrm flipH="1">
              <a:off x="6742003" y="4122714"/>
              <a:ext cx="201931" cy="73599"/>
            </a:xfrm>
            <a:custGeom>
              <a:avLst/>
              <a:gdLst/>
              <a:ahLst/>
              <a:cxnLst/>
              <a:rect l="l" t="t" r="r" b="b"/>
              <a:pathLst>
                <a:path w="1286" h="385" extrusionOk="0">
                  <a:moveTo>
                    <a:pt x="103" y="1"/>
                  </a:moveTo>
                  <a:cubicBezTo>
                    <a:pt x="86" y="1"/>
                    <a:pt x="69" y="5"/>
                    <a:pt x="53" y="14"/>
                  </a:cubicBezTo>
                  <a:cubicBezTo>
                    <a:pt x="31" y="27"/>
                    <a:pt x="15" y="48"/>
                    <a:pt x="8" y="73"/>
                  </a:cubicBezTo>
                  <a:cubicBezTo>
                    <a:pt x="1" y="99"/>
                    <a:pt x="5" y="127"/>
                    <a:pt x="17" y="149"/>
                  </a:cubicBezTo>
                  <a:cubicBezTo>
                    <a:pt x="32" y="171"/>
                    <a:pt x="52" y="187"/>
                    <a:pt x="76" y="195"/>
                  </a:cubicBezTo>
                  <a:lnTo>
                    <a:pt x="76" y="194"/>
                  </a:lnTo>
                  <a:cubicBezTo>
                    <a:pt x="353" y="297"/>
                    <a:pt x="644" y="360"/>
                    <a:pt x="938" y="378"/>
                  </a:cubicBezTo>
                  <a:cubicBezTo>
                    <a:pt x="1002" y="383"/>
                    <a:pt x="1065" y="384"/>
                    <a:pt x="1129" y="384"/>
                  </a:cubicBezTo>
                  <a:cubicBezTo>
                    <a:pt x="1148" y="384"/>
                    <a:pt x="1166" y="384"/>
                    <a:pt x="1185" y="384"/>
                  </a:cubicBezTo>
                  <a:cubicBezTo>
                    <a:pt x="1236" y="383"/>
                    <a:pt x="1286" y="338"/>
                    <a:pt x="1284" y="285"/>
                  </a:cubicBezTo>
                  <a:cubicBezTo>
                    <a:pt x="1282" y="231"/>
                    <a:pt x="1241" y="186"/>
                    <a:pt x="1186" y="186"/>
                  </a:cubicBezTo>
                  <a:cubicBezTo>
                    <a:pt x="1186" y="186"/>
                    <a:pt x="1185" y="186"/>
                    <a:pt x="1185" y="186"/>
                  </a:cubicBezTo>
                  <a:cubicBezTo>
                    <a:pt x="1164" y="186"/>
                    <a:pt x="1144" y="186"/>
                    <a:pt x="1123" y="186"/>
                  </a:cubicBezTo>
                  <a:cubicBezTo>
                    <a:pt x="994" y="186"/>
                    <a:pt x="864" y="178"/>
                    <a:pt x="735" y="160"/>
                  </a:cubicBezTo>
                  <a:lnTo>
                    <a:pt x="735" y="160"/>
                  </a:lnTo>
                  <a:lnTo>
                    <a:pt x="762" y="164"/>
                  </a:lnTo>
                  <a:cubicBezTo>
                    <a:pt x="546" y="135"/>
                    <a:pt x="334" y="81"/>
                    <a:pt x="129" y="4"/>
                  </a:cubicBezTo>
                  <a:cubicBezTo>
                    <a:pt x="121" y="2"/>
                    <a:pt x="112" y="1"/>
                    <a:pt x="1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66" name="Google Shape;366;p28"/>
            <p:cNvSpPr/>
            <p:nvPr/>
          </p:nvSpPr>
          <p:spPr>
            <a:xfrm flipH="1">
              <a:off x="5697963" y="4705193"/>
              <a:ext cx="240401" cy="71305"/>
            </a:xfrm>
            <a:custGeom>
              <a:avLst/>
              <a:gdLst/>
              <a:ahLst/>
              <a:cxnLst/>
              <a:rect l="l" t="t" r="r" b="b"/>
              <a:pathLst>
                <a:path w="1531" h="373" extrusionOk="0">
                  <a:moveTo>
                    <a:pt x="109" y="0"/>
                  </a:moveTo>
                  <a:cubicBezTo>
                    <a:pt x="66" y="0"/>
                    <a:pt x="26" y="29"/>
                    <a:pt x="14" y="73"/>
                  </a:cubicBezTo>
                  <a:cubicBezTo>
                    <a:pt x="0" y="125"/>
                    <a:pt x="31" y="179"/>
                    <a:pt x="83" y="194"/>
                  </a:cubicBezTo>
                  <a:cubicBezTo>
                    <a:pt x="422" y="305"/>
                    <a:pt x="776" y="365"/>
                    <a:pt x="1133" y="372"/>
                  </a:cubicBezTo>
                  <a:cubicBezTo>
                    <a:pt x="1158" y="373"/>
                    <a:pt x="1184" y="373"/>
                    <a:pt x="1209" y="373"/>
                  </a:cubicBezTo>
                  <a:cubicBezTo>
                    <a:pt x="1283" y="373"/>
                    <a:pt x="1356" y="371"/>
                    <a:pt x="1429" y="367"/>
                  </a:cubicBezTo>
                  <a:cubicBezTo>
                    <a:pt x="1480" y="364"/>
                    <a:pt x="1530" y="324"/>
                    <a:pt x="1527" y="268"/>
                  </a:cubicBezTo>
                  <a:cubicBezTo>
                    <a:pt x="1525" y="219"/>
                    <a:pt x="1486" y="169"/>
                    <a:pt x="1434" y="169"/>
                  </a:cubicBezTo>
                  <a:cubicBezTo>
                    <a:pt x="1432" y="169"/>
                    <a:pt x="1431" y="169"/>
                    <a:pt x="1429" y="169"/>
                  </a:cubicBezTo>
                  <a:cubicBezTo>
                    <a:pt x="1355" y="173"/>
                    <a:pt x="1281" y="176"/>
                    <a:pt x="1207" y="176"/>
                  </a:cubicBezTo>
                  <a:cubicBezTo>
                    <a:pt x="1051" y="176"/>
                    <a:pt x="894" y="165"/>
                    <a:pt x="740" y="144"/>
                  </a:cubicBezTo>
                  <a:lnTo>
                    <a:pt x="740" y="144"/>
                  </a:lnTo>
                  <a:lnTo>
                    <a:pt x="766" y="148"/>
                  </a:lnTo>
                  <a:cubicBezTo>
                    <a:pt x="552" y="119"/>
                    <a:pt x="341" y="71"/>
                    <a:pt x="135" y="4"/>
                  </a:cubicBezTo>
                  <a:cubicBezTo>
                    <a:pt x="126" y="2"/>
                    <a:pt x="117" y="0"/>
                    <a:pt x="10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67" name="Google Shape;367;p28"/>
            <p:cNvSpPr/>
            <p:nvPr/>
          </p:nvSpPr>
          <p:spPr>
            <a:xfrm flipH="1">
              <a:off x="5441388" y="4654152"/>
              <a:ext cx="110858" cy="51041"/>
            </a:xfrm>
            <a:custGeom>
              <a:avLst/>
              <a:gdLst/>
              <a:ahLst/>
              <a:cxnLst/>
              <a:rect l="l" t="t" r="r" b="b"/>
              <a:pathLst>
                <a:path w="706" h="267" extrusionOk="0">
                  <a:moveTo>
                    <a:pt x="601" y="1"/>
                  </a:moveTo>
                  <a:cubicBezTo>
                    <a:pt x="593" y="1"/>
                    <a:pt x="584" y="2"/>
                    <a:pt x="577" y="6"/>
                  </a:cubicBezTo>
                  <a:cubicBezTo>
                    <a:pt x="506" y="35"/>
                    <a:pt x="431" y="55"/>
                    <a:pt x="355" y="66"/>
                  </a:cubicBezTo>
                  <a:lnTo>
                    <a:pt x="382" y="61"/>
                  </a:lnTo>
                  <a:lnTo>
                    <a:pt x="382" y="61"/>
                  </a:lnTo>
                  <a:cubicBezTo>
                    <a:pt x="343" y="67"/>
                    <a:pt x="304" y="69"/>
                    <a:pt x="264" y="69"/>
                  </a:cubicBezTo>
                  <a:cubicBezTo>
                    <a:pt x="227" y="69"/>
                    <a:pt x="190" y="67"/>
                    <a:pt x="153" y="62"/>
                  </a:cubicBezTo>
                  <a:lnTo>
                    <a:pt x="153" y="62"/>
                  </a:lnTo>
                  <a:cubicBezTo>
                    <a:pt x="146" y="61"/>
                    <a:pt x="140" y="60"/>
                    <a:pt x="133" y="58"/>
                  </a:cubicBezTo>
                  <a:cubicBezTo>
                    <a:pt x="125" y="56"/>
                    <a:pt x="117" y="55"/>
                    <a:pt x="109" y="55"/>
                  </a:cubicBezTo>
                  <a:cubicBezTo>
                    <a:pt x="91" y="55"/>
                    <a:pt x="73" y="60"/>
                    <a:pt x="57" y="69"/>
                  </a:cubicBezTo>
                  <a:cubicBezTo>
                    <a:pt x="34" y="81"/>
                    <a:pt x="18" y="103"/>
                    <a:pt x="11" y="128"/>
                  </a:cubicBezTo>
                  <a:cubicBezTo>
                    <a:pt x="0" y="176"/>
                    <a:pt x="25" y="240"/>
                    <a:pt x="80" y="249"/>
                  </a:cubicBezTo>
                  <a:cubicBezTo>
                    <a:pt x="141" y="261"/>
                    <a:pt x="203" y="266"/>
                    <a:pt x="265" y="266"/>
                  </a:cubicBezTo>
                  <a:cubicBezTo>
                    <a:pt x="389" y="266"/>
                    <a:pt x="513" y="243"/>
                    <a:pt x="630" y="196"/>
                  </a:cubicBezTo>
                  <a:cubicBezTo>
                    <a:pt x="654" y="188"/>
                    <a:pt x="675" y="172"/>
                    <a:pt x="689" y="151"/>
                  </a:cubicBezTo>
                  <a:cubicBezTo>
                    <a:pt x="701" y="128"/>
                    <a:pt x="706" y="100"/>
                    <a:pt x="698" y="74"/>
                  </a:cubicBezTo>
                  <a:cubicBezTo>
                    <a:pt x="692" y="50"/>
                    <a:pt x="675" y="29"/>
                    <a:pt x="653" y="15"/>
                  </a:cubicBezTo>
                  <a:cubicBezTo>
                    <a:pt x="638" y="7"/>
                    <a:pt x="619" y="1"/>
                    <a:pt x="6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68" name="Google Shape;368;p28"/>
            <p:cNvSpPr/>
            <p:nvPr/>
          </p:nvSpPr>
          <p:spPr>
            <a:xfrm flipH="1">
              <a:off x="9066718" y="3623010"/>
              <a:ext cx="131271" cy="47027"/>
            </a:xfrm>
            <a:custGeom>
              <a:avLst/>
              <a:gdLst/>
              <a:ahLst/>
              <a:cxnLst/>
              <a:rect l="l" t="t" r="r" b="b"/>
              <a:pathLst>
                <a:path w="836" h="246" extrusionOk="0">
                  <a:moveTo>
                    <a:pt x="504" y="1"/>
                  </a:moveTo>
                  <a:cubicBezTo>
                    <a:pt x="363" y="1"/>
                    <a:pt x="221" y="18"/>
                    <a:pt x="83" y="52"/>
                  </a:cubicBezTo>
                  <a:cubicBezTo>
                    <a:pt x="32" y="67"/>
                    <a:pt x="1" y="121"/>
                    <a:pt x="15" y="173"/>
                  </a:cubicBezTo>
                  <a:cubicBezTo>
                    <a:pt x="27" y="218"/>
                    <a:pt x="67" y="246"/>
                    <a:pt x="111" y="246"/>
                  </a:cubicBezTo>
                  <a:cubicBezTo>
                    <a:pt x="120" y="246"/>
                    <a:pt x="128" y="245"/>
                    <a:pt x="136" y="243"/>
                  </a:cubicBezTo>
                  <a:cubicBezTo>
                    <a:pt x="195" y="228"/>
                    <a:pt x="255" y="216"/>
                    <a:pt x="315" y="208"/>
                  </a:cubicBezTo>
                  <a:lnTo>
                    <a:pt x="315" y="208"/>
                  </a:lnTo>
                  <a:lnTo>
                    <a:pt x="289" y="211"/>
                  </a:lnTo>
                  <a:cubicBezTo>
                    <a:pt x="360" y="202"/>
                    <a:pt x="433" y="197"/>
                    <a:pt x="505" y="197"/>
                  </a:cubicBezTo>
                  <a:cubicBezTo>
                    <a:pt x="577" y="197"/>
                    <a:pt x="649" y="202"/>
                    <a:pt x="721" y="211"/>
                  </a:cubicBezTo>
                  <a:lnTo>
                    <a:pt x="695" y="208"/>
                  </a:lnTo>
                  <a:lnTo>
                    <a:pt x="707" y="210"/>
                  </a:lnTo>
                  <a:cubicBezTo>
                    <a:pt x="717" y="211"/>
                    <a:pt x="726" y="212"/>
                    <a:pt x="735" y="212"/>
                  </a:cubicBezTo>
                  <a:cubicBezTo>
                    <a:pt x="752" y="212"/>
                    <a:pt x="768" y="209"/>
                    <a:pt x="784" y="200"/>
                  </a:cubicBezTo>
                  <a:cubicBezTo>
                    <a:pt x="806" y="187"/>
                    <a:pt x="822" y="166"/>
                    <a:pt x="830" y="141"/>
                  </a:cubicBezTo>
                  <a:cubicBezTo>
                    <a:pt x="836" y="115"/>
                    <a:pt x="833" y="88"/>
                    <a:pt x="819" y="65"/>
                  </a:cubicBezTo>
                  <a:cubicBezTo>
                    <a:pt x="806" y="45"/>
                    <a:pt x="785" y="22"/>
                    <a:pt x="760" y="19"/>
                  </a:cubicBezTo>
                  <a:cubicBezTo>
                    <a:pt x="675" y="7"/>
                    <a:pt x="590" y="1"/>
                    <a:pt x="5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369" name="Google Shape;369;p28"/>
          <p:cNvSpPr txBox="1">
            <a:spLocks noGrp="1"/>
          </p:cNvSpPr>
          <p:nvPr>
            <p:ph type="title"/>
          </p:nvPr>
        </p:nvSpPr>
        <p:spPr>
          <a:xfrm>
            <a:off x="958000" y="1243633"/>
            <a:ext cx="5718800" cy="2745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CUSTOM_4"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29"/>
          <p:cNvSpPr txBox="1">
            <a:spLocks noGrp="1"/>
          </p:cNvSpPr>
          <p:nvPr>
            <p:ph type="title"/>
          </p:nvPr>
        </p:nvSpPr>
        <p:spPr>
          <a:xfrm>
            <a:off x="960000" y="946967"/>
            <a:ext cx="4068800" cy="141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72" name="Google Shape;372;p29"/>
          <p:cNvSpPr txBox="1">
            <a:spLocks noGrp="1"/>
          </p:cNvSpPr>
          <p:nvPr>
            <p:ph type="ctrTitle" idx="2"/>
          </p:nvPr>
        </p:nvSpPr>
        <p:spPr>
          <a:xfrm flipH="1">
            <a:off x="1583800" y="4635767"/>
            <a:ext cx="2821200" cy="58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73" name="Google Shape;373;p29"/>
          <p:cNvSpPr txBox="1">
            <a:spLocks noGrp="1"/>
          </p:cNvSpPr>
          <p:nvPr>
            <p:ph type="subTitle" idx="1"/>
          </p:nvPr>
        </p:nvSpPr>
        <p:spPr>
          <a:xfrm flipH="1">
            <a:off x="1716400" y="5160167"/>
            <a:ext cx="2556000" cy="77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374" name="Google Shape;374;p29"/>
          <p:cNvSpPr txBox="1">
            <a:spLocks noGrp="1"/>
          </p:cNvSpPr>
          <p:nvPr>
            <p:ph type="ctrTitle" idx="3"/>
          </p:nvPr>
        </p:nvSpPr>
        <p:spPr>
          <a:xfrm flipH="1">
            <a:off x="1583800" y="2890400"/>
            <a:ext cx="2821200" cy="58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75" name="Google Shape;375;p29"/>
          <p:cNvSpPr txBox="1">
            <a:spLocks noGrp="1"/>
          </p:cNvSpPr>
          <p:nvPr>
            <p:ph type="subTitle" idx="4"/>
          </p:nvPr>
        </p:nvSpPr>
        <p:spPr>
          <a:xfrm flipH="1">
            <a:off x="1716400" y="3414733"/>
            <a:ext cx="2556000" cy="77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grpSp>
        <p:nvGrpSpPr>
          <p:cNvPr id="376" name="Google Shape;376;p29"/>
          <p:cNvGrpSpPr/>
          <p:nvPr/>
        </p:nvGrpSpPr>
        <p:grpSpPr>
          <a:xfrm>
            <a:off x="6988933" y="2692448"/>
            <a:ext cx="5842492" cy="4334249"/>
            <a:chOff x="3836300" y="3894925"/>
            <a:chExt cx="880300" cy="653050"/>
          </a:xfrm>
        </p:grpSpPr>
        <p:sp>
          <p:nvSpPr>
            <p:cNvPr id="377" name="Google Shape;377;p29"/>
            <p:cNvSpPr/>
            <p:nvPr/>
          </p:nvSpPr>
          <p:spPr>
            <a:xfrm>
              <a:off x="3836300" y="3894925"/>
              <a:ext cx="880300" cy="653050"/>
            </a:xfrm>
            <a:custGeom>
              <a:avLst/>
              <a:gdLst/>
              <a:ahLst/>
              <a:cxnLst/>
              <a:rect l="l" t="t" r="r" b="b"/>
              <a:pathLst>
                <a:path w="35212" h="26122" extrusionOk="0">
                  <a:moveTo>
                    <a:pt x="33920" y="1"/>
                  </a:moveTo>
                  <a:cubicBezTo>
                    <a:pt x="33711" y="1"/>
                    <a:pt x="33459" y="47"/>
                    <a:pt x="33156" y="148"/>
                  </a:cubicBezTo>
                  <a:cubicBezTo>
                    <a:pt x="31353" y="753"/>
                    <a:pt x="29782" y="2373"/>
                    <a:pt x="28599" y="3790"/>
                  </a:cubicBezTo>
                  <a:cubicBezTo>
                    <a:pt x="27212" y="5450"/>
                    <a:pt x="26044" y="7293"/>
                    <a:pt x="24556" y="8863"/>
                  </a:cubicBezTo>
                  <a:cubicBezTo>
                    <a:pt x="20053" y="13616"/>
                    <a:pt x="13296" y="15294"/>
                    <a:pt x="7461" y="18262"/>
                  </a:cubicBezTo>
                  <a:cubicBezTo>
                    <a:pt x="4149" y="19945"/>
                    <a:pt x="834" y="22426"/>
                    <a:pt x="0" y="26045"/>
                  </a:cubicBezTo>
                  <a:cubicBezTo>
                    <a:pt x="817" y="26096"/>
                    <a:pt x="1634" y="26122"/>
                    <a:pt x="2451" y="26122"/>
                  </a:cubicBezTo>
                  <a:cubicBezTo>
                    <a:pt x="4013" y="26122"/>
                    <a:pt x="5574" y="26028"/>
                    <a:pt x="7125" y="25841"/>
                  </a:cubicBezTo>
                  <a:cubicBezTo>
                    <a:pt x="7640" y="25779"/>
                    <a:pt x="8168" y="25701"/>
                    <a:pt x="8611" y="25432"/>
                  </a:cubicBezTo>
                  <a:cubicBezTo>
                    <a:pt x="9036" y="25174"/>
                    <a:pt x="9341" y="24763"/>
                    <a:pt x="9661" y="24381"/>
                  </a:cubicBezTo>
                  <a:cubicBezTo>
                    <a:pt x="14462" y="18636"/>
                    <a:pt x="23387" y="18402"/>
                    <a:pt x="29137" y="13607"/>
                  </a:cubicBezTo>
                  <a:cubicBezTo>
                    <a:pt x="32257" y="11006"/>
                    <a:pt x="34189" y="7138"/>
                    <a:pt x="34691" y="3133"/>
                  </a:cubicBezTo>
                  <a:cubicBezTo>
                    <a:pt x="34862" y="1767"/>
                    <a:pt x="35212" y="1"/>
                    <a:pt x="33920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78" name="Google Shape;378;p29"/>
            <p:cNvSpPr/>
            <p:nvPr/>
          </p:nvSpPr>
          <p:spPr>
            <a:xfrm>
              <a:off x="4457000" y="4254725"/>
              <a:ext cx="19975" cy="5425"/>
            </a:xfrm>
            <a:custGeom>
              <a:avLst/>
              <a:gdLst/>
              <a:ahLst/>
              <a:cxnLst/>
              <a:rect l="l" t="t" r="r" b="b"/>
              <a:pathLst>
                <a:path w="799" h="217" extrusionOk="0">
                  <a:moveTo>
                    <a:pt x="723" y="0"/>
                  </a:moveTo>
                  <a:cubicBezTo>
                    <a:pt x="714" y="0"/>
                    <a:pt x="705" y="1"/>
                    <a:pt x="695" y="3"/>
                  </a:cubicBezTo>
                  <a:cubicBezTo>
                    <a:pt x="697" y="3"/>
                    <a:pt x="698" y="3"/>
                    <a:pt x="699" y="3"/>
                  </a:cubicBezTo>
                  <a:lnTo>
                    <a:pt x="699" y="3"/>
                  </a:lnTo>
                  <a:cubicBezTo>
                    <a:pt x="700" y="3"/>
                    <a:pt x="688" y="4"/>
                    <a:pt x="687" y="4"/>
                  </a:cubicBezTo>
                  <a:lnTo>
                    <a:pt x="663" y="8"/>
                  </a:lnTo>
                  <a:cubicBezTo>
                    <a:pt x="650" y="9"/>
                    <a:pt x="636" y="9"/>
                    <a:pt x="624" y="10"/>
                  </a:cubicBezTo>
                  <a:cubicBezTo>
                    <a:pt x="606" y="11"/>
                    <a:pt x="588" y="14"/>
                    <a:pt x="570" y="17"/>
                  </a:cubicBezTo>
                  <a:lnTo>
                    <a:pt x="555" y="19"/>
                  </a:lnTo>
                  <a:cubicBezTo>
                    <a:pt x="558" y="19"/>
                    <a:pt x="558" y="18"/>
                    <a:pt x="558" y="18"/>
                  </a:cubicBezTo>
                  <a:cubicBezTo>
                    <a:pt x="556" y="18"/>
                    <a:pt x="542" y="20"/>
                    <a:pt x="540" y="21"/>
                  </a:cubicBezTo>
                  <a:cubicBezTo>
                    <a:pt x="522" y="23"/>
                    <a:pt x="504" y="25"/>
                    <a:pt x="485" y="29"/>
                  </a:cubicBezTo>
                  <a:cubicBezTo>
                    <a:pt x="480" y="30"/>
                    <a:pt x="474" y="30"/>
                    <a:pt x="467" y="31"/>
                  </a:cubicBezTo>
                  <a:lnTo>
                    <a:pt x="467" y="31"/>
                  </a:lnTo>
                  <a:cubicBezTo>
                    <a:pt x="465" y="32"/>
                    <a:pt x="461" y="32"/>
                    <a:pt x="460" y="32"/>
                  </a:cubicBezTo>
                  <a:cubicBezTo>
                    <a:pt x="446" y="34"/>
                    <a:pt x="432" y="35"/>
                    <a:pt x="417" y="37"/>
                  </a:cubicBezTo>
                  <a:cubicBezTo>
                    <a:pt x="321" y="48"/>
                    <a:pt x="225" y="53"/>
                    <a:pt x="129" y="53"/>
                  </a:cubicBezTo>
                  <a:cubicBezTo>
                    <a:pt x="113" y="53"/>
                    <a:pt x="97" y="53"/>
                    <a:pt x="81" y="53"/>
                  </a:cubicBezTo>
                  <a:cubicBezTo>
                    <a:pt x="36" y="53"/>
                    <a:pt x="0" y="89"/>
                    <a:pt x="0" y="133"/>
                  </a:cubicBezTo>
                  <a:cubicBezTo>
                    <a:pt x="1" y="177"/>
                    <a:pt x="36" y="212"/>
                    <a:pt x="81" y="213"/>
                  </a:cubicBezTo>
                  <a:lnTo>
                    <a:pt x="81" y="214"/>
                  </a:lnTo>
                  <a:cubicBezTo>
                    <a:pt x="111" y="216"/>
                    <a:pt x="142" y="217"/>
                    <a:pt x="173" y="217"/>
                  </a:cubicBezTo>
                  <a:cubicBezTo>
                    <a:pt x="262" y="217"/>
                    <a:pt x="351" y="210"/>
                    <a:pt x="439" y="197"/>
                  </a:cubicBezTo>
                  <a:cubicBezTo>
                    <a:pt x="495" y="190"/>
                    <a:pt x="550" y="178"/>
                    <a:pt x="603" y="164"/>
                  </a:cubicBezTo>
                  <a:cubicBezTo>
                    <a:pt x="617" y="160"/>
                    <a:pt x="632" y="156"/>
                    <a:pt x="646" y="151"/>
                  </a:cubicBezTo>
                  <a:cubicBezTo>
                    <a:pt x="656" y="148"/>
                    <a:pt x="667" y="143"/>
                    <a:pt x="676" y="137"/>
                  </a:cubicBezTo>
                  <a:cubicBezTo>
                    <a:pt x="678" y="136"/>
                    <a:pt x="679" y="136"/>
                    <a:pt x="679" y="136"/>
                  </a:cubicBezTo>
                  <a:lnTo>
                    <a:pt x="679" y="136"/>
                  </a:lnTo>
                  <a:cubicBezTo>
                    <a:pt x="679" y="136"/>
                    <a:pt x="678" y="136"/>
                    <a:pt x="678" y="136"/>
                  </a:cubicBezTo>
                  <a:lnTo>
                    <a:pt x="678" y="136"/>
                  </a:lnTo>
                  <a:lnTo>
                    <a:pt x="686" y="133"/>
                  </a:lnTo>
                  <a:cubicBezTo>
                    <a:pt x="703" y="126"/>
                    <a:pt x="718" y="119"/>
                    <a:pt x="735" y="112"/>
                  </a:cubicBezTo>
                  <a:cubicBezTo>
                    <a:pt x="750" y="106"/>
                    <a:pt x="763" y="96"/>
                    <a:pt x="774" y="85"/>
                  </a:cubicBezTo>
                  <a:cubicBezTo>
                    <a:pt x="799" y="61"/>
                    <a:pt x="789" y="12"/>
                    <a:pt x="753" y="5"/>
                  </a:cubicBezTo>
                  <a:cubicBezTo>
                    <a:pt x="744" y="2"/>
                    <a:pt x="733" y="1"/>
                    <a:pt x="72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79" name="Google Shape;379;p29"/>
            <p:cNvSpPr/>
            <p:nvPr/>
          </p:nvSpPr>
          <p:spPr>
            <a:xfrm>
              <a:off x="4478250" y="4244250"/>
              <a:ext cx="14300" cy="4300"/>
            </a:xfrm>
            <a:custGeom>
              <a:avLst/>
              <a:gdLst/>
              <a:ahLst/>
              <a:cxnLst/>
              <a:rect l="l" t="t" r="r" b="b"/>
              <a:pathLst>
                <a:path w="572" h="172" extrusionOk="0">
                  <a:moveTo>
                    <a:pt x="321" y="29"/>
                  </a:moveTo>
                  <a:lnTo>
                    <a:pt x="321" y="29"/>
                  </a:lnTo>
                  <a:cubicBezTo>
                    <a:pt x="321" y="29"/>
                    <a:pt x="319" y="30"/>
                    <a:pt x="316" y="30"/>
                  </a:cubicBezTo>
                  <a:cubicBezTo>
                    <a:pt x="320" y="30"/>
                    <a:pt x="321" y="29"/>
                    <a:pt x="321" y="29"/>
                  </a:cubicBezTo>
                  <a:close/>
                  <a:moveTo>
                    <a:pt x="484" y="1"/>
                  </a:moveTo>
                  <a:cubicBezTo>
                    <a:pt x="470" y="1"/>
                    <a:pt x="457" y="3"/>
                    <a:pt x="444" y="6"/>
                  </a:cubicBezTo>
                  <a:cubicBezTo>
                    <a:pt x="425" y="10"/>
                    <a:pt x="406" y="14"/>
                    <a:pt x="386" y="19"/>
                  </a:cubicBezTo>
                  <a:cubicBezTo>
                    <a:pt x="367" y="23"/>
                    <a:pt x="350" y="25"/>
                    <a:pt x="331" y="28"/>
                  </a:cubicBezTo>
                  <a:lnTo>
                    <a:pt x="316" y="30"/>
                  </a:lnTo>
                  <a:cubicBezTo>
                    <a:pt x="306" y="31"/>
                    <a:pt x="295" y="32"/>
                    <a:pt x="286" y="33"/>
                  </a:cubicBezTo>
                  <a:cubicBezTo>
                    <a:pt x="248" y="38"/>
                    <a:pt x="211" y="39"/>
                    <a:pt x="174" y="40"/>
                  </a:cubicBezTo>
                  <a:cubicBezTo>
                    <a:pt x="134" y="42"/>
                    <a:pt x="96" y="40"/>
                    <a:pt x="56" y="44"/>
                  </a:cubicBezTo>
                  <a:cubicBezTo>
                    <a:pt x="30" y="45"/>
                    <a:pt x="8" y="65"/>
                    <a:pt x="3" y="91"/>
                  </a:cubicBezTo>
                  <a:cubicBezTo>
                    <a:pt x="0" y="118"/>
                    <a:pt x="17" y="143"/>
                    <a:pt x="42" y="150"/>
                  </a:cubicBezTo>
                  <a:lnTo>
                    <a:pt x="42" y="149"/>
                  </a:lnTo>
                  <a:cubicBezTo>
                    <a:pt x="82" y="162"/>
                    <a:pt x="125" y="168"/>
                    <a:pt x="168" y="170"/>
                  </a:cubicBezTo>
                  <a:cubicBezTo>
                    <a:pt x="182" y="171"/>
                    <a:pt x="196" y="171"/>
                    <a:pt x="210" y="171"/>
                  </a:cubicBezTo>
                  <a:cubicBezTo>
                    <a:pt x="236" y="171"/>
                    <a:pt x="262" y="170"/>
                    <a:pt x="288" y="168"/>
                  </a:cubicBezTo>
                  <a:cubicBezTo>
                    <a:pt x="331" y="164"/>
                    <a:pt x="374" y="159"/>
                    <a:pt x="417" y="151"/>
                  </a:cubicBezTo>
                  <a:cubicBezTo>
                    <a:pt x="437" y="148"/>
                    <a:pt x="456" y="144"/>
                    <a:pt x="475" y="139"/>
                  </a:cubicBezTo>
                  <a:cubicBezTo>
                    <a:pt x="488" y="137"/>
                    <a:pt x="502" y="132"/>
                    <a:pt x="514" y="126"/>
                  </a:cubicBezTo>
                  <a:cubicBezTo>
                    <a:pt x="523" y="121"/>
                    <a:pt x="531" y="114"/>
                    <a:pt x="539" y="108"/>
                  </a:cubicBezTo>
                  <a:cubicBezTo>
                    <a:pt x="561" y="96"/>
                    <a:pt x="572" y="69"/>
                    <a:pt x="565" y="44"/>
                  </a:cubicBezTo>
                  <a:cubicBezTo>
                    <a:pt x="558" y="20"/>
                    <a:pt x="536" y="3"/>
                    <a:pt x="510" y="2"/>
                  </a:cubicBezTo>
                  <a:cubicBezTo>
                    <a:pt x="501" y="2"/>
                    <a:pt x="493" y="1"/>
                    <a:pt x="48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80" name="Google Shape;380;p29"/>
            <p:cNvSpPr/>
            <p:nvPr/>
          </p:nvSpPr>
          <p:spPr>
            <a:xfrm>
              <a:off x="4511425" y="4059950"/>
              <a:ext cx="14625" cy="7925"/>
            </a:xfrm>
            <a:custGeom>
              <a:avLst/>
              <a:gdLst/>
              <a:ahLst/>
              <a:cxnLst/>
              <a:rect l="l" t="t" r="r" b="b"/>
              <a:pathLst>
                <a:path w="585" h="317" extrusionOk="0">
                  <a:moveTo>
                    <a:pt x="534" y="1"/>
                  </a:moveTo>
                  <a:cubicBezTo>
                    <a:pt x="494" y="1"/>
                    <a:pt x="453" y="18"/>
                    <a:pt x="415" y="30"/>
                  </a:cubicBezTo>
                  <a:lnTo>
                    <a:pt x="386" y="39"/>
                  </a:lnTo>
                  <a:cubicBezTo>
                    <a:pt x="382" y="40"/>
                    <a:pt x="377" y="42"/>
                    <a:pt x="372" y="43"/>
                  </a:cubicBezTo>
                  <a:lnTo>
                    <a:pt x="372" y="43"/>
                  </a:lnTo>
                  <a:cubicBezTo>
                    <a:pt x="372" y="43"/>
                    <a:pt x="370" y="42"/>
                    <a:pt x="367" y="42"/>
                  </a:cubicBezTo>
                  <a:cubicBezTo>
                    <a:pt x="365" y="42"/>
                    <a:pt x="363" y="42"/>
                    <a:pt x="361" y="42"/>
                  </a:cubicBezTo>
                  <a:cubicBezTo>
                    <a:pt x="339" y="42"/>
                    <a:pt x="313" y="56"/>
                    <a:pt x="294" y="65"/>
                  </a:cubicBezTo>
                  <a:cubicBezTo>
                    <a:pt x="210" y="100"/>
                    <a:pt x="129" y="138"/>
                    <a:pt x="48" y="177"/>
                  </a:cubicBezTo>
                  <a:cubicBezTo>
                    <a:pt x="12" y="194"/>
                    <a:pt x="1" y="247"/>
                    <a:pt x="21" y="280"/>
                  </a:cubicBezTo>
                  <a:cubicBezTo>
                    <a:pt x="37" y="305"/>
                    <a:pt x="60" y="316"/>
                    <a:pt x="85" y="316"/>
                  </a:cubicBezTo>
                  <a:cubicBezTo>
                    <a:pt x="98" y="316"/>
                    <a:pt x="112" y="313"/>
                    <a:pt x="125" y="308"/>
                  </a:cubicBezTo>
                  <a:cubicBezTo>
                    <a:pt x="202" y="274"/>
                    <a:pt x="280" y="241"/>
                    <a:pt x="355" y="204"/>
                  </a:cubicBezTo>
                  <a:cubicBezTo>
                    <a:pt x="377" y="194"/>
                    <a:pt x="402" y="184"/>
                    <a:pt x="419" y="166"/>
                  </a:cubicBezTo>
                  <a:cubicBezTo>
                    <a:pt x="420" y="165"/>
                    <a:pt x="424" y="161"/>
                    <a:pt x="427" y="157"/>
                  </a:cubicBezTo>
                  <a:lnTo>
                    <a:pt x="427" y="157"/>
                  </a:lnTo>
                  <a:lnTo>
                    <a:pt x="432" y="154"/>
                  </a:lnTo>
                  <a:lnTo>
                    <a:pt x="459" y="137"/>
                  </a:lnTo>
                  <a:cubicBezTo>
                    <a:pt x="495" y="115"/>
                    <a:pt x="539" y="95"/>
                    <a:pt x="566" y="61"/>
                  </a:cubicBezTo>
                  <a:cubicBezTo>
                    <a:pt x="585" y="37"/>
                    <a:pt x="573" y="3"/>
                    <a:pt x="540" y="1"/>
                  </a:cubicBezTo>
                  <a:cubicBezTo>
                    <a:pt x="538" y="1"/>
                    <a:pt x="536" y="1"/>
                    <a:pt x="53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81" name="Google Shape;381;p29"/>
            <p:cNvSpPr/>
            <p:nvPr/>
          </p:nvSpPr>
          <p:spPr>
            <a:xfrm>
              <a:off x="4530425" y="4065050"/>
              <a:ext cx="15275" cy="8000"/>
            </a:xfrm>
            <a:custGeom>
              <a:avLst/>
              <a:gdLst/>
              <a:ahLst/>
              <a:cxnLst/>
              <a:rect l="l" t="t" r="r" b="b"/>
              <a:pathLst>
                <a:path w="611" h="320" extrusionOk="0">
                  <a:moveTo>
                    <a:pt x="532" y="0"/>
                  </a:moveTo>
                  <a:cubicBezTo>
                    <a:pt x="527" y="0"/>
                    <a:pt x="522" y="1"/>
                    <a:pt x="516" y="2"/>
                  </a:cubicBezTo>
                  <a:cubicBezTo>
                    <a:pt x="496" y="7"/>
                    <a:pt x="476" y="11"/>
                    <a:pt x="456" y="16"/>
                  </a:cubicBezTo>
                  <a:cubicBezTo>
                    <a:pt x="436" y="22"/>
                    <a:pt x="417" y="30"/>
                    <a:pt x="398" y="39"/>
                  </a:cubicBezTo>
                  <a:lnTo>
                    <a:pt x="283" y="88"/>
                  </a:lnTo>
                  <a:lnTo>
                    <a:pt x="53" y="184"/>
                  </a:lnTo>
                  <a:cubicBezTo>
                    <a:pt x="37" y="189"/>
                    <a:pt x="23" y="201"/>
                    <a:pt x="13" y="215"/>
                  </a:cubicBezTo>
                  <a:cubicBezTo>
                    <a:pt x="4" y="231"/>
                    <a:pt x="1" y="250"/>
                    <a:pt x="6" y="268"/>
                  </a:cubicBezTo>
                  <a:cubicBezTo>
                    <a:pt x="15" y="294"/>
                    <a:pt x="42" y="319"/>
                    <a:pt x="71" y="319"/>
                  </a:cubicBezTo>
                  <a:cubicBezTo>
                    <a:pt x="77" y="319"/>
                    <a:pt x="83" y="318"/>
                    <a:pt x="89" y="316"/>
                  </a:cubicBezTo>
                  <a:lnTo>
                    <a:pt x="322" y="219"/>
                  </a:lnTo>
                  <a:lnTo>
                    <a:pt x="437" y="170"/>
                  </a:lnTo>
                  <a:cubicBezTo>
                    <a:pt x="460" y="162"/>
                    <a:pt x="484" y="152"/>
                    <a:pt x="505" y="142"/>
                  </a:cubicBezTo>
                  <a:cubicBezTo>
                    <a:pt x="524" y="131"/>
                    <a:pt x="542" y="118"/>
                    <a:pt x="560" y="107"/>
                  </a:cubicBezTo>
                  <a:cubicBezTo>
                    <a:pt x="611" y="75"/>
                    <a:pt x="585" y="0"/>
                    <a:pt x="53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82" name="Google Shape;382;p29"/>
            <p:cNvSpPr/>
            <p:nvPr/>
          </p:nvSpPr>
          <p:spPr>
            <a:xfrm>
              <a:off x="4144575" y="4399350"/>
              <a:ext cx="27750" cy="5850"/>
            </a:xfrm>
            <a:custGeom>
              <a:avLst/>
              <a:gdLst/>
              <a:ahLst/>
              <a:cxnLst/>
              <a:rect l="l" t="t" r="r" b="b"/>
              <a:pathLst>
                <a:path w="1110" h="234" extrusionOk="0">
                  <a:moveTo>
                    <a:pt x="1003" y="0"/>
                  </a:moveTo>
                  <a:cubicBezTo>
                    <a:pt x="1002" y="0"/>
                    <a:pt x="1001" y="0"/>
                    <a:pt x="1000" y="0"/>
                  </a:cubicBezTo>
                  <a:cubicBezTo>
                    <a:pt x="984" y="0"/>
                    <a:pt x="967" y="1"/>
                    <a:pt x="952" y="2"/>
                  </a:cubicBezTo>
                  <a:cubicBezTo>
                    <a:pt x="920" y="4"/>
                    <a:pt x="888" y="7"/>
                    <a:pt x="857" y="9"/>
                  </a:cubicBezTo>
                  <a:cubicBezTo>
                    <a:pt x="794" y="14"/>
                    <a:pt x="732" y="18"/>
                    <a:pt x="670" y="23"/>
                  </a:cubicBezTo>
                  <a:lnTo>
                    <a:pt x="294" y="61"/>
                  </a:lnTo>
                  <a:lnTo>
                    <a:pt x="78" y="84"/>
                  </a:lnTo>
                  <a:cubicBezTo>
                    <a:pt x="39" y="87"/>
                    <a:pt x="1" y="115"/>
                    <a:pt x="3" y="158"/>
                  </a:cubicBezTo>
                  <a:cubicBezTo>
                    <a:pt x="4" y="195"/>
                    <a:pt x="34" y="233"/>
                    <a:pt x="74" y="233"/>
                  </a:cubicBezTo>
                  <a:cubicBezTo>
                    <a:pt x="75" y="233"/>
                    <a:pt x="76" y="233"/>
                    <a:pt x="78" y="233"/>
                  </a:cubicBezTo>
                  <a:lnTo>
                    <a:pt x="76" y="233"/>
                  </a:lnTo>
                  <a:cubicBezTo>
                    <a:pt x="327" y="220"/>
                    <a:pt x="579" y="208"/>
                    <a:pt x="830" y="189"/>
                  </a:cubicBezTo>
                  <a:cubicBezTo>
                    <a:pt x="866" y="186"/>
                    <a:pt x="902" y="183"/>
                    <a:pt x="938" y="179"/>
                  </a:cubicBezTo>
                  <a:lnTo>
                    <a:pt x="991" y="174"/>
                  </a:lnTo>
                  <a:cubicBezTo>
                    <a:pt x="1007" y="173"/>
                    <a:pt x="1024" y="170"/>
                    <a:pt x="1040" y="165"/>
                  </a:cubicBezTo>
                  <a:cubicBezTo>
                    <a:pt x="1055" y="158"/>
                    <a:pt x="1069" y="149"/>
                    <a:pt x="1078" y="136"/>
                  </a:cubicBezTo>
                  <a:cubicBezTo>
                    <a:pt x="1102" y="107"/>
                    <a:pt x="1110" y="61"/>
                    <a:pt x="1078" y="33"/>
                  </a:cubicBezTo>
                  <a:cubicBezTo>
                    <a:pt x="1059" y="13"/>
                    <a:pt x="1032" y="0"/>
                    <a:pt x="100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83" name="Google Shape;383;p29"/>
            <p:cNvSpPr/>
            <p:nvPr/>
          </p:nvSpPr>
          <p:spPr>
            <a:xfrm>
              <a:off x="4171175" y="4391100"/>
              <a:ext cx="4350" cy="4175"/>
            </a:xfrm>
            <a:custGeom>
              <a:avLst/>
              <a:gdLst/>
              <a:ahLst/>
              <a:cxnLst/>
              <a:rect l="l" t="t" r="r" b="b"/>
              <a:pathLst>
                <a:path w="174" h="167" extrusionOk="0">
                  <a:moveTo>
                    <a:pt x="90" y="0"/>
                  </a:moveTo>
                  <a:cubicBezTo>
                    <a:pt x="88" y="0"/>
                    <a:pt x="87" y="0"/>
                    <a:pt x="86" y="0"/>
                  </a:cubicBezTo>
                  <a:cubicBezTo>
                    <a:pt x="43" y="0"/>
                    <a:pt x="0" y="38"/>
                    <a:pt x="2" y="84"/>
                  </a:cubicBezTo>
                  <a:cubicBezTo>
                    <a:pt x="4" y="129"/>
                    <a:pt x="40" y="166"/>
                    <a:pt x="86" y="167"/>
                  </a:cubicBezTo>
                  <a:cubicBezTo>
                    <a:pt x="86" y="167"/>
                    <a:pt x="87" y="167"/>
                    <a:pt x="88" y="167"/>
                  </a:cubicBezTo>
                  <a:cubicBezTo>
                    <a:pt x="134" y="167"/>
                    <a:pt x="173" y="129"/>
                    <a:pt x="173" y="84"/>
                  </a:cubicBezTo>
                  <a:cubicBezTo>
                    <a:pt x="173" y="37"/>
                    <a:pt x="135" y="0"/>
                    <a:pt x="9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84" name="Google Shape;384;p29"/>
            <p:cNvSpPr/>
            <p:nvPr/>
          </p:nvSpPr>
          <p:spPr>
            <a:xfrm>
              <a:off x="3896025" y="4464100"/>
              <a:ext cx="23125" cy="4575"/>
            </a:xfrm>
            <a:custGeom>
              <a:avLst/>
              <a:gdLst/>
              <a:ahLst/>
              <a:cxnLst/>
              <a:rect l="l" t="t" r="r" b="b"/>
              <a:pathLst>
                <a:path w="925" h="183" extrusionOk="0">
                  <a:moveTo>
                    <a:pt x="827" y="0"/>
                  </a:moveTo>
                  <a:cubicBezTo>
                    <a:pt x="824" y="0"/>
                    <a:pt x="821" y="1"/>
                    <a:pt x="817" y="1"/>
                  </a:cubicBezTo>
                  <a:cubicBezTo>
                    <a:pt x="801" y="3"/>
                    <a:pt x="784" y="4"/>
                    <a:pt x="767" y="5"/>
                  </a:cubicBezTo>
                  <a:cubicBezTo>
                    <a:pt x="734" y="7"/>
                    <a:pt x="702" y="8"/>
                    <a:pt x="671" y="9"/>
                  </a:cubicBezTo>
                  <a:cubicBezTo>
                    <a:pt x="605" y="11"/>
                    <a:pt x="539" y="13"/>
                    <a:pt x="474" y="15"/>
                  </a:cubicBezTo>
                  <a:cubicBezTo>
                    <a:pt x="413" y="17"/>
                    <a:pt x="351" y="18"/>
                    <a:pt x="290" y="18"/>
                  </a:cubicBezTo>
                  <a:cubicBezTo>
                    <a:pt x="219" y="18"/>
                    <a:pt x="148" y="17"/>
                    <a:pt x="77" y="14"/>
                  </a:cubicBezTo>
                  <a:cubicBezTo>
                    <a:pt x="40" y="14"/>
                    <a:pt x="9" y="42"/>
                    <a:pt x="5" y="79"/>
                  </a:cubicBezTo>
                  <a:cubicBezTo>
                    <a:pt x="0" y="111"/>
                    <a:pt x="20" y="155"/>
                    <a:pt x="57" y="160"/>
                  </a:cubicBezTo>
                  <a:lnTo>
                    <a:pt x="57" y="161"/>
                  </a:lnTo>
                  <a:cubicBezTo>
                    <a:pt x="155" y="175"/>
                    <a:pt x="254" y="183"/>
                    <a:pt x="353" y="183"/>
                  </a:cubicBezTo>
                  <a:cubicBezTo>
                    <a:pt x="393" y="183"/>
                    <a:pt x="434" y="181"/>
                    <a:pt x="474" y="179"/>
                  </a:cubicBezTo>
                  <a:cubicBezTo>
                    <a:pt x="544" y="175"/>
                    <a:pt x="615" y="167"/>
                    <a:pt x="685" y="155"/>
                  </a:cubicBezTo>
                  <a:cubicBezTo>
                    <a:pt x="717" y="148"/>
                    <a:pt x="750" y="141"/>
                    <a:pt x="784" y="134"/>
                  </a:cubicBezTo>
                  <a:cubicBezTo>
                    <a:pt x="821" y="126"/>
                    <a:pt x="855" y="121"/>
                    <a:pt x="887" y="100"/>
                  </a:cubicBezTo>
                  <a:cubicBezTo>
                    <a:pt x="925" y="77"/>
                    <a:pt x="918" y="19"/>
                    <a:pt x="874" y="7"/>
                  </a:cubicBezTo>
                  <a:cubicBezTo>
                    <a:pt x="859" y="3"/>
                    <a:pt x="843" y="0"/>
                    <a:pt x="82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85" name="Google Shape;385;p29"/>
            <p:cNvSpPr/>
            <p:nvPr/>
          </p:nvSpPr>
          <p:spPr>
            <a:xfrm>
              <a:off x="3908950" y="4453100"/>
              <a:ext cx="16275" cy="3900"/>
            </a:xfrm>
            <a:custGeom>
              <a:avLst/>
              <a:gdLst/>
              <a:ahLst/>
              <a:cxnLst/>
              <a:rect l="l" t="t" r="r" b="b"/>
              <a:pathLst>
                <a:path w="651" h="156" extrusionOk="0">
                  <a:moveTo>
                    <a:pt x="265" y="1"/>
                  </a:moveTo>
                  <a:cubicBezTo>
                    <a:pt x="209" y="1"/>
                    <a:pt x="152" y="3"/>
                    <a:pt x="96" y="3"/>
                  </a:cubicBezTo>
                  <a:cubicBezTo>
                    <a:pt x="1" y="7"/>
                    <a:pt x="1" y="148"/>
                    <a:pt x="96" y="152"/>
                  </a:cubicBezTo>
                  <a:lnTo>
                    <a:pt x="96" y="153"/>
                  </a:lnTo>
                  <a:cubicBezTo>
                    <a:pt x="149" y="154"/>
                    <a:pt x="203" y="155"/>
                    <a:pt x="256" y="155"/>
                  </a:cubicBezTo>
                  <a:cubicBezTo>
                    <a:pt x="288" y="155"/>
                    <a:pt x="319" y="155"/>
                    <a:pt x="350" y="153"/>
                  </a:cubicBezTo>
                  <a:lnTo>
                    <a:pt x="473" y="146"/>
                  </a:lnTo>
                  <a:lnTo>
                    <a:pt x="539" y="141"/>
                  </a:lnTo>
                  <a:cubicBezTo>
                    <a:pt x="549" y="140"/>
                    <a:pt x="559" y="140"/>
                    <a:pt x="568" y="139"/>
                  </a:cubicBezTo>
                  <a:cubicBezTo>
                    <a:pt x="586" y="137"/>
                    <a:pt x="602" y="132"/>
                    <a:pt x="617" y="122"/>
                  </a:cubicBezTo>
                  <a:cubicBezTo>
                    <a:pt x="650" y="102"/>
                    <a:pt x="650" y="54"/>
                    <a:pt x="617" y="34"/>
                  </a:cubicBezTo>
                  <a:cubicBezTo>
                    <a:pt x="603" y="25"/>
                    <a:pt x="587" y="19"/>
                    <a:pt x="571" y="17"/>
                  </a:cubicBezTo>
                  <a:cubicBezTo>
                    <a:pt x="561" y="16"/>
                    <a:pt x="550" y="16"/>
                    <a:pt x="539" y="15"/>
                  </a:cubicBezTo>
                  <a:lnTo>
                    <a:pt x="478" y="12"/>
                  </a:lnTo>
                  <a:lnTo>
                    <a:pt x="350" y="3"/>
                  </a:lnTo>
                  <a:cubicBezTo>
                    <a:pt x="322" y="1"/>
                    <a:pt x="294" y="1"/>
                    <a:pt x="26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3">
  <p:cSld name="CUSTOM_4_1"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30"/>
          <p:cNvSpPr txBox="1">
            <a:spLocks noGrp="1"/>
          </p:cNvSpPr>
          <p:nvPr>
            <p:ph type="title"/>
          </p:nvPr>
        </p:nvSpPr>
        <p:spPr>
          <a:xfrm>
            <a:off x="7163200" y="946967"/>
            <a:ext cx="4068800" cy="1413200"/>
          </a:xfrm>
          <a:prstGeom prst="rect">
            <a:avLst/>
          </a:prstGeom>
        </p:spPr>
        <p:txBody>
          <a:bodyPr spcFirstLastPara="1" wrap="square" lIns="0" tIns="91425" rIns="0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88" name="Google Shape;388;p30"/>
          <p:cNvSpPr txBox="1">
            <a:spLocks noGrp="1"/>
          </p:cNvSpPr>
          <p:nvPr>
            <p:ph type="ctrTitle" idx="2"/>
          </p:nvPr>
        </p:nvSpPr>
        <p:spPr>
          <a:xfrm flipH="1">
            <a:off x="7787000" y="4635767"/>
            <a:ext cx="2821200" cy="58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89" name="Google Shape;389;p30"/>
          <p:cNvSpPr txBox="1">
            <a:spLocks noGrp="1"/>
          </p:cNvSpPr>
          <p:nvPr>
            <p:ph type="subTitle" idx="1"/>
          </p:nvPr>
        </p:nvSpPr>
        <p:spPr>
          <a:xfrm flipH="1">
            <a:off x="7919600" y="5160167"/>
            <a:ext cx="2556000" cy="77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390" name="Google Shape;390;p30"/>
          <p:cNvSpPr txBox="1">
            <a:spLocks noGrp="1"/>
          </p:cNvSpPr>
          <p:nvPr>
            <p:ph type="ctrTitle" idx="3"/>
          </p:nvPr>
        </p:nvSpPr>
        <p:spPr>
          <a:xfrm flipH="1">
            <a:off x="7787000" y="2890400"/>
            <a:ext cx="2821200" cy="58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91" name="Google Shape;391;p30"/>
          <p:cNvSpPr txBox="1">
            <a:spLocks noGrp="1"/>
          </p:cNvSpPr>
          <p:nvPr>
            <p:ph type="subTitle" idx="4"/>
          </p:nvPr>
        </p:nvSpPr>
        <p:spPr>
          <a:xfrm flipH="1">
            <a:off x="7919600" y="3414733"/>
            <a:ext cx="2556000" cy="77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grpSp>
        <p:nvGrpSpPr>
          <p:cNvPr id="392" name="Google Shape;392;p30"/>
          <p:cNvGrpSpPr/>
          <p:nvPr/>
        </p:nvGrpSpPr>
        <p:grpSpPr>
          <a:xfrm rot="10105116">
            <a:off x="-1536324" y="3761119"/>
            <a:ext cx="8566576" cy="4095012"/>
            <a:chOff x="-4404669" y="1376775"/>
            <a:chExt cx="9823823" cy="3955805"/>
          </a:xfrm>
        </p:grpSpPr>
        <p:sp>
          <p:nvSpPr>
            <p:cNvPr id="393" name="Google Shape;393;p30"/>
            <p:cNvSpPr/>
            <p:nvPr/>
          </p:nvSpPr>
          <p:spPr>
            <a:xfrm>
              <a:off x="-4404669" y="1376775"/>
              <a:ext cx="9823823" cy="3955805"/>
            </a:xfrm>
            <a:custGeom>
              <a:avLst/>
              <a:gdLst/>
              <a:ahLst/>
              <a:cxnLst/>
              <a:rect l="l" t="t" r="r" b="b"/>
              <a:pathLst>
                <a:path w="67670" h="27249" extrusionOk="0">
                  <a:moveTo>
                    <a:pt x="3560" y="1"/>
                  </a:moveTo>
                  <a:cubicBezTo>
                    <a:pt x="3394" y="1"/>
                    <a:pt x="3170" y="111"/>
                    <a:pt x="2802" y="368"/>
                  </a:cubicBezTo>
                  <a:cubicBezTo>
                    <a:pt x="2208" y="783"/>
                    <a:pt x="1833" y="1618"/>
                    <a:pt x="1678" y="2302"/>
                  </a:cubicBezTo>
                  <a:cubicBezTo>
                    <a:pt x="928" y="5612"/>
                    <a:pt x="1" y="10647"/>
                    <a:pt x="2647" y="12773"/>
                  </a:cubicBezTo>
                  <a:cubicBezTo>
                    <a:pt x="7827" y="16938"/>
                    <a:pt x="17880" y="15971"/>
                    <a:pt x="24025" y="18503"/>
                  </a:cubicBezTo>
                  <a:cubicBezTo>
                    <a:pt x="27934" y="20114"/>
                    <a:pt x="31555" y="22514"/>
                    <a:pt x="35681" y="23440"/>
                  </a:cubicBezTo>
                  <a:cubicBezTo>
                    <a:pt x="37802" y="23915"/>
                    <a:pt x="39978" y="23983"/>
                    <a:pt x="42159" y="23983"/>
                  </a:cubicBezTo>
                  <a:cubicBezTo>
                    <a:pt x="43024" y="23983"/>
                    <a:pt x="43891" y="23972"/>
                    <a:pt x="44755" y="23972"/>
                  </a:cubicBezTo>
                  <a:cubicBezTo>
                    <a:pt x="45000" y="23972"/>
                    <a:pt x="45246" y="23973"/>
                    <a:pt x="45491" y="23975"/>
                  </a:cubicBezTo>
                  <a:cubicBezTo>
                    <a:pt x="51084" y="24026"/>
                    <a:pt x="56648" y="24790"/>
                    <a:pt x="62049" y="26248"/>
                  </a:cubicBezTo>
                  <a:cubicBezTo>
                    <a:pt x="63761" y="26711"/>
                    <a:pt x="65492" y="27248"/>
                    <a:pt x="67258" y="27248"/>
                  </a:cubicBezTo>
                  <a:cubicBezTo>
                    <a:pt x="67395" y="27248"/>
                    <a:pt x="67532" y="27245"/>
                    <a:pt x="67669" y="27238"/>
                  </a:cubicBezTo>
                  <a:cubicBezTo>
                    <a:pt x="66830" y="24189"/>
                    <a:pt x="63940" y="22096"/>
                    <a:pt x="60932" y="21123"/>
                  </a:cubicBezTo>
                  <a:cubicBezTo>
                    <a:pt x="57924" y="20149"/>
                    <a:pt x="54714" y="20060"/>
                    <a:pt x="51590" y="19569"/>
                  </a:cubicBezTo>
                  <a:cubicBezTo>
                    <a:pt x="44095" y="18395"/>
                    <a:pt x="37148" y="14931"/>
                    <a:pt x="29754" y="13234"/>
                  </a:cubicBezTo>
                  <a:cubicBezTo>
                    <a:pt x="26948" y="12589"/>
                    <a:pt x="21937" y="10851"/>
                    <a:pt x="19149" y="10133"/>
                  </a:cubicBezTo>
                  <a:cubicBezTo>
                    <a:pt x="17726" y="9767"/>
                    <a:pt x="16426" y="9689"/>
                    <a:pt x="15201" y="9689"/>
                  </a:cubicBezTo>
                  <a:cubicBezTo>
                    <a:pt x="14295" y="9689"/>
                    <a:pt x="13429" y="9732"/>
                    <a:pt x="12585" y="9732"/>
                  </a:cubicBezTo>
                  <a:cubicBezTo>
                    <a:pt x="10596" y="9732"/>
                    <a:pt x="8725" y="9495"/>
                    <a:pt x="6716" y="7905"/>
                  </a:cubicBezTo>
                  <a:cubicBezTo>
                    <a:pt x="5204" y="6711"/>
                    <a:pt x="5431" y="2166"/>
                    <a:pt x="4291" y="731"/>
                  </a:cubicBezTo>
                  <a:cubicBezTo>
                    <a:pt x="3950" y="300"/>
                    <a:pt x="3834" y="1"/>
                    <a:pt x="3560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grpSp>
          <p:nvGrpSpPr>
            <p:cNvPr id="394" name="Google Shape;394;p30"/>
            <p:cNvGrpSpPr/>
            <p:nvPr/>
          </p:nvGrpSpPr>
          <p:grpSpPr>
            <a:xfrm>
              <a:off x="980973" y="4442090"/>
              <a:ext cx="244251" cy="129674"/>
              <a:chOff x="4529716" y="1773266"/>
              <a:chExt cx="24250" cy="12875"/>
            </a:xfrm>
          </p:grpSpPr>
          <p:sp>
            <p:nvSpPr>
              <p:cNvPr id="395" name="Google Shape;395;p30"/>
              <p:cNvSpPr/>
              <p:nvPr/>
            </p:nvSpPr>
            <p:spPr>
              <a:xfrm>
                <a:off x="4529716" y="1773266"/>
                <a:ext cx="1625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650" h="168" extrusionOk="0">
                    <a:moveTo>
                      <a:pt x="334" y="0"/>
                    </a:moveTo>
                    <a:lnTo>
                      <a:pt x="84" y="2"/>
                    </a:lnTo>
                    <a:cubicBezTo>
                      <a:pt x="41" y="2"/>
                      <a:pt x="0" y="39"/>
                      <a:pt x="2" y="84"/>
                    </a:cubicBezTo>
                    <a:cubicBezTo>
                      <a:pt x="3" y="129"/>
                      <a:pt x="39" y="165"/>
                      <a:pt x="84" y="166"/>
                    </a:cubicBezTo>
                    <a:lnTo>
                      <a:pt x="84" y="165"/>
                    </a:lnTo>
                    <a:lnTo>
                      <a:pt x="334" y="167"/>
                    </a:lnTo>
                    <a:lnTo>
                      <a:pt x="459" y="167"/>
                    </a:lnTo>
                    <a:cubicBezTo>
                      <a:pt x="463" y="167"/>
                      <a:pt x="467" y="167"/>
                      <a:pt x="471" y="167"/>
                    </a:cubicBezTo>
                    <a:cubicBezTo>
                      <a:pt x="492" y="167"/>
                      <a:pt x="513" y="165"/>
                      <a:pt x="535" y="159"/>
                    </a:cubicBezTo>
                    <a:cubicBezTo>
                      <a:pt x="555" y="154"/>
                      <a:pt x="575" y="147"/>
                      <a:pt x="595" y="139"/>
                    </a:cubicBezTo>
                    <a:cubicBezTo>
                      <a:pt x="649" y="123"/>
                      <a:pt x="649" y="45"/>
                      <a:pt x="595" y="28"/>
                    </a:cubicBezTo>
                    <a:lnTo>
                      <a:pt x="538" y="9"/>
                    </a:lnTo>
                    <a:cubicBezTo>
                      <a:pt x="518" y="4"/>
                      <a:pt x="498" y="1"/>
                      <a:pt x="478" y="1"/>
                    </a:cubicBezTo>
                    <a:cubicBezTo>
                      <a:pt x="472" y="1"/>
                      <a:pt x="467" y="1"/>
                      <a:pt x="462" y="1"/>
                    </a:cubicBezTo>
                    <a:cubicBezTo>
                      <a:pt x="420" y="0"/>
                      <a:pt x="377" y="0"/>
                      <a:pt x="33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396" name="Google Shape;396;p30"/>
              <p:cNvSpPr/>
              <p:nvPr/>
            </p:nvSpPr>
            <p:spPr>
              <a:xfrm>
                <a:off x="4544266" y="1781591"/>
                <a:ext cx="9700" cy="4550"/>
              </a:xfrm>
              <a:custGeom>
                <a:avLst/>
                <a:gdLst/>
                <a:ahLst/>
                <a:cxnLst/>
                <a:rect l="l" t="t" r="r" b="b"/>
                <a:pathLst>
                  <a:path w="388" h="182" extrusionOk="0">
                    <a:moveTo>
                      <a:pt x="90" y="0"/>
                    </a:moveTo>
                    <a:cubicBezTo>
                      <a:pt x="40" y="1"/>
                      <a:pt x="0" y="42"/>
                      <a:pt x="0" y="91"/>
                    </a:cubicBezTo>
                    <a:cubicBezTo>
                      <a:pt x="1" y="141"/>
                      <a:pt x="40" y="181"/>
                      <a:pt x="90" y="182"/>
                    </a:cubicBezTo>
                    <a:lnTo>
                      <a:pt x="90" y="181"/>
                    </a:lnTo>
                    <a:lnTo>
                      <a:pt x="160" y="180"/>
                    </a:lnTo>
                    <a:lnTo>
                      <a:pt x="197" y="180"/>
                    </a:lnTo>
                    <a:cubicBezTo>
                      <a:pt x="208" y="180"/>
                      <a:pt x="219" y="178"/>
                      <a:pt x="230" y="174"/>
                    </a:cubicBezTo>
                    <a:cubicBezTo>
                      <a:pt x="236" y="172"/>
                      <a:pt x="241" y="170"/>
                      <a:pt x="248" y="168"/>
                    </a:cubicBezTo>
                    <a:cubicBezTo>
                      <a:pt x="294" y="154"/>
                      <a:pt x="388" y="161"/>
                      <a:pt x="388" y="91"/>
                    </a:cubicBezTo>
                    <a:cubicBezTo>
                      <a:pt x="387" y="64"/>
                      <a:pt x="369" y="42"/>
                      <a:pt x="344" y="33"/>
                    </a:cubicBezTo>
                    <a:cubicBezTo>
                      <a:pt x="333" y="30"/>
                      <a:pt x="323" y="27"/>
                      <a:pt x="312" y="26"/>
                    </a:cubicBezTo>
                    <a:cubicBezTo>
                      <a:pt x="290" y="23"/>
                      <a:pt x="269" y="18"/>
                      <a:pt x="248" y="13"/>
                    </a:cubicBezTo>
                    <a:cubicBezTo>
                      <a:pt x="241" y="11"/>
                      <a:pt x="236" y="9"/>
                      <a:pt x="230" y="7"/>
                    </a:cubicBezTo>
                    <a:cubicBezTo>
                      <a:pt x="219" y="4"/>
                      <a:pt x="208" y="1"/>
                      <a:pt x="197" y="1"/>
                    </a:cubicBezTo>
                    <a:lnTo>
                      <a:pt x="162" y="1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397" name="Google Shape;397;p30"/>
            <p:cNvGrpSpPr/>
            <p:nvPr/>
          </p:nvGrpSpPr>
          <p:grpSpPr>
            <a:xfrm>
              <a:off x="-1795464" y="3027019"/>
              <a:ext cx="244251" cy="129674"/>
              <a:chOff x="3929379" y="1619892"/>
              <a:chExt cx="24250" cy="12875"/>
            </a:xfrm>
          </p:grpSpPr>
          <p:sp>
            <p:nvSpPr>
              <p:cNvPr id="398" name="Google Shape;398;p30"/>
              <p:cNvSpPr/>
              <p:nvPr/>
            </p:nvSpPr>
            <p:spPr>
              <a:xfrm>
                <a:off x="3929379" y="1619892"/>
                <a:ext cx="1625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650" h="168" extrusionOk="0">
                    <a:moveTo>
                      <a:pt x="334" y="0"/>
                    </a:moveTo>
                    <a:lnTo>
                      <a:pt x="84" y="2"/>
                    </a:lnTo>
                    <a:cubicBezTo>
                      <a:pt x="41" y="2"/>
                      <a:pt x="0" y="39"/>
                      <a:pt x="2" y="84"/>
                    </a:cubicBezTo>
                    <a:cubicBezTo>
                      <a:pt x="3" y="129"/>
                      <a:pt x="39" y="165"/>
                      <a:pt x="84" y="166"/>
                    </a:cubicBezTo>
                    <a:lnTo>
                      <a:pt x="84" y="165"/>
                    </a:lnTo>
                    <a:lnTo>
                      <a:pt x="334" y="167"/>
                    </a:lnTo>
                    <a:lnTo>
                      <a:pt x="459" y="167"/>
                    </a:lnTo>
                    <a:cubicBezTo>
                      <a:pt x="463" y="167"/>
                      <a:pt x="467" y="167"/>
                      <a:pt x="471" y="167"/>
                    </a:cubicBezTo>
                    <a:cubicBezTo>
                      <a:pt x="492" y="167"/>
                      <a:pt x="513" y="165"/>
                      <a:pt x="535" y="159"/>
                    </a:cubicBezTo>
                    <a:cubicBezTo>
                      <a:pt x="555" y="154"/>
                      <a:pt x="575" y="147"/>
                      <a:pt x="595" y="139"/>
                    </a:cubicBezTo>
                    <a:cubicBezTo>
                      <a:pt x="649" y="123"/>
                      <a:pt x="649" y="45"/>
                      <a:pt x="595" y="28"/>
                    </a:cubicBezTo>
                    <a:lnTo>
                      <a:pt x="538" y="9"/>
                    </a:lnTo>
                    <a:cubicBezTo>
                      <a:pt x="518" y="4"/>
                      <a:pt x="498" y="1"/>
                      <a:pt x="478" y="1"/>
                    </a:cubicBezTo>
                    <a:cubicBezTo>
                      <a:pt x="472" y="1"/>
                      <a:pt x="467" y="1"/>
                      <a:pt x="462" y="1"/>
                    </a:cubicBezTo>
                    <a:cubicBezTo>
                      <a:pt x="420" y="0"/>
                      <a:pt x="377" y="0"/>
                      <a:pt x="33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399" name="Google Shape;399;p30"/>
              <p:cNvSpPr/>
              <p:nvPr/>
            </p:nvSpPr>
            <p:spPr>
              <a:xfrm>
                <a:off x="3943929" y="1628217"/>
                <a:ext cx="9700" cy="4550"/>
              </a:xfrm>
              <a:custGeom>
                <a:avLst/>
                <a:gdLst/>
                <a:ahLst/>
                <a:cxnLst/>
                <a:rect l="l" t="t" r="r" b="b"/>
                <a:pathLst>
                  <a:path w="388" h="182" extrusionOk="0">
                    <a:moveTo>
                      <a:pt x="90" y="0"/>
                    </a:moveTo>
                    <a:cubicBezTo>
                      <a:pt x="40" y="1"/>
                      <a:pt x="0" y="42"/>
                      <a:pt x="0" y="91"/>
                    </a:cubicBezTo>
                    <a:cubicBezTo>
                      <a:pt x="1" y="141"/>
                      <a:pt x="40" y="181"/>
                      <a:pt x="90" y="182"/>
                    </a:cubicBezTo>
                    <a:lnTo>
                      <a:pt x="90" y="181"/>
                    </a:lnTo>
                    <a:lnTo>
                      <a:pt x="160" y="180"/>
                    </a:lnTo>
                    <a:lnTo>
                      <a:pt x="197" y="180"/>
                    </a:lnTo>
                    <a:cubicBezTo>
                      <a:pt x="208" y="180"/>
                      <a:pt x="219" y="178"/>
                      <a:pt x="230" y="174"/>
                    </a:cubicBezTo>
                    <a:cubicBezTo>
                      <a:pt x="236" y="172"/>
                      <a:pt x="241" y="170"/>
                      <a:pt x="248" y="168"/>
                    </a:cubicBezTo>
                    <a:cubicBezTo>
                      <a:pt x="294" y="154"/>
                      <a:pt x="388" y="161"/>
                      <a:pt x="388" y="91"/>
                    </a:cubicBezTo>
                    <a:cubicBezTo>
                      <a:pt x="387" y="64"/>
                      <a:pt x="369" y="42"/>
                      <a:pt x="344" y="33"/>
                    </a:cubicBezTo>
                    <a:cubicBezTo>
                      <a:pt x="333" y="30"/>
                      <a:pt x="323" y="27"/>
                      <a:pt x="312" y="26"/>
                    </a:cubicBezTo>
                    <a:cubicBezTo>
                      <a:pt x="290" y="23"/>
                      <a:pt x="269" y="18"/>
                      <a:pt x="248" y="13"/>
                    </a:cubicBezTo>
                    <a:cubicBezTo>
                      <a:pt x="241" y="11"/>
                      <a:pt x="236" y="9"/>
                      <a:pt x="230" y="7"/>
                    </a:cubicBezTo>
                    <a:cubicBezTo>
                      <a:pt x="219" y="4"/>
                      <a:pt x="208" y="1"/>
                      <a:pt x="197" y="1"/>
                    </a:cubicBezTo>
                    <a:lnTo>
                      <a:pt x="162" y="1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400" name="Google Shape;400;p30"/>
            <p:cNvGrpSpPr/>
            <p:nvPr/>
          </p:nvGrpSpPr>
          <p:grpSpPr>
            <a:xfrm>
              <a:off x="2451023" y="4352690"/>
              <a:ext cx="244251" cy="129674"/>
              <a:chOff x="4529716" y="1773266"/>
              <a:chExt cx="24250" cy="12875"/>
            </a:xfrm>
          </p:grpSpPr>
          <p:sp>
            <p:nvSpPr>
              <p:cNvPr id="401" name="Google Shape;401;p30"/>
              <p:cNvSpPr/>
              <p:nvPr/>
            </p:nvSpPr>
            <p:spPr>
              <a:xfrm>
                <a:off x="4529716" y="1773266"/>
                <a:ext cx="1625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650" h="168" extrusionOk="0">
                    <a:moveTo>
                      <a:pt x="334" y="0"/>
                    </a:moveTo>
                    <a:lnTo>
                      <a:pt x="84" y="2"/>
                    </a:lnTo>
                    <a:cubicBezTo>
                      <a:pt x="41" y="2"/>
                      <a:pt x="0" y="39"/>
                      <a:pt x="2" y="84"/>
                    </a:cubicBezTo>
                    <a:cubicBezTo>
                      <a:pt x="3" y="129"/>
                      <a:pt x="39" y="165"/>
                      <a:pt x="84" y="166"/>
                    </a:cubicBezTo>
                    <a:lnTo>
                      <a:pt x="84" y="165"/>
                    </a:lnTo>
                    <a:lnTo>
                      <a:pt x="334" y="167"/>
                    </a:lnTo>
                    <a:lnTo>
                      <a:pt x="459" y="167"/>
                    </a:lnTo>
                    <a:cubicBezTo>
                      <a:pt x="463" y="167"/>
                      <a:pt x="467" y="167"/>
                      <a:pt x="471" y="167"/>
                    </a:cubicBezTo>
                    <a:cubicBezTo>
                      <a:pt x="492" y="167"/>
                      <a:pt x="513" y="165"/>
                      <a:pt x="535" y="159"/>
                    </a:cubicBezTo>
                    <a:cubicBezTo>
                      <a:pt x="555" y="154"/>
                      <a:pt x="575" y="147"/>
                      <a:pt x="595" y="139"/>
                    </a:cubicBezTo>
                    <a:cubicBezTo>
                      <a:pt x="649" y="123"/>
                      <a:pt x="649" y="45"/>
                      <a:pt x="595" y="28"/>
                    </a:cubicBezTo>
                    <a:lnTo>
                      <a:pt x="538" y="9"/>
                    </a:lnTo>
                    <a:cubicBezTo>
                      <a:pt x="518" y="4"/>
                      <a:pt x="498" y="1"/>
                      <a:pt x="478" y="1"/>
                    </a:cubicBezTo>
                    <a:cubicBezTo>
                      <a:pt x="472" y="1"/>
                      <a:pt x="467" y="1"/>
                      <a:pt x="462" y="1"/>
                    </a:cubicBezTo>
                    <a:cubicBezTo>
                      <a:pt x="420" y="0"/>
                      <a:pt x="377" y="0"/>
                      <a:pt x="33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402" name="Google Shape;402;p30"/>
              <p:cNvSpPr/>
              <p:nvPr/>
            </p:nvSpPr>
            <p:spPr>
              <a:xfrm>
                <a:off x="4544266" y="1781591"/>
                <a:ext cx="9700" cy="4550"/>
              </a:xfrm>
              <a:custGeom>
                <a:avLst/>
                <a:gdLst/>
                <a:ahLst/>
                <a:cxnLst/>
                <a:rect l="l" t="t" r="r" b="b"/>
                <a:pathLst>
                  <a:path w="388" h="182" extrusionOk="0">
                    <a:moveTo>
                      <a:pt x="90" y="0"/>
                    </a:moveTo>
                    <a:cubicBezTo>
                      <a:pt x="40" y="1"/>
                      <a:pt x="0" y="42"/>
                      <a:pt x="0" y="91"/>
                    </a:cubicBezTo>
                    <a:cubicBezTo>
                      <a:pt x="1" y="141"/>
                      <a:pt x="40" y="181"/>
                      <a:pt x="90" y="182"/>
                    </a:cubicBezTo>
                    <a:lnTo>
                      <a:pt x="90" y="181"/>
                    </a:lnTo>
                    <a:lnTo>
                      <a:pt x="160" y="180"/>
                    </a:lnTo>
                    <a:lnTo>
                      <a:pt x="197" y="180"/>
                    </a:lnTo>
                    <a:cubicBezTo>
                      <a:pt x="208" y="180"/>
                      <a:pt x="219" y="178"/>
                      <a:pt x="230" y="174"/>
                    </a:cubicBezTo>
                    <a:cubicBezTo>
                      <a:pt x="236" y="172"/>
                      <a:pt x="241" y="170"/>
                      <a:pt x="248" y="168"/>
                    </a:cubicBezTo>
                    <a:cubicBezTo>
                      <a:pt x="294" y="154"/>
                      <a:pt x="388" y="161"/>
                      <a:pt x="388" y="91"/>
                    </a:cubicBezTo>
                    <a:cubicBezTo>
                      <a:pt x="387" y="64"/>
                      <a:pt x="369" y="42"/>
                      <a:pt x="344" y="33"/>
                    </a:cubicBezTo>
                    <a:cubicBezTo>
                      <a:pt x="333" y="30"/>
                      <a:pt x="323" y="27"/>
                      <a:pt x="312" y="26"/>
                    </a:cubicBezTo>
                    <a:cubicBezTo>
                      <a:pt x="290" y="23"/>
                      <a:pt x="269" y="18"/>
                      <a:pt x="248" y="13"/>
                    </a:cubicBezTo>
                    <a:cubicBezTo>
                      <a:pt x="241" y="11"/>
                      <a:pt x="236" y="9"/>
                      <a:pt x="230" y="7"/>
                    </a:cubicBezTo>
                    <a:cubicBezTo>
                      <a:pt x="219" y="4"/>
                      <a:pt x="208" y="1"/>
                      <a:pt x="197" y="1"/>
                    </a:cubicBezTo>
                    <a:lnTo>
                      <a:pt x="162" y="1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</p:grpSp>
    </p:spTree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2">
  <p:cSld name="CUSTOM_5">
    <p:spTree>
      <p:nvGrpSpPr>
        <p:cNvPr id="1" name="Shape 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" name="Google Shape;404;p31"/>
          <p:cNvSpPr txBox="1">
            <a:spLocks noGrp="1"/>
          </p:cNvSpPr>
          <p:nvPr>
            <p:ph type="ctrTitle"/>
          </p:nvPr>
        </p:nvSpPr>
        <p:spPr>
          <a:xfrm>
            <a:off x="1723616" y="2006167"/>
            <a:ext cx="32112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405" name="Google Shape;405;p31"/>
          <p:cNvSpPr txBox="1">
            <a:spLocks noGrp="1"/>
          </p:cNvSpPr>
          <p:nvPr>
            <p:ph type="subTitle" idx="1"/>
          </p:nvPr>
        </p:nvSpPr>
        <p:spPr>
          <a:xfrm>
            <a:off x="1995700" y="2573367"/>
            <a:ext cx="2667200" cy="77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406" name="Google Shape;406;p31"/>
          <p:cNvSpPr txBox="1">
            <a:spLocks noGrp="1"/>
          </p:cNvSpPr>
          <p:nvPr>
            <p:ph type="title" idx="2" hasCustomPrompt="1"/>
          </p:nvPr>
        </p:nvSpPr>
        <p:spPr>
          <a:xfrm>
            <a:off x="1512733" y="987833"/>
            <a:ext cx="3632800" cy="1018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Fira Sans Extra Condensed Medium"/>
              <a:buNone/>
              <a:defRPr sz="80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Fira Sans Extra Condensed Medium"/>
              <a:buNone/>
              <a:defRPr sz="80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Fira Sans Extra Condensed Medium"/>
              <a:buNone/>
              <a:defRPr sz="80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Fira Sans Extra Condensed Medium"/>
              <a:buNone/>
              <a:defRPr sz="80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Fira Sans Extra Condensed Medium"/>
              <a:buNone/>
              <a:defRPr sz="80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Fira Sans Extra Condensed Medium"/>
              <a:buNone/>
              <a:defRPr sz="80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Fira Sans Extra Condensed Medium"/>
              <a:buNone/>
              <a:defRPr sz="80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Fira Sans Extra Condensed Medium"/>
              <a:buNone/>
              <a:defRPr sz="80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grpSp>
        <p:nvGrpSpPr>
          <p:cNvPr id="407" name="Google Shape;407;p31"/>
          <p:cNvGrpSpPr/>
          <p:nvPr/>
        </p:nvGrpSpPr>
        <p:grpSpPr>
          <a:xfrm>
            <a:off x="1620377" y="-242534"/>
            <a:ext cx="11752689" cy="7538807"/>
            <a:chOff x="3253875" y="4567300"/>
            <a:chExt cx="1413625" cy="906775"/>
          </a:xfrm>
        </p:grpSpPr>
        <p:sp>
          <p:nvSpPr>
            <p:cNvPr id="408" name="Google Shape;408;p31"/>
            <p:cNvSpPr/>
            <p:nvPr/>
          </p:nvSpPr>
          <p:spPr>
            <a:xfrm>
              <a:off x="3253875" y="4567300"/>
              <a:ext cx="1413625" cy="906775"/>
            </a:xfrm>
            <a:custGeom>
              <a:avLst/>
              <a:gdLst/>
              <a:ahLst/>
              <a:cxnLst/>
              <a:rect l="l" t="t" r="r" b="b"/>
              <a:pathLst>
                <a:path w="56545" h="36271" extrusionOk="0">
                  <a:moveTo>
                    <a:pt x="26463" y="0"/>
                  </a:moveTo>
                  <a:cubicBezTo>
                    <a:pt x="26415" y="0"/>
                    <a:pt x="26368" y="1"/>
                    <a:pt x="26320" y="3"/>
                  </a:cubicBezTo>
                  <a:cubicBezTo>
                    <a:pt x="25420" y="29"/>
                    <a:pt x="24486" y="346"/>
                    <a:pt x="23914" y="1041"/>
                  </a:cubicBezTo>
                  <a:lnTo>
                    <a:pt x="25698" y="1004"/>
                  </a:lnTo>
                  <a:lnTo>
                    <a:pt x="25698" y="1004"/>
                  </a:lnTo>
                  <a:cubicBezTo>
                    <a:pt x="24667" y="2950"/>
                    <a:pt x="25538" y="5376"/>
                    <a:pt x="26813" y="7172"/>
                  </a:cubicBezTo>
                  <a:cubicBezTo>
                    <a:pt x="28090" y="8966"/>
                    <a:pt x="29775" y="10515"/>
                    <a:pt x="30605" y="12554"/>
                  </a:cubicBezTo>
                  <a:cubicBezTo>
                    <a:pt x="30683" y="12746"/>
                    <a:pt x="30753" y="12950"/>
                    <a:pt x="30728" y="13154"/>
                  </a:cubicBezTo>
                  <a:cubicBezTo>
                    <a:pt x="30696" y="13401"/>
                    <a:pt x="30531" y="13608"/>
                    <a:pt x="30363" y="13792"/>
                  </a:cubicBezTo>
                  <a:cubicBezTo>
                    <a:pt x="25304" y="19338"/>
                    <a:pt x="18481" y="18361"/>
                    <a:pt x="12334" y="22037"/>
                  </a:cubicBezTo>
                  <a:cubicBezTo>
                    <a:pt x="9308" y="23845"/>
                    <a:pt x="4693" y="26421"/>
                    <a:pt x="2876" y="29441"/>
                  </a:cubicBezTo>
                  <a:cubicBezTo>
                    <a:pt x="2165" y="30623"/>
                    <a:pt x="1" y="36270"/>
                    <a:pt x="2665" y="36270"/>
                  </a:cubicBezTo>
                  <a:cubicBezTo>
                    <a:pt x="2670" y="36270"/>
                    <a:pt x="2675" y="36270"/>
                    <a:pt x="2680" y="36270"/>
                  </a:cubicBezTo>
                  <a:cubicBezTo>
                    <a:pt x="4285" y="36256"/>
                    <a:pt x="6451" y="34168"/>
                    <a:pt x="8056" y="34155"/>
                  </a:cubicBezTo>
                  <a:cubicBezTo>
                    <a:pt x="8388" y="34152"/>
                    <a:pt x="8739" y="34145"/>
                    <a:pt x="9024" y="33973"/>
                  </a:cubicBezTo>
                  <a:cubicBezTo>
                    <a:pt x="9421" y="33735"/>
                    <a:pt x="9581" y="33252"/>
                    <a:pt x="9751" y="32822"/>
                  </a:cubicBezTo>
                  <a:cubicBezTo>
                    <a:pt x="10578" y="30744"/>
                    <a:pt x="12294" y="29151"/>
                    <a:pt x="14109" y="27847"/>
                  </a:cubicBezTo>
                  <a:cubicBezTo>
                    <a:pt x="19162" y="24217"/>
                    <a:pt x="25232" y="22330"/>
                    <a:pt x="30732" y="19420"/>
                  </a:cubicBezTo>
                  <a:cubicBezTo>
                    <a:pt x="31783" y="18864"/>
                    <a:pt x="32854" y="18216"/>
                    <a:pt x="33782" y="17446"/>
                  </a:cubicBezTo>
                  <a:cubicBezTo>
                    <a:pt x="34010" y="17257"/>
                    <a:pt x="34289" y="17162"/>
                    <a:pt x="34569" y="17162"/>
                  </a:cubicBezTo>
                  <a:cubicBezTo>
                    <a:pt x="34841" y="17162"/>
                    <a:pt x="35113" y="17252"/>
                    <a:pt x="35339" y="17433"/>
                  </a:cubicBezTo>
                  <a:cubicBezTo>
                    <a:pt x="36080" y="18026"/>
                    <a:pt x="36908" y="18506"/>
                    <a:pt x="37778" y="18910"/>
                  </a:cubicBezTo>
                  <a:cubicBezTo>
                    <a:pt x="40455" y="20152"/>
                    <a:pt x="43354" y="20849"/>
                    <a:pt x="46262" y="21344"/>
                  </a:cubicBezTo>
                  <a:cubicBezTo>
                    <a:pt x="47283" y="21518"/>
                    <a:pt x="48317" y="21669"/>
                    <a:pt x="49350" y="21669"/>
                  </a:cubicBezTo>
                  <a:cubicBezTo>
                    <a:pt x="49587" y="21669"/>
                    <a:pt x="49824" y="21661"/>
                    <a:pt x="50060" y="21644"/>
                  </a:cubicBezTo>
                  <a:cubicBezTo>
                    <a:pt x="51223" y="21558"/>
                    <a:pt x="52355" y="21248"/>
                    <a:pt x="53480" y="20939"/>
                  </a:cubicBezTo>
                  <a:cubicBezTo>
                    <a:pt x="53994" y="20799"/>
                    <a:pt x="54519" y="20652"/>
                    <a:pt x="54954" y="20346"/>
                  </a:cubicBezTo>
                  <a:cubicBezTo>
                    <a:pt x="55765" y="19773"/>
                    <a:pt x="56116" y="18761"/>
                    <a:pt x="56401" y="17810"/>
                  </a:cubicBezTo>
                  <a:cubicBezTo>
                    <a:pt x="56479" y="17550"/>
                    <a:pt x="56544" y="17233"/>
                    <a:pt x="56362" y="17031"/>
                  </a:cubicBezTo>
                  <a:cubicBezTo>
                    <a:pt x="56220" y="16874"/>
                    <a:pt x="55987" y="16855"/>
                    <a:pt x="55772" y="16855"/>
                  </a:cubicBezTo>
                  <a:cubicBezTo>
                    <a:pt x="55759" y="16855"/>
                    <a:pt x="55746" y="16855"/>
                    <a:pt x="55732" y="16855"/>
                  </a:cubicBezTo>
                  <a:cubicBezTo>
                    <a:pt x="54340" y="16865"/>
                    <a:pt x="52932" y="16906"/>
                    <a:pt x="51527" y="16906"/>
                  </a:cubicBezTo>
                  <a:cubicBezTo>
                    <a:pt x="48459" y="16906"/>
                    <a:pt x="45409" y="16713"/>
                    <a:pt x="42580" y="15594"/>
                  </a:cubicBezTo>
                  <a:cubicBezTo>
                    <a:pt x="40983" y="14963"/>
                    <a:pt x="39493" y="13965"/>
                    <a:pt x="37930" y="13188"/>
                  </a:cubicBezTo>
                  <a:cubicBezTo>
                    <a:pt x="37173" y="12814"/>
                    <a:pt x="36582" y="12170"/>
                    <a:pt x="36273" y="11385"/>
                  </a:cubicBezTo>
                  <a:cubicBezTo>
                    <a:pt x="36270" y="11377"/>
                    <a:pt x="36266" y="11368"/>
                    <a:pt x="36263" y="11360"/>
                  </a:cubicBezTo>
                  <a:cubicBezTo>
                    <a:pt x="36068" y="10877"/>
                    <a:pt x="35746" y="10457"/>
                    <a:pt x="35401" y="10066"/>
                  </a:cubicBezTo>
                  <a:cubicBezTo>
                    <a:pt x="34171" y="8672"/>
                    <a:pt x="32546" y="7438"/>
                    <a:pt x="32167" y="5617"/>
                  </a:cubicBezTo>
                  <a:cubicBezTo>
                    <a:pt x="31917" y="4410"/>
                    <a:pt x="32276" y="3172"/>
                    <a:pt x="32396" y="1945"/>
                  </a:cubicBezTo>
                  <a:cubicBezTo>
                    <a:pt x="32414" y="1757"/>
                    <a:pt x="32420" y="1549"/>
                    <a:pt x="32303" y="1402"/>
                  </a:cubicBezTo>
                  <a:cubicBezTo>
                    <a:pt x="32202" y="1275"/>
                    <a:pt x="32033" y="1228"/>
                    <a:pt x="31876" y="1187"/>
                  </a:cubicBezTo>
                  <a:lnTo>
                    <a:pt x="28978" y="432"/>
                  </a:lnTo>
                  <a:cubicBezTo>
                    <a:pt x="28152" y="217"/>
                    <a:pt x="27314" y="0"/>
                    <a:pt x="2646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09" name="Google Shape;409;p31"/>
            <p:cNvSpPr/>
            <p:nvPr/>
          </p:nvSpPr>
          <p:spPr>
            <a:xfrm>
              <a:off x="4157950" y="4993925"/>
              <a:ext cx="23350" cy="12225"/>
            </a:xfrm>
            <a:custGeom>
              <a:avLst/>
              <a:gdLst/>
              <a:ahLst/>
              <a:cxnLst/>
              <a:rect l="l" t="t" r="r" b="b"/>
              <a:pathLst>
                <a:path w="934" h="489" extrusionOk="0">
                  <a:moveTo>
                    <a:pt x="77" y="0"/>
                  </a:moveTo>
                  <a:cubicBezTo>
                    <a:pt x="53" y="0"/>
                    <a:pt x="31" y="12"/>
                    <a:pt x="18" y="33"/>
                  </a:cubicBezTo>
                  <a:cubicBezTo>
                    <a:pt x="0" y="66"/>
                    <a:pt x="11" y="106"/>
                    <a:pt x="41" y="126"/>
                  </a:cubicBezTo>
                  <a:lnTo>
                    <a:pt x="42" y="125"/>
                  </a:lnTo>
                  <a:cubicBezTo>
                    <a:pt x="234" y="257"/>
                    <a:pt x="446" y="372"/>
                    <a:pt x="669" y="444"/>
                  </a:cubicBezTo>
                  <a:cubicBezTo>
                    <a:pt x="699" y="453"/>
                    <a:pt x="730" y="462"/>
                    <a:pt x="760" y="471"/>
                  </a:cubicBezTo>
                  <a:cubicBezTo>
                    <a:pt x="776" y="475"/>
                    <a:pt x="791" y="479"/>
                    <a:pt x="806" y="484"/>
                  </a:cubicBezTo>
                  <a:cubicBezTo>
                    <a:pt x="816" y="487"/>
                    <a:pt x="827" y="489"/>
                    <a:pt x="838" y="489"/>
                  </a:cubicBezTo>
                  <a:cubicBezTo>
                    <a:pt x="841" y="489"/>
                    <a:pt x="845" y="488"/>
                    <a:pt x="849" y="488"/>
                  </a:cubicBezTo>
                  <a:cubicBezTo>
                    <a:pt x="859" y="487"/>
                    <a:pt x="869" y="486"/>
                    <a:pt x="878" y="484"/>
                  </a:cubicBezTo>
                  <a:cubicBezTo>
                    <a:pt x="917" y="478"/>
                    <a:pt x="933" y="416"/>
                    <a:pt x="903" y="392"/>
                  </a:cubicBezTo>
                  <a:cubicBezTo>
                    <a:pt x="888" y="378"/>
                    <a:pt x="871" y="367"/>
                    <a:pt x="853" y="359"/>
                  </a:cubicBezTo>
                  <a:cubicBezTo>
                    <a:pt x="839" y="354"/>
                    <a:pt x="825" y="350"/>
                    <a:pt x="811" y="345"/>
                  </a:cubicBezTo>
                  <a:cubicBezTo>
                    <a:pt x="785" y="337"/>
                    <a:pt x="757" y="328"/>
                    <a:pt x="731" y="317"/>
                  </a:cubicBezTo>
                  <a:cubicBezTo>
                    <a:pt x="678" y="297"/>
                    <a:pt x="625" y="276"/>
                    <a:pt x="572" y="254"/>
                  </a:cubicBezTo>
                  <a:lnTo>
                    <a:pt x="553" y="246"/>
                  </a:lnTo>
                  <a:lnTo>
                    <a:pt x="544" y="243"/>
                  </a:lnTo>
                  <a:cubicBezTo>
                    <a:pt x="543" y="243"/>
                    <a:pt x="543" y="243"/>
                    <a:pt x="542" y="242"/>
                  </a:cubicBezTo>
                  <a:lnTo>
                    <a:pt x="542" y="242"/>
                  </a:lnTo>
                  <a:cubicBezTo>
                    <a:pt x="543" y="243"/>
                    <a:pt x="545" y="243"/>
                    <a:pt x="545" y="243"/>
                  </a:cubicBezTo>
                  <a:cubicBezTo>
                    <a:pt x="531" y="237"/>
                    <a:pt x="519" y="232"/>
                    <a:pt x="504" y="225"/>
                  </a:cubicBezTo>
                  <a:cubicBezTo>
                    <a:pt x="478" y="214"/>
                    <a:pt x="452" y="202"/>
                    <a:pt x="427" y="189"/>
                  </a:cubicBezTo>
                  <a:cubicBezTo>
                    <a:pt x="375" y="165"/>
                    <a:pt x="325" y="139"/>
                    <a:pt x="275" y="110"/>
                  </a:cubicBezTo>
                  <a:cubicBezTo>
                    <a:pt x="219" y="79"/>
                    <a:pt x="164" y="45"/>
                    <a:pt x="110" y="9"/>
                  </a:cubicBezTo>
                  <a:cubicBezTo>
                    <a:pt x="99" y="3"/>
                    <a:pt x="88" y="0"/>
                    <a:pt x="7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10" name="Google Shape;410;p31"/>
            <p:cNvSpPr/>
            <p:nvPr/>
          </p:nvSpPr>
          <p:spPr>
            <a:xfrm>
              <a:off x="4186850" y="4996725"/>
              <a:ext cx="14725" cy="6250"/>
            </a:xfrm>
            <a:custGeom>
              <a:avLst/>
              <a:gdLst/>
              <a:ahLst/>
              <a:cxnLst/>
              <a:rect l="l" t="t" r="r" b="b"/>
              <a:pathLst>
                <a:path w="589" h="250" extrusionOk="0">
                  <a:moveTo>
                    <a:pt x="83" y="0"/>
                  </a:moveTo>
                  <a:cubicBezTo>
                    <a:pt x="51" y="0"/>
                    <a:pt x="18" y="17"/>
                    <a:pt x="10" y="51"/>
                  </a:cubicBezTo>
                  <a:cubicBezTo>
                    <a:pt x="1" y="92"/>
                    <a:pt x="24" y="124"/>
                    <a:pt x="61" y="140"/>
                  </a:cubicBezTo>
                  <a:lnTo>
                    <a:pt x="61" y="139"/>
                  </a:lnTo>
                  <a:lnTo>
                    <a:pt x="76" y="145"/>
                  </a:lnTo>
                  <a:lnTo>
                    <a:pt x="82" y="148"/>
                  </a:lnTo>
                  <a:cubicBezTo>
                    <a:pt x="92" y="152"/>
                    <a:pt x="104" y="155"/>
                    <a:pt x="116" y="159"/>
                  </a:cubicBezTo>
                  <a:lnTo>
                    <a:pt x="176" y="177"/>
                  </a:lnTo>
                  <a:cubicBezTo>
                    <a:pt x="214" y="189"/>
                    <a:pt x="253" y="199"/>
                    <a:pt x="293" y="206"/>
                  </a:cubicBezTo>
                  <a:cubicBezTo>
                    <a:pt x="332" y="212"/>
                    <a:pt x="370" y="222"/>
                    <a:pt x="409" y="229"/>
                  </a:cubicBezTo>
                  <a:cubicBezTo>
                    <a:pt x="429" y="233"/>
                    <a:pt x="449" y="239"/>
                    <a:pt x="469" y="243"/>
                  </a:cubicBezTo>
                  <a:cubicBezTo>
                    <a:pt x="478" y="245"/>
                    <a:pt x="489" y="246"/>
                    <a:pt x="498" y="248"/>
                  </a:cubicBezTo>
                  <a:cubicBezTo>
                    <a:pt x="502" y="249"/>
                    <a:pt x="506" y="249"/>
                    <a:pt x="510" y="249"/>
                  </a:cubicBezTo>
                  <a:cubicBezTo>
                    <a:pt x="521" y="249"/>
                    <a:pt x="533" y="247"/>
                    <a:pt x="544" y="244"/>
                  </a:cubicBezTo>
                  <a:cubicBezTo>
                    <a:pt x="577" y="235"/>
                    <a:pt x="589" y="192"/>
                    <a:pt x="565" y="167"/>
                  </a:cubicBezTo>
                  <a:cubicBezTo>
                    <a:pt x="556" y="158"/>
                    <a:pt x="546" y="149"/>
                    <a:pt x="534" y="144"/>
                  </a:cubicBezTo>
                  <a:cubicBezTo>
                    <a:pt x="525" y="139"/>
                    <a:pt x="514" y="135"/>
                    <a:pt x="504" y="131"/>
                  </a:cubicBezTo>
                  <a:cubicBezTo>
                    <a:pt x="484" y="123"/>
                    <a:pt x="464" y="116"/>
                    <a:pt x="445" y="109"/>
                  </a:cubicBezTo>
                  <a:cubicBezTo>
                    <a:pt x="407" y="95"/>
                    <a:pt x="369" y="82"/>
                    <a:pt x="332" y="67"/>
                  </a:cubicBezTo>
                  <a:cubicBezTo>
                    <a:pt x="295" y="52"/>
                    <a:pt x="257" y="41"/>
                    <a:pt x="219" y="31"/>
                  </a:cubicBezTo>
                  <a:cubicBezTo>
                    <a:pt x="180" y="18"/>
                    <a:pt x="139" y="9"/>
                    <a:pt x="99" y="2"/>
                  </a:cubicBezTo>
                  <a:cubicBezTo>
                    <a:pt x="93" y="1"/>
                    <a:pt x="88" y="0"/>
                    <a:pt x="8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11" name="Google Shape;411;p31"/>
            <p:cNvSpPr/>
            <p:nvPr/>
          </p:nvSpPr>
          <p:spPr>
            <a:xfrm>
              <a:off x="3904250" y="4660650"/>
              <a:ext cx="16975" cy="8175"/>
            </a:xfrm>
            <a:custGeom>
              <a:avLst/>
              <a:gdLst/>
              <a:ahLst/>
              <a:cxnLst/>
              <a:rect l="l" t="t" r="r" b="b"/>
              <a:pathLst>
                <a:path w="679" h="327" extrusionOk="0">
                  <a:moveTo>
                    <a:pt x="77" y="1"/>
                  </a:moveTo>
                  <a:cubicBezTo>
                    <a:pt x="54" y="1"/>
                    <a:pt x="31" y="13"/>
                    <a:pt x="18" y="35"/>
                  </a:cubicBezTo>
                  <a:cubicBezTo>
                    <a:pt x="0" y="67"/>
                    <a:pt x="11" y="108"/>
                    <a:pt x="42" y="127"/>
                  </a:cubicBezTo>
                  <a:lnTo>
                    <a:pt x="43" y="127"/>
                  </a:lnTo>
                  <a:cubicBezTo>
                    <a:pt x="131" y="182"/>
                    <a:pt x="224" y="227"/>
                    <a:pt x="320" y="264"/>
                  </a:cubicBezTo>
                  <a:cubicBezTo>
                    <a:pt x="366" y="281"/>
                    <a:pt x="412" y="295"/>
                    <a:pt x="460" y="306"/>
                  </a:cubicBezTo>
                  <a:cubicBezTo>
                    <a:pt x="484" y="311"/>
                    <a:pt x="509" y="316"/>
                    <a:pt x="535" y="320"/>
                  </a:cubicBezTo>
                  <a:cubicBezTo>
                    <a:pt x="546" y="322"/>
                    <a:pt x="558" y="324"/>
                    <a:pt x="570" y="326"/>
                  </a:cubicBezTo>
                  <a:cubicBezTo>
                    <a:pt x="576" y="326"/>
                    <a:pt x="582" y="327"/>
                    <a:pt x="589" y="327"/>
                  </a:cubicBezTo>
                  <a:cubicBezTo>
                    <a:pt x="602" y="327"/>
                    <a:pt x="615" y="325"/>
                    <a:pt x="628" y="322"/>
                  </a:cubicBezTo>
                  <a:cubicBezTo>
                    <a:pt x="670" y="310"/>
                    <a:pt x="678" y="252"/>
                    <a:pt x="639" y="229"/>
                  </a:cubicBezTo>
                  <a:cubicBezTo>
                    <a:pt x="627" y="221"/>
                    <a:pt x="613" y="214"/>
                    <a:pt x="598" y="210"/>
                  </a:cubicBezTo>
                  <a:cubicBezTo>
                    <a:pt x="588" y="206"/>
                    <a:pt x="576" y="203"/>
                    <a:pt x="564" y="201"/>
                  </a:cubicBezTo>
                  <a:cubicBezTo>
                    <a:pt x="541" y="195"/>
                    <a:pt x="518" y="187"/>
                    <a:pt x="495" y="181"/>
                  </a:cubicBezTo>
                  <a:cubicBezTo>
                    <a:pt x="448" y="166"/>
                    <a:pt x="403" y="151"/>
                    <a:pt x="359" y="135"/>
                  </a:cubicBezTo>
                  <a:lnTo>
                    <a:pt x="326" y="121"/>
                  </a:lnTo>
                  <a:lnTo>
                    <a:pt x="310" y="115"/>
                  </a:lnTo>
                  <a:lnTo>
                    <a:pt x="313" y="116"/>
                  </a:lnTo>
                  <a:lnTo>
                    <a:pt x="313" y="116"/>
                  </a:lnTo>
                  <a:lnTo>
                    <a:pt x="302" y="112"/>
                  </a:lnTo>
                  <a:cubicBezTo>
                    <a:pt x="281" y="101"/>
                    <a:pt x="260" y="91"/>
                    <a:pt x="239" y="81"/>
                  </a:cubicBezTo>
                  <a:cubicBezTo>
                    <a:pt x="195" y="60"/>
                    <a:pt x="153" y="36"/>
                    <a:pt x="111" y="10"/>
                  </a:cubicBezTo>
                  <a:cubicBezTo>
                    <a:pt x="100" y="4"/>
                    <a:pt x="89" y="1"/>
                    <a:pt x="7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12" name="Google Shape;412;p31"/>
            <p:cNvSpPr/>
            <p:nvPr/>
          </p:nvSpPr>
          <p:spPr>
            <a:xfrm>
              <a:off x="3909075" y="4673525"/>
              <a:ext cx="15500" cy="6200"/>
            </a:xfrm>
            <a:custGeom>
              <a:avLst/>
              <a:gdLst/>
              <a:ahLst/>
              <a:cxnLst/>
              <a:rect l="l" t="t" r="r" b="b"/>
              <a:pathLst>
                <a:path w="620" h="248" extrusionOk="0">
                  <a:moveTo>
                    <a:pt x="94" y="1"/>
                  </a:moveTo>
                  <a:cubicBezTo>
                    <a:pt x="78" y="1"/>
                    <a:pt x="62" y="5"/>
                    <a:pt x="49" y="12"/>
                  </a:cubicBezTo>
                  <a:cubicBezTo>
                    <a:pt x="30" y="24"/>
                    <a:pt x="16" y="41"/>
                    <a:pt x="10" y="64"/>
                  </a:cubicBezTo>
                  <a:cubicBezTo>
                    <a:pt x="0" y="106"/>
                    <a:pt x="22" y="160"/>
                    <a:pt x="70" y="169"/>
                  </a:cubicBezTo>
                  <a:cubicBezTo>
                    <a:pt x="147" y="184"/>
                    <a:pt x="225" y="200"/>
                    <a:pt x="302" y="213"/>
                  </a:cubicBezTo>
                  <a:cubicBezTo>
                    <a:pt x="340" y="221"/>
                    <a:pt x="378" y="227"/>
                    <a:pt x="416" y="234"/>
                  </a:cubicBezTo>
                  <a:cubicBezTo>
                    <a:pt x="436" y="238"/>
                    <a:pt x="456" y="242"/>
                    <a:pt x="474" y="245"/>
                  </a:cubicBezTo>
                  <a:cubicBezTo>
                    <a:pt x="484" y="247"/>
                    <a:pt x="494" y="247"/>
                    <a:pt x="505" y="247"/>
                  </a:cubicBezTo>
                  <a:cubicBezTo>
                    <a:pt x="515" y="247"/>
                    <a:pt x="525" y="247"/>
                    <a:pt x="535" y="245"/>
                  </a:cubicBezTo>
                  <a:lnTo>
                    <a:pt x="564" y="240"/>
                  </a:lnTo>
                  <a:cubicBezTo>
                    <a:pt x="592" y="236"/>
                    <a:pt x="612" y="206"/>
                    <a:pt x="615" y="181"/>
                  </a:cubicBezTo>
                  <a:cubicBezTo>
                    <a:pt x="619" y="153"/>
                    <a:pt x="605" y="125"/>
                    <a:pt x="581" y="110"/>
                  </a:cubicBezTo>
                  <a:cubicBezTo>
                    <a:pt x="561" y="96"/>
                    <a:pt x="539" y="87"/>
                    <a:pt x="516" y="79"/>
                  </a:cubicBezTo>
                  <a:cubicBezTo>
                    <a:pt x="498" y="76"/>
                    <a:pt x="480" y="73"/>
                    <a:pt x="461" y="69"/>
                  </a:cubicBezTo>
                  <a:cubicBezTo>
                    <a:pt x="422" y="61"/>
                    <a:pt x="384" y="53"/>
                    <a:pt x="345" y="46"/>
                  </a:cubicBezTo>
                  <a:cubicBezTo>
                    <a:pt x="268" y="32"/>
                    <a:pt x="192" y="17"/>
                    <a:pt x="115" y="3"/>
                  </a:cubicBezTo>
                  <a:cubicBezTo>
                    <a:pt x="108" y="2"/>
                    <a:pt x="101" y="1"/>
                    <a:pt x="9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13" name="Google Shape;413;p31"/>
            <p:cNvSpPr/>
            <p:nvPr/>
          </p:nvSpPr>
          <p:spPr>
            <a:xfrm>
              <a:off x="4485725" y="5006000"/>
              <a:ext cx="28750" cy="6925"/>
            </a:xfrm>
            <a:custGeom>
              <a:avLst/>
              <a:gdLst/>
              <a:ahLst/>
              <a:cxnLst/>
              <a:rect l="l" t="t" r="r" b="b"/>
              <a:pathLst>
                <a:path w="1150" h="277" extrusionOk="0">
                  <a:moveTo>
                    <a:pt x="87" y="0"/>
                  </a:moveTo>
                  <a:cubicBezTo>
                    <a:pt x="73" y="0"/>
                    <a:pt x="59" y="4"/>
                    <a:pt x="46" y="10"/>
                  </a:cubicBezTo>
                  <a:cubicBezTo>
                    <a:pt x="29" y="21"/>
                    <a:pt x="15" y="37"/>
                    <a:pt x="10" y="58"/>
                  </a:cubicBezTo>
                  <a:cubicBezTo>
                    <a:pt x="1" y="95"/>
                    <a:pt x="22" y="149"/>
                    <a:pt x="65" y="156"/>
                  </a:cubicBezTo>
                  <a:lnTo>
                    <a:pt x="66" y="156"/>
                  </a:lnTo>
                  <a:cubicBezTo>
                    <a:pt x="330" y="196"/>
                    <a:pt x="594" y="240"/>
                    <a:pt x="860" y="269"/>
                  </a:cubicBezTo>
                  <a:lnTo>
                    <a:pt x="915" y="276"/>
                  </a:lnTo>
                  <a:cubicBezTo>
                    <a:pt x="920" y="276"/>
                    <a:pt x="924" y="276"/>
                    <a:pt x="929" y="276"/>
                  </a:cubicBezTo>
                  <a:cubicBezTo>
                    <a:pt x="943" y="276"/>
                    <a:pt x="956" y="275"/>
                    <a:pt x="970" y="274"/>
                  </a:cubicBezTo>
                  <a:cubicBezTo>
                    <a:pt x="975" y="273"/>
                    <a:pt x="980" y="273"/>
                    <a:pt x="985" y="273"/>
                  </a:cubicBezTo>
                  <a:cubicBezTo>
                    <a:pt x="997" y="273"/>
                    <a:pt x="1009" y="274"/>
                    <a:pt x="1021" y="275"/>
                  </a:cubicBezTo>
                  <a:cubicBezTo>
                    <a:pt x="1041" y="275"/>
                    <a:pt x="1060" y="273"/>
                    <a:pt x="1080" y="270"/>
                  </a:cubicBezTo>
                  <a:cubicBezTo>
                    <a:pt x="1138" y="270"/>
                    <a:pt x="1150" y="188"/>
                    <a:pt x="1093" y="172"/>
                  </a:cubicBezTo>
                  <a:cubicBezTo>
                    <a:pt x="1062" y="161"/>
                    <a:pt x="1032" y="151"/>
                    <a:pt x="1000" y="143"/>
                  </a:cubicBezTo>
                  <a:cubicBezTo>
                    <a:pt x="985" y="139"/>
                    <a:pt x="972" y="132"/>
                    <a:pt x="958" y="127"/>
                  </a:cubicBezTo>
                  <a:cubicBezTo>
                    <a:pt x="941" y="122"/>
                    <a:pt x="923" y="119"/>
                    <a:pt x="906" y="117"/>
                  </a:cubicBezTo>
                  <a:cubicBezTo>
                    <a:pt x="843" y="105"/>
                    <a:pt x="780" y="93"/>
                    <a:pt x="716" y="85"/>
                  </a:cubicBezTo>
                  <a:lnTo>
                    <a:pt x="329" y="32"/>
                  </a:lnTo>
                  <a:lnTo>
                    <a:pt x="108" y="3"/>
                  </a:lnTo>
                  <a:cubicBezTo>
                    <a:pt x="101" y="1"/>
                    <a:pt x="94" y="0"/>
                    <a:pt x="8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14" name="Google Shape;414;p31"/>
            <p:cNvSpPr/>
            <p:nvPr/>
          </p:nvSpPr>
          <p:spPr>
            <a:xfrm>
              <a:off x="4509775" y="5019725"/>
              <a:ext cx="16525" cy="4250"/>
            </a:xfrm>
            <a:custGeom>
              <a:avLst/>
              <a:gdLst/>
              <a:ahLst/>
              <a:cxnLst/>
              <a:rect l="l" t="t" r="r" b="b"/>
              <a:pathLst>
                <a:path w="661" h="170" extrusionOk="0">
                  <a:moveTo>
                    <a:pt x="70" y="1"/>
                  </a:moveTo>
                  <a:cubicBezTo>
                    <a:pt x="33" y="1"/>
                    <a:pt x="0" y="37"/>
                    <a:pt x="1" y="73"/>
                  </a:cubicBezTo>
                  <a:cubicBezTo>
                    <a:pt x="2" y="112"/>
                    <a:pt x="34" y="143"/>
                    <a:pt x="74" y="144"/>
                  </a:cubicBezTo>
                  <a:lnTo>
                    <a:pt x="73" y="144"/>
                  </a:lnTo>
                  <a:lnTo>
                    <a:pt x="211" y="155"/>
                  </a:lnTo>
                  <a:cubicBezTo>
                    <a:pt x="255" y="159"/>
                    <a:pt x="300" y="161"/>
                    <a:pt x="345" y="161"/>
                  </a:cubicBezTo>
                  <a:cubicBezTo>
                    <a:pt x="350" y="161"/>
                    <a:pt x="355" y="161"/>
                    <a:pt x="360" y="161"/>
                  </a:cubicBezTo>
                  <a:cubicBezTo>
                    <a:pt x="399" y="161"/>
                    <a:pt x="439" y="164"/>
                    <a:pt x="479" y="165"/>
                  </a:cubicBezTo>
                  <a:lnTo>
                    <a:pt x="545" y="169"/>
                  </a:lnTo>
                  <a:cubicBezTo>
                    <a:pt x="552" y="169"/>
                    <a:pt x="558" y="169"/>
                    <a:pt x="565" y="169"/>
                  </a:cubicBezTo>
                  <a:cubicBezTo>
                    <a:pt x="572" y="169"/>
                    <a:pt x="578" y="169"/>
                    <a:pt x="585" y="169"/>
                  </a:cubicBezTo>
                  <a:cubicBezTo>
                    <a:pt x="599" y="166"/>
                    <a:pt x="611" y="163"/>
                    <a:pt x="623" y="160"/>
                  </a:cubicBezTo>
                  <a:cubicBezTo>
                    <a:pt x="645" y="154"/>
                    <a:pt x="660" y="135"/>
                    <a:pt x="660" y="112"/>
                  </a:cubicBezTo>
                  <a:cubicBezTo>
                    <a:pt x="660" y="89"/>
                    <a:pt x="645" y="70"/>
                    <a:pt x="623" y="64"/>
                  </a:cubicBezTo>
                  <a:cubicBezTo>
                    <a:pt x="614" y="59"/>
                    <a:pt x="603" y="56"/>
                    <a:pt x="594" y="53"/>
                  </a:cubicBezTo>
                  <a:cubicBezTo>
                    <a:pt x="578" y="49"/>
                    <a:pt x="563" y="47"/>
                    <a:pt x="548" y="47"/>
                  </a:cubicBezTo>
                  <a:lnTo>
                    <a:pt x="480" y="39"/>
                  </a:lnTo>
                  <a:lnTo>
                    <a:pt x="413" y="33"/>
                  </a:lnTo>
                  <a:lnTo>
                    <a:pt x="381" y="28"/>
                  </a:lnTo>
                  <a:cubicBezTo>
                    <a:pt x="374" y="27"/>
                    <a:pt x="368" y="27"/>
                    <a:pt x="362" y="26"/>
                  </a:cubicBezTo>
                  <a:lnTo>
                    <a:pt x="362" y="26"/>
                  </a:lnTo>
                  <a:cubicBezTo>
                    <a:pt x="365" y="26"/>
                    <a:pt x="366" y="27"/>
                    <a:pt x="366" y="27"/>
                  </a:cubicBezTo>
                  <a:cubicBezTo>
                    <a:pt x="366" y="27"/>
                    <a:pt x="360" y="26"/>
                    <a:pt x="357" y="25"/>
                  </a:cubicBezTo>
                  <a:cubicBezTo>
                    <a:pt x="309" y="18"/>
                    <a:pt x="260" y="12"/>
                    <a:pt x="211" y="11"/>
                  </a:cubicBezTo>
                  <a:lnTo>
                    <a:pt x="74" y="1"/>
                  </a:lnTo>
                  <a:cubicBezTo>
                    <a:pt x="72" y="1"/>
                    <a:pt x="71" y="1"/>
                    <a:pt x="7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15" name="Google Shape;415;p31"/>
            <p:cNvSpPr/>
            <p:nvPr/>
          </p:nvSpPr>
          <p:spPr>
            <a:xfrm>
              <a:off x="3720850" y="5152825"/>
              <a:ext cx="30775" cy="11200"/>
            </a:xfrm>
            <a:custGeom>
              <a:avLst/>
              <a:gdLst/>
              <a:ahLst/>
              <a:cxnLst/>
              <a:rect l="l" t="t" r="r" b="b"/>
              <a:pathLst>
                <a:path w="1231" h="448" extrusionOk="0">
                  <a:moveTo>
                    <a:pt x="1127" y="1"/>
                  </a:moveTo>
                  <a:cubicBezTo>
                    <a:pt x="1067" y="1"/>
                    <a:pt x="1007" y="15"/>
                    <a:pt x="948" y="28"/>
                  </a:cubicBezTo>
                  <a:cubicBezTo>
                    <a:pt x="873" y="43"/>
                    <a:pt x="797" y="59"/>
                    <a:pt x="724" y="82"/>
                  </a:cubicBezTo>
                  <a:cubicBezTo>
                    <a:pt x="577" y="126"/>
                    <a:pt x="433" y="175"/>
                    <a:pt x="290" y="229"/>
                  </a:cubicBezTo>
                  <a:cubicBezTo>
                    <a:pt x="205" y="262"/>
                    <a:pt x="120" y="295"/>
                    <a:pt x="37" y="332"/>
                  </a:cubicBezTo>
                  <a:cubicBezTo>
                    <a:pt x="9" y="344"/>
                    <a:pt x="0" y="384"/>
                    <a:pt x="11" y="409"/>
                  </a:cubicBezTo>
                  <a:cubicBezTo>
                    <a:pt x="20" y="430"/>
                    <a:pt x="44" y="448"/>
                    <a:pt x="68" y="448"/>
                  </a:cubicBezTo>
                  <a:cubicBezTo>
                    <a:pt x="74" y="448"/>
                    <a:pt x="79" y="447"/>
                    <a:pt x="85" y="445"/>
                  </a:cubicBezTo>
                  <a:cubicBezTo>
                    <a:pt x="227" y="391"/>
                    <a:pt x="371" y="343"/>
                    <a:pt x="517" y="300"/>
                  </a:cubicBezTo>
                  <a:cubicBezTo>
                    <a:pt x="591" y="278"/>
                    <a:pt x="663" y="258"/>
                    <a:pt x="737" y="239"/>
                  </a:cubicBezTo>
                  <a:cubicBezTo>
                    <a:pt x="811" y="221"/>
                    <a:pt x="885" y="199"/>
                    <a:pt x="958" y="180"/>
                  </a:cubicBezTo>
                  <a:cubicBezTo>
                    <a:pt x="999" y="170"/>
                    <a:pt x="1039" y="160"/>
                    <a:pt x="1079" y="150"/>
                  </a:cubicBezTo>
                  <a:cubicBezTo>
                    <a:pt x="1103" y="141"/>
                    <a:pt x="1125" y="133"/>
                    <a:pt x="1147" y="122"/>
                  </a:cubicBezTo>
                  <a:lnTo>
                    <a:pt x="1153" y="120"/>
                  </a:lnTo>
                  <a:lnTo>
                    <a:pt x="1170" y="113"/>
                  </a:lnTo>
                  <a:cubicBezTo>
                    <a:pt x="1182" y="108"/>
                    <a:pt x="1195" y="100"/>
                    <a:pt x="1205" y="93"/>
                  </a:cubicBezTo>
                  <a:cubicBezTo>
                    <a:pt x="1221" y="83"/>
                    <a:pt x="1231" y="64"/>
                    <a:pt x="1228" y="47"/>
                  </a:cubicBezTo>
                  <a:cubicBezTo>
                    <a:pt x="1225" y="28"/>
                    <a:pt x="1213" y="13"/>
                    <a:pt x="1195" y="8"/>
                  </a:cubicBezTo>
                  <a:cubicBezTo>
                    <a:pt x="1172" y="3"/>
                    <a:pt x="1150" y="1"/>
                    <a:pt x="112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16" name="Google Shape;416;p31"/>
            <p:cNvSpPr/>
            <p:nvPr/>
          </p:nvSpPr>
          <p:spPr>
            <a:xfrm>
              <a:off x="3741150" y="5137850"/>
              <a:ext cx="17150" cy="6150"/>
            </a:xfrm>
            <a:custGeom>
              <a:avLst/>
              <a:gdLst/>
              <a:ahLst/>
              <a:cxnLst/>
              <a:rect l="l" t="t" r="r" b="b"/>
              <a:pathLst>
                <a:path w="686" h="246" extrusionOk="0">
                  <a:moveTo>
                    <a:pt x="486" y="0"/>
                  </a:moveTo>
                  <a:cubicBezTo>
                    <a:pt x="435" y="0"/>
                    <a:pt x="382" y="5"/>
                    <a:pt x="330" y="14"/>
                  </a:cubicBezTo>
                  <a:cubicBezTo>
                    <a:pt x="231" y="29"/>
                    <a:pt x="134" y="56"/>
                    <a:pt x="42" y="97"/>
                  </a:cubicBezTo>
                  <a:cubicBezTo>
                    <a:pt x="24" y="108"/>
                    <a:pt x="11" y="125"/>
                    <a:pt x="5" y="145"/>
                  </a:cubicBezTo>
                  <a:cubicBezTo>
                    <a:pt x="0" y="166"/>
                    <a:pt x="2" y="188"/>
                    <a:pt x="13" y="207"/>
                  </a:cubicBezTo>
                  <a:cubicBezTo>
                    <a:pt x="24" y="225"/>
                    <a:pt x="41" y="238"/>
                    <a:pt x="61" y="244"/>
                  </a:cubicBezTo>
                  <a:cubicBezTo>
                    <a:pt x="67" y="245"/>
                    <a:pt x="74" y="246"/>
                    <a:pt x="80" y="246"/>
                  </a:cubicBezTo>
                  <a:cubicBezTo>
                    <a:pt x="95" y="246"/>
                    <a:pt x="110" y="242"/>
                    <a:pt x="123" y="235"/>
                  </a:cubicBezTo>
                  <a:lnTo>
                    <a:pt x="123" y="235"/>
                  </a:lnTo>
                  <a:lnTo>
                    <a:pt x="123" y="235"/>
                  </a:lnTo>
                  <a:cubicBezTo>
                    <a:pt x="125" y="234"/>
                    <a:pt x="126" y="234"/>
                    <a:pt x="127" y="233"/>
                  </a:cubicBezTo>
                  <a:lnTo>
                    <a:pt x="144" y="227"/>
                  </a:lnTo>
                  <a:cubicBezTo>
                    <a:pt x="154" y="223"/>
                    <a:pt x="165" y="220"/>
                    <a:pt x="175" y="215"/>
                  </a:cubicBezTo>
                  <a:cubicBezTo>
                    <a:pt x="196" y="208"/>
                    <a:pt x="217" y="202"/>
                    <a:pt x="238" y="196"/>
                  </a:cubicBezTo>
                  <a:cubicBezTo>
                    <a:pt x="282" y="184"/>
                    <a:pt x="326" y="174"/>
                    <a:pt x="370" y="167"/>
                  </a:cubicBezTo>
                  <a:lnTo>
                    <a:pt x="385" y="165"/>
                  </a:lnTo>
                  <a:lnTo>
                    <a:pt x="393" y="164"/>
                  </a:lnTo>
                  <a:lnTo>
                    <a:pt x="388" y="164"/>
                  </a:lnTo>
                  <a:cubicBezTo>
                    <a:pt x="399" y="163"/>
                    <a:pt x="409" y="162"/>
                    <a:pt x="421" y="161"/>
                  </a:cubicBezTo>
                  <a:cubicBezTo>
                    <a:pt x="443" y="158"/>
                    <a:pt x="465" y="157"/>
                    <a:pt x="486" y="155"/>
                  </a:cubicBezTo>
                  <a:cubicBezTo>
                    <a:pt x="503" y="154"/>
                    <a:pt x="520" y="151"/>
                    <a:pt x="536" y="148"/>
                  </a:cubicBezTo>
                  <a:lnTo>
                    <a:pt x="550" y="146"/>
                  </a:lnTo>
                  <a:cubicBezTo>
                    <a:pt x="554" y="145"/>
                    <a:pt x="557" y="145"/>
                    <a:pt x="557" y="145"/>
                  </a:cubicBezTo>
                  <a:cubicBezTo>
                    <a:pt x="558" y="145"/>
                    <a:pt x="557" y="145"/>
                    <a:pt x="553" y="146"/>
                  </a:cubicBezTo>
                  <a:cubicBezTo>
                    <a:pt x="580" y="144"/>
                    <a:pt x="606" y="138"/>
                    <a:pt x="633" y="132"/>
                  </a:cubicBezTo>
                  <a:cubicBezTo>
                    <a:pt x="672" y="120"/>
                    <a:pt x="685" y="59"/>
                    <a:pt x="644" y="39"/>
                  </a:cubicBezTo>
                  <a:cubicBezTo>
                    <a:pt x="621" y="27"/>
                    <a:pt x="596" y="18"/>
                    <a:pt x="571" y="14"/>
                  </a:cubicBezTo>
                  <a:cubicBezTo>
                    <a:pt x="543" y="7"/>
                    <a:pt x="515" y="2"/>
                    <a:pt x="48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17" name="Google Shape;417;p31"/>
            <p:cNvSpPr/>
            <p:nvPr/>
          </p:nvSpPr>
          <p:spPr>
            <a:xfrm>
              <a:off x="3341400" y="5300500"/>
              <a:ext cx="17575" cy="18500"/>
            </a:xfrm>
            <a:custGeom>
              <a:avLst/>
              <a:gdLst/>
              <a:ahLst/>
              <a:cxnLst/>
              <a:rect l="l" t="t" r="r" b="b"/>
              <a:pathLst>
                <a:path w="703" h="740" extrusionOk="0">
                  <a:moveTo>
                    <a:pt x="643" y="0"/>
                  </a:moveTo>
                  <a:cubicBezTo>
                    <a:pt x="634" y="0"/>
                    <a:pt x="625" y="2"/>
                    <a:pt x="616" y="7"/>
                  </a:cubicBezTo>
                  <a:cubicBezTo>
                    <a:pt x="602" y="12"/>
                    <a:pt x="590" y="20"/>
                    <a:pt x="578" y="28"/>
                  </a:cubicBezTo>
                  <a:cubicBezTo>
                    <a:pt x="564" y="37"/>
                    <a:pt x="554" y="49"/>
                    <a:pt x="541" y="60"/>
                  </a:cubicBezTo>
                  <a:cubicBezTo>
                    <a:pt x="520" y="79"/>
                    <a:pt x="499" y="98"/>
                    <a:pt x="478" y="117"/>
                  </a:cubicBezTo>
                  <a:cubicBezTo>
                    <a:pt x="438" y="154"/>
                    <a:pt x="398" y="192"/>
                    <a:pt x="360" y="231"/>
                  </a:cubicBezTo>
                  <a:cubicBezTo>
                    <a:pt x="283" y="312"/>
                    <a:pt x="209" y="394"/>
                    <a:pt x="138" y="479"/>
                  </a:cubicBezTo>
                  <a:cubicBezTo>
                    <a:pt x="97" y="528"/>
                    <a:pt x="58" y="576"/>
                    <a:pt x="19" y="626"/>
                  </a:cubicBezTo>
                  <a:cubicBezTo>
                    <a:pt x="8" y="638"/>
                    <a:pt x="0" y="655"/>
                    <a:pt x="0" y="673"/>
                  </a:cubicBezTo>
                  <a:cubicBezTo>
                    <a:pt x="0" y="691"/>
                    <a:pt x="7" y="708"/>
                    <a:pt x="19" y="721"/>
                  </a:cubicBezTo>
                  <a:cubicBezTo>
                    <a:pt x="32" y="732"/>
                    <a:pt x="51" y="740"/>
                    <a:pt x="70" y="740"/>
                  </a:cubicBezTo>
                  <a:cubicBezTo>
                    <a:pt x="86" y="740"/>
                    <a:pt x="102" y="734"/>
                    <a:pt x="113" y="721"/>
                  </a:cubicBezTo>
                  <a:lnTo>
                    <a:pt x="113" y="720"/>
                  </a:lnTo>
                  <a:cubicBezTo>
                    <a:pt x="253" y="548"/>
                    <a:pt x="402" y="383"/>
                    <a:pt x="559" y="227"/>
                  </a:cubicBezTo>
                  <a:cubicBezTo>
                    <a:pt x="580" y="205"/>
                    <a:pt x="601" y="184"/>
                    <a:pt x="623" y="163"/>
                  </a:cubicBezTo>
                  <a:cubicBezTo>
                    <a:pt x="635" y="151"/>
                    <a:pt x="647" y="141"/>
                    <a:pt x="658" y="128"/>
                  </a:cubicBezTo>
                  <a:cubicBezTo>
                    <a:pt x="671" y="114"/>
                    <a:pt x="681" y="99"/>
                    <a:pt x="691" y="82"/>
                  </a:cubicBezTo>
                  <a:cubicBezTo>
                    <a:pt x="702" y="60"/>
                    <a:pt x="699" y="33"/>
                    <a:pt x="682" y="15"/>
                  </a:cubicBezTo>
                  <a:cubicBezTo>
                    <a:pt x="671" y="6"/>
                    <a:pt x="657" y="0"/>
                    <a:pt x="64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18" name="Google Shape;418;p31"/>
            <p:cNvSpPr/>
            <p:nvPr/>
          </p:nvSpPr>
          <p:spPr>
            <a:xfrm>
              <a:off x="3354375" y="5306350"/>
              <a:ext cx="13125" cy="10825"/>
            </a:xfrm>
            <a:custGeom>
              <a:avLst/>
              <a:gdLst/>
              <a:ahLst/>
              <a:cxnLst/>
              <a:rect l="l" t="t" r="r" b="b"/>
              <a:pathLst>
                <a:path w="525" h="433" extrusionOk="0">
                  <a:moveTo>
                    <a:pt x="459" y="0"/>
                  </a:moveTo>
                  <a:cubicBezTo>
                    <a:pt x="458" y="0"/>
                    <a:pt x="456" y="0"/>
                    <a:pt x="454" y="1"/>
                  </a:cubicBezTo>
                  <a:cubicBezTo>
                    <a:pt x="439" y="3"/>
                    <a:pt x="424" y="4"/>
                    <a:pt x="410" y="6"/>
                  </a:cubicBezTo>
                  <a:cubicBezTo>
                    <a:pt x="395" y="9"/>
                    <a:pt x="381" y="13"/>
                    <a:pt x="368" y="21"/>
                  </a:cubicBezTo>
                  <a:cubicBezTo>
                    <a:pt x="349" y="29"/>
                    <a:pt x="330" y="39"/>
                    <a:pt x="312" y="49"/>
                  </a:cubicBezTo>
                  <a:cubicBezTo>
                    <a:pt x="276" y="70"/>
                    <a:pt x="243" y="93"/>
                    <a:pt x="209" y="119"/>
                  </a:cubicBezTo>
                  <a:cubicBezTo>
                    <a:pt x="136" y="175"/>
                    <a:pt x="70" y="241"/>
                    <a:pt x="14" y="315"/>
                  </a:cubicBezTo>
                  <a:cubicBezTo>
                    <a:pt x="3" y="333"/>
                    <a:pt x="0" y="355"/>
                    <a:pt x="5" y="375"/>
                  </a:cubicBezTo>
                  <a:cubicBezTo>
                    <a:pt x="11" y="391"/>
                    <a:pt x="20" y="405"/>
                    <a:pt x="34" y="416"/>
                  </a:cubicBezTo>
                  <a:cubicBezTo>
                    <a:pt x="47" y="426"/>
                    <a:pt x="66" y="432"/>
                    <a:pt x="85" y="432"/>
                  </a:cubicBezTo>
                  <a:cubicBezTo>
                    <a:pt x="105" y="432"/>
                    <a:pt x="124" y="425"/>
                    <a:pt x="136" y="410"/>
                  </a:cubicBezTo>
                  <a:cubicBezTo>
                    <a:pt x="160" y="378"/>
                    <a:pt x="187" y="349"/>
                    <a:pt x="215" y="320"/>
                  </a:cubicBezTo>
                  <a:cubicBezTo>
                    <a:pt x="229" y="306"/>
                    <a:pt x="244" y="293"/>
                    <a:pt x="258" y="280"/>
                  </a:cubicBezTo>
                  <a:cubicBezTo>
                    <a:pt x="266" y="273"/>
                    <a:pt x="274" y="266"/>
                    <a:pt x="282" y="260"/>
                  </a:cubicBezTo>
                  <a:lnTo>
                    <a:pt x="292" y="252"/>
                  </a:lnTo>
                  <a:cubicBezTo>
                    <a:pt x="293" y="251"/>
                    <a:pt x="294" y="250"/>
                    <a:pt x="295" y="249"/>
                  </a:cubicBezTo>
                  <a:lnTo>
                    <a:pt x="295" y="249"/>
                  </a:lnTo>
                  <a:cubicBezTo>
                    <a:pt x="309" y="237"/>
                    <a:pt x="326" y="226"/>
                    <a:pt x="342" y="217"/>
                  </a:cubicBezTo>
                  <a:cubicBezTo>
                    <a:pt x="358" y="205"/>
                    <a:pt x="375" y="195"/>
                    <a:pt x="392" y="185"/>
                  </a:cubicBezTo>
                  <a:cubicBezTo>
                    <a:pt x="409" y="175"/>
                    <a:pt x="425" y="166"/>
                    <a:pt x="442" y="158"/>
                  </a:cubicBezTo>
                  <a:cubicBezTo>
                    <a:pt x="463" y="145"/>
                    <a:pt x="483" y="129"/>
                    <a:pt x="501" y="112"/>
                  </a:cubicBezTo>
                  <a:cubicBezTo>
                    <a:pt x="519" y="93"/>
                    <a:pt x="524" y="65"/>
                    <a:pt x="515" y="41"/>
                  </a:cubicBezTo>
                  <a:cubicBezTo>
                    <a:pt x="506" y="21"/>
                    <a:pt x="483" y="0"/>
                    <a:pt x="45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CUSTOM_26">
    <p:spTree>
      <p:nvGrpSpPr>
        <p:cNvPr id="1" name="Shape 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0" name="Google Shape;420;p32"/>
          <p:cNvGrpSpPr/>
          <p:nvPr/>
        </p:nvGrpSpPr>
        <p:grpSpPr>
          <a:xfrm flipH="1">
            <a:off x="-722506" y="-107073"/>
            <a:ext cx="3043012" cy="2266103"/>
            <a:chOff x="6197299" y="1156475"/>
            <a:chExt cx="384925" cy="286650"/>
          </a:xfrm>
        </p:grpSpPr>
        <p:sp>
          <p:nvSpPr>
            <p:cNvPr id="421" name="Google Shape;421;p32"/>
            <p:cNvSpPr/>
            <p:nvPr/>
          </p:nvSpPr>
          <p:spPr>
            <a:xfrm flipH="1">
              <a:off x="6197299" y="1156475"/>
              <a:ext cx="384925" cy="286650"/>
            </a:xfrm>
            <a:custGeom>
              <a:avLst/>
              <a:gdLst/>
              <a:ahLst/>
              <a:cxnLst/>
              <a:rect l="l" t="t" r="r" b="b"/>
              <a:pathLst>
                <a:path w="15397" h="11466" extrusionOk="0">
                  <a:moveTo>
                    <a:pt x="12124" y="1"/>
                  </a:moveTo>
                  <a:cubicBezTo>
                    <a:pt x="11083" y="1"/>
                    <a:pt x="10204" y="261"/>
                    <a:pt x="9468" y="1127"/>
                  </a:cubicBezTo>
                  <a:cubicBezTo>
                    <a:pt x="8392" y="2392"/>
                    <a:pt x="7694" y="3730"/>
                    <a:pt x="6351" y="4830"/>
                  </a:cubicBezTo>
                  <a:cubicBezTo>
                    <a:pt x="4727" y="6161"/>
                    <a:pt x="2801" y="7142"/>
                    <a:pt x="1077" y="8355"/>
                  </a:cubicBezTo>
                  <a:cubicBezTo>
                    <a:pt x="708" y="8615"/>
                    <a:pt x="331" y="8908"/>
                    <a:pt x="188" y="9310"/>
                  </a:cubicBezTo>
                  <a:cubicBezTo>
                    <a:pt x="1" y="9840"/>
                    <a:pt x="286" y="10436"/>
                    <a:pt x="755" y="10795"/>
                  </a:cubicBezTo>
                  <a:cubicBezTo>
                    <a:pt x="1223" y="11153"/>
                    <a:pt x="1840" y="11310"/>
                    <a:pt x="2447" y="11392"/>
                  </a:cubicBezTo>
                  <a:cubicBezTo>
                    <a:pt x="2821" y="11441"/>
                    <a:pt x="3197" y="11465"/>
                    <a:pt x="3574" y="11465"/>
                  </a:cubicBezTo>
                  <a:cubicBezTo>
                    <a:pt x="5277" y="11465"/>
                    <a:pt x="6978" y="10978"/>
                    <a:pt x="8468" y="10211"/>
                  </a:cubicBezTo>
                  <a:cubicBezTo>
                    <a:pt x="10287" y="9276"/>
                    <a:pt x="11821" y="7946"/>
                    <a:pt x="13207" y="6528"/>
                  </a:cubicBezTo>
                  <a:cubicBezTo>
                    <a:pt x="13865" y="5856"/>
                    <a:pt x="14505" y="5143"/>
                    <a:pt x="14842" y="4298"/>
                  </a:cubicBezTo>
                  <a:cubicBezTo>
                    <a:pt x="15168" y="3479"/>
                    <a:pt x="15396" y="2121"/>
                    <a:pt x="15166" y="1255"/>
                  </a:cubicBezTo>
                  <a:cubicBezTo>
                    <a:pt x="14910" y="289"/>
                    <a:pt x="14264" y="199"/>
                    <a:pt x="13244" y="78"/>
                  </a:cubicBezTo>
                  <a:cubicBezTo>
                    <a:pt x="12852" y="31"/>
                    <a:pt x="12478" y="1"/>
                    <a:pt x="1212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22" name="Google Shape;422;p32"/>
            <p:cNvSpPr/>
            <p:nvPr/>
          </p:nvSpPr>
          <p:spPr>
            <a:xfrm flipH="1">
              <a:off x="6258649" y="1313650"/>
              <a:ext cx="23475" cy="3650"/>
            </a:xfrm>
            <a:custGeom>
              <a:avLst/>
              <a:gdLst/>
              <a:ahLst/>
              <a:cxnLst/>
              <a:rect l="l" t="t" r="r" b="b"/>
              <a:pathLst>
                <a:path w="939" h="146" extrusionOk="0">
                  <a:moveTo>
                    <a:pt x="615" y="0"/>
                  </a:moveTo>
                  <a:cubicBezTo>
                    <a:pt x="569" y="0"/>
                    <a:pt x="524" y="1"/>
                    <a:pt x="478" y="1"/>
                  </a:cubicBezTo>
                  <a:lnTo>
                    <a:pt x="69" y="3"/>
                  </a:lnTo>
                  <a:cubicBezTo>
                    <a:pt x="31" y="4"/>
                    <a:pt x="0" y="34"/>
                    <a:pt x="0" y="71"/>
                  </a:cubicBezTo>
                  <a:cubicBezTo>
                    <a:pt x="1" y="109"/>
                    <a:pt x="31" y="140"/>
                    <a:pt x="69" y="141"/>
                  </a:cubicBezTo>
                  <a:lnTo>
                    <a:pt x="69" y="142"/>
                  </a:lnTo>
                  <a:lnTo>
                    <a:pt x="478" y="144"/>
                  </a:lnTo>
                  <a:cubicBezTo>
                    <a:pt x="523" y="144"/>
                    <a:pt x="568" y="145"/>
                    <a:pt x="613" y="145"/>
                  </a:cubicBezTo>
                  <a:cubicBezTo>
                    <a:pt x="635" y="145"/>
                    <a:pt x="658" y="145"/>
                    <a:pt x="680" y="144"/>
                  </a:cubicBezTo>
                  <a:lnTo>
                    <a:pt x="782" y="141"/>
                  </a:lnTo>
                  <a:lnTo>
                    <a:pt x="834" y="140"/>
                  </a:lnTo>
                  <a:cubicBezTo>
                    <a:pt x="847" y="140"/>
                    <a:pt x="860" y="139"/>
                    <a:pt x="871" y="135"/>
                  </a:cubicBezTo>
                  <a:cubicBezTo>
                    <a:pt x="882" y="131"/>
                    <a:pt x="892" y="126"/>
                    <a:pt x="902" y="121"/>
                  </a:cubicBezTo>
                  <a:cubicBezTo>
                    <a:pt x="939" y="103"/>
                    <a:pt x="939" y="42"/>
                    <a:pt x="902" y="24"/>
                  </a:cubicBezTo>
                  <a:cubicBezTo>
                    <a:pt x="892" y="18"/>
                    <a:pt x="882" y="13"/>
                    <a:pt x="871" y="9"/>
                  </a:cubicBezTo>
                  <a:cubicBezTo>
                    <a:pt x="862" y="7"/>
                    <a:pt x="851" y="5"/>
                    <a:pt x="841" y="5"/>
                  </a:cubicBezTo>
                  <a:cubicBezTo>
                    <a:pt x="839" y="5"/>
                    <a:pt x="837" y="5"/>
                    <a:pt x="834" y="5"/>
                  </a:cubicBezTo>
                  <a:lnTo>
                    <a:pt x="782" y="4"/>
                  </a:lnTo>
                  <a:lnTo>
                    <a:pt x="684" y="1"/>
                  </a:lnTo>
                  <a:cubicBezTo>
                    <a:pt x="661" y="0"/>
                    <a:pt x="638" y="0"/>
                    <a:pt x="61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23" name="Google Shape;423;p32"/>
            <p:cNvSpPr/>
            <p:nvPr/>
          </p:nvSpPr>
          <p:spPr>
            <a:xfrm flipH="1">
              <a:off x="6269124" y="1326350"/>
              <a:ext cx="9600" cy="4500"/>
            </a:xfrm>
            <a:custGeom>
              <a:avLst/>
              <a:gdLst/>
              <a:ahLst/>
              <a:cxnLst/>
              <a:rect l="l" t="t" r="r" b="b"/>
              <a:pathLst>
                <a:path w="384" h="180" extrusionOk="0">
                  <a:moveTo>
                    <a:pt x="272" y="7"/>
                  </a:moveTo>
                  <a:lnTo>
                    <a:pt x="274" y="7"/>
                  </a:lnTo>
                  <a:lnTo>
                    <a:pt x="277" y="8"/>
                  </a:lnTo>
                  <a:lnTo>
                    <a:pt x="277" y="8"/>
                  </a:lnTo>
                  <a:cubicBezTo>
                    <a:pt x="276" y="8"/>
                    <a:pt x="274" y="7"/>
                    <a:pt x="272" y="7"/>
                  </a:cubicBezTo>
                  <a:close/>
                  <a:moveTo>
                    <a:pt x="277" y="174"/>
                  </a:moveTo>
                  <a:lnTo>
                    <a:pt x="270" y="175"/>
                  </a:lnTo>
                  <a:lnTo>
                    <a:pt x="270" y="175"/>
                  </a:lnTo>
                  <a:cubicBezTo>
                    <a:pt x="271" y="174"/>
                    <a:pt x="272" y="174"/>
                    <a:pt x="273" y="174"/>
                  </a:cubicBezTo>
                  <a:close/>
                  <a:moveTo>
                    <a:pt x="172" y="1"/>
                  </a:moveTo>
                  <a:lnTo>
                    <a:pt x="88" y="2"/>
                  </a:lnTo>
                  <a:cubicBezTo>
                    <a:pt x="65" y="3"/>
                    <a:pt x="43" y="11"/>
                    <a:pt x="26" y="28"/>
                  </a:cubicBezTo>
                  <a:cubicBezTo>
                    <a:pt x="10" y="44"/>
                    <a:pt x="0" y="66"/>
                    <a:pt x="0" y="89"/>
                  </a:cubicBezTo>
                  <a:cubicBezTo>
                    <a:pt x="1" y="137"/>
                    <a:pt x="40" y="176"/>
                    <a:pt x="88" y="177"/>
                  </a:cubicBezTo>
                  <a:lnTo>
                    <a:pt x="88" y="178"/>
                  </a:lnTo>
                  <a:lnTo>
                    <a:pt x="172" y="179"/>
                  </a:lnTo>
                  <a:lnTo>
                    <a:pt x="234" y="179"/>
                  </a:lnTo>
                  <a:cubicBezTo>
                    <a:pt x="236" y="179"/>
                    <a:pt x="238" y="179"/>
                    <a:pt x="240" y="179"/>
                  </a:cubicBezTo>
                  <a:cubicBezTo>
                    <a:pt x="249" y="179"/>
                    <a:pt x="258" y="178"/>
                    <a:pt x="268" y="175"/>
                  </a:cubicBezTo>
                  <a:lnTo>
                    <a:pt x="268" y="175"/>
                  </a:lnTo>
                  <a:lnTo>
                    <a:pt x="281" y="174"/>
                  </a:lnTo>
                  <a:cubicBezTo>
                    <a:pt x="288" y="174"/>
                    <a:pt x="296" y="173"/>
                    <a:pt x="303" y="172"/>
                  </a:cubicBezTo>
                  <a:cubicBezTo>
                    <a:pt x="322" y="170"/>
                    <a:pt x="339" y="161"/>
                    <a:pt x="353" y="146"/>
                  </a:cubicBezTo>
                  <a:cubicBezTo>
                    <a:pt x="383" y="116"/>
                    <a:pt x="383" y="65"/>
                    <a:pt x="353" y="34"/>
                  </a:cubicBezTo>
                  <a:cubicBezTo>
                    <a:pt x="341" y="23"/>
                    <a:pt x="328" y="16"/>
                    <a:pt x="314" y="10"/>
                  </a:cubicBezTo>
                  <a:cubicBezTo>
                    <a:pt x="303" y="8"/>
                    <a:pt x="292" y="7"/>
                    <a:pt x="281" y="7"/>
                  </a:cubicBezTo>
                  <a:lnTo>
                    <a:pt x="273" y="6"/>
                  </a:lnTo>
                  <a:lnTo>
                    <a:pt x="272" y="6"/>
                  </a:lnTo>
                  <a:lnTo>
                    <a:pt x="273" y="6"/>
                  </a:lnTo>
                  <a:lnTo>
                    <a:pt x="270" y="6"/>
                  </a:lnTo>
                  <a:lnTo>
                    <a:pt x="270" y="6"/>
                  </a:lnTo>
                  <a:cubicBezTo>
                    <a:pt x="259" y="3"/>
                    <a:pt x="248" y="1"/>
                    <a:pt x="23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24" name="Google Shape;424;p32"/>
            <p:cNvSpPr/>
            <p:nvPr/>
          </p:nvSpPr>
          <p:spPr>
            <a:xfrm flipH="1">
              <a:off x="6480524" y="1355175"/>
              <a:ext cx="16250" cy="4200"/>
            </a:xfrm>
            <a:custGeom>
              <a:avLst/>
              <a:gdLst/>
              <a:ahLst/>
              <a:cxnLst/>
              <a:rect l="l" t="t" r="r" b="b"/>
              <a:pathLst>
                <a:path w="650" h="168" extrusionOk="0">
                  <a:moveTo>
                    <a:pt x="334" y="0"/>
                  </a:moveTo>
                  <a:lnTo>
                    <a:pt x="84" y="2"/>
                  </a:lnTo>
                  <a:cubicBezTo>
                    <a:pt x="41" y="2"/>
                    <a:pt x="0" y="39"/>
                    <a:pt x="2" y="84"/>
                  </a:cubicBezTo>
                  <a:cubicBezTo>
                    <a:pt x="3" y="129"/>
                    <a:pt x="39" y="165"/>
                    <a:pt x="84" y="166"/>
                  </a:cubicBezTo>
                  <a:lnTo>
                    <a:pt x="84" y="165"/>
                  </a:lnTo>
                  <a:lnTo>
                    <a:pt x="334" y="167"/>
                  </a:lnTo>
                  <a:lnTo>
                    <a:pt x="459" y="167"/>
                  </a:lnTo>
                  <a:cubicBezTo>
                    <a:pt x="463" y="167"/>
                    <a:pt x="467" y="167"/>
                    <a:pt x="471" y="167"/>
                  </a:cubicBezTo>
                  <a:cubicBezTo>
                    <a:pt x="492" y="167"/>
                    <a:pt x="513" y="165"/>
                    <a:pt x="535" y="159"/>
                  </a:cubicBezTo>
                  <a:cubicBezTo>
                    <a:pt x="555" y="154"/>
                    <a:pt x="575" y="147"/>
                    <a:pt x="595" y="139"/>
                  </a:cubicBezTo>
                  <a:cubicBezTo>
                    <a:pt x="649" y="123"/>
                    <a:pt x="649" y="45"/>
                    <a:pt x="595" y="28"/>
                  </a:cubicBezTo>
                  <a:lnTo>
                    <a:pt x="538" y="9"/>
                  </a:lnTo>
                  <a:cubicBezTo>
                    <a:pt x="518" y="4"/>
                    <a:pt x="498" y="1"/>
                    <a:pt x="478" y="1"/>
                  </a:cubicBezTo>
                  <a:cubicBezTo>
                    <a:pt x="472" y="1"/>
                    <a:pt x="467" y="1"/>
                    <a:pt x="462" y="1"/>
                  </a:cubicBezTo>
                  <a:cubicBezTo>
                    <a:pt x="420" y="0"/>
                    <a:pt x="377" y="0"/>
                    <a:pt x="33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25" name="Google Shape;425;p32"/>
            <p:cNvSpPr/>
            <p:nvPr/>
          </p:nvSpPr>
          <p:spPr>
            <a:xfrm flipH="1">
              <a:off x="6472524" y="1363500"/>
              <a:ext cx="9700" cy="4550"/>
            </a:xfrm>
            <a:custGeom>
              <a:avLst/>
              <a:gdLst/>
              <a:ahLst/>
              <a:cxnLst/>
              <a:rect l="l" t="t" r="r" b="b"/>
              <a:pathLst>
                <a:path w="388" h="182" extrusionOk="0">
                  <a:moveTo>
                    <a:pt x="90" y="0"/>
                  </a:moveTo>
                  <a:cubicBezTo>
                    <a:pt x="40" y="1"/>
                    <a:pt x="0" y="42"/>
                    <a:pt x="0" y="91"/>
                  </a:cubicBezTo>
                  <a:cubicBezTo>
                    <a:pt x="1" y="141"/>
                    <a:pt x="40" y="181"/>
                    <a:pt x="90" y="182"/>
                  </a:cubicBezTo>
                  <a:lnTo>
                    <a:pt x="90" y="181"/>
                  </a:lnTo>
                  <a:lnTo>
                    <a:pt x="160" y="180"/>
                  </a:lnTo>
                  <a:lnTo>
                    <a:pt x="197" y="180"/>
                  </a:lnTo>
                  <a:cubicBezTo>
                    <a:pt x="208" y="180"/>
                    <a:pt x="219" y="178"/>
                    <a:pt x="230" y="174"/>
                  </a:cubicBezTo>
                  <a:cubicBezTo>
                    <a:pt x="236" y="172"/>
                    <a:pt x="241" y="170"/>
                    <a:pt x="248" y="168"/>
                  </a:cubicBezTo>
                  <a:cubicBezTo>
                    <a:pt x="294" y="154"/>
                    <a:pt x="388" y="161"/>
                    <a:pt x="388" y="91"/>
                  </a:cubicBezTo>
                  <a:cubicBezTo>
                    <a:pt x="387" y="64"/>
                    <a:pt x="369" y="42"/>
                    <a:pt x="344" y="33"/>
                  </a:cubicBezTo>
                  <a:cubicBezTo>
                    <a:pt x="333" y="30"/>
                    <a:pt x="323" y="27"/>
                    <a:pt x="312" y="26"/>
                  </a:cubicBezTo>
                  <a:cubicBezTo>
                    <a:pt x="290" y="23"/>
                    <a:pt x="269" y="18"/>
                    <a:pt x="248" y="13"/>
                  </a:cubicBezTo>
                  <a:cubicBezTo>
                    <a:pt x="241" y="11"/>
                    <a:pt x="236" y="9"/>
                    <a:pt x="230" y="7"/>
                  </a:cubicBezTo>
                  <a:cubicBezTo>
                    <a:pt x="219" y="4"/>
                    <a:pt x="208" y="1"/>
                    <a:pt x="197" y="1"/>
                  </a:cubicBezTo>
                  <a:lnTo>
                    <a:pt x="162" y="1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26" name="Google Shape;426;p32"/>
            <p:cNvSpPr/>
            <p:nvPr/>
          </p:nvSpPr>
          <p:spPr>
            <a:xfrm flipH="1">
              <a:off x="6345349" y="1221025"/>
              <a:ext cx="15625" cy="4950"/>
            </a:xfrm>
            <a:custGeom>
              <a:avLst/>
              <a:gdLst/>
              <a:ahLst/>
              <a:cxnLst/>
              <a:rect l="l" t="t" r="r" b="b"/>
              <a:pathLst>
                <a:path w="625" h="198" extrusionOk="0">
                  <a:moveTo>
                    <a:pt x="467" y="45"/>
                  </a:moveTo>
                  <a:cubicBezTo>
                    <a:pt x="469" y="46"/>
                    <a:pt x="471" y="47"/>
                    <a:pt x="473" y="47"/>
                  </a:cubicBezTo>
                  <a:cubicBezTo>
                    <a:pt x="470" y="46"/>
                    <a:pt x="468" y="45"/>
                    <a:pt x="467" y="45"/>
                  </a:cubicBezTo>
                  <a:close/>
                  <a:moveTo>
                    <a:pt x="388" y="179"/>
                  </a:moveTo>
                  <a:lnTo>
                    <a:pt x="388" y="179"/>
                  </a:lnTo>
                  <a:cubicBezTo>
                    <a:pt x="388" y="179"/>
                    <a:pt x="389" y="179"/>
                    <a:pt x="391" y="180"/>
                  </a:cubicBezTo>
                  <a:lnTo>
                    <a:pt x="391" y="180"/>
                  </a:lnTo>
                  <a:cubicBezTo>
                    <a:pt x="389" y="179"/>
                    <a:pt x="388" y="179"/>
                    <a:pt x="388" y="179"/>
                  </a:cubicBezTo>
                  <a:close/>
                  <a:moveTo>
                    <a:pt x="235" y="1"/>
                  </a:moveTo>
                  <a:cubicBezTo>
                    <a:pt x="230" y="1"/>
                    <a:pt x="224" y="1"/>
                    <a:pt x="218" y="1"/>
                  </a:cubicBezTo>
                  <a:cubicBezTo>
                    <a:pt x="171" y="3"/>
                    <a:pt x="122" y="8"/>
                    <a:pt x="76" y="17"/>
                  </a:cubicBezTo>
                  <a:cubicBezTo>
                    <a:pt x="30" y="25"/>
                    <a:pt x="1" y="82"/>
                    <a:pt x="15" y="124"/>
                  </a:cubicBezTo>
                  <a:cubicBezTo>
                    <a:pt x="26" y="162"/>
                    <a:pt x="62" y="188"/>
                    <a:pt x="101" y="188"/>
                  </a:cubicBezTo>
                  <a:cubicBezTo>
                    <a:pt x="108" y="188"/>
                    <a:pt x="115" y="187"/>
                    <a:pt x="122" y="185"/>
                  </a:cubicBezTo>
                  <a:lnTo>
                    <a:pt x="122" y="184"/>
                  </a:lnTo>
                  <a:cubicBezTo>
                    <a:pt x="132" y="182"/>
                    <a:pt x="141" y="180"/>
                    <a:pt x="151" y="179"/>
                  </a:cubicBezTo>
                  <a:cubicBezTo>
                    <a:pt x="151" y="179"/>
                    <a:pt x="152" y="179"/>
                    <a:pt x="154" y="179"/>
                  </a:cubicBezTo>
                  <a:lnTo>
                    <a:pt x="154" y="179"/>
                  </a:lnTo>
                  <a:cubicBezTo>
                    <a:pt x="157" y="178"/>
                    <a:pt x="161" y="178"/>
                    <a:pt x="162" y="178"/>
                  </a:cubicBezTo>
                  <a:cubicBezTo>
                    <a:pt x="182" y="176"/>
                    <a:pt x="201" y="175"/>
                    <a:pt x="221" y="174"/>
                  </a:cubicBezTo>
                  <a:cubicBezTo>
                    <a:pt x="237" y="173"/>
                    <a:pt x="254" y="173"/>
                    <a:pt x="270" y="173"/>
                  </a:cubicBezTo>
                  <a:cubicBezTo>
                    <a:pt x="293" y="173"/>
                    <a:pt x="316" y="174"/>
                    <a:pt x="338" y="175"/>
                  </a:cubicBezTo>
                  <a:cubicBezTo>
                    <a:pt x="356" y="176"/>
                    <a:pt x="375" y="180"/>
                    <a:pt x="393" y="180"/>
                  </a:cubicBezTo>
                  <a:lnTo>
                    <a:pt x="393" y="180"/>
                  </a:lnTo>
                  <a:cubicBezTo>
                    <a:pt x="393" y="180"/>
                    <a:pt x="393" y="180"/>
                    <a:pt x="393" y="180"/>
                  </a:cubicBezTo>
                  <a:cubicBezTo>
                    <a:pt x="401" y="182"/>
                    <a:pt x="409" y="183"/>
                    <a:pt x="417" y="183"/>
                  </a:cubicBezTo>
                  <a:cubicBezTo>
                    <a:pt x="420" y="183"/>
                    <a:pt x="423" y="182"/>
                    <a:pt x="426" y="182"/>
                  </a:cubicBezTo>
                  <a:cubicBezTo>
                    <a:pt x="429" y="182"/>
                    <a:pt x="433" y="181"/>
                    <a:pt x="436" y="181"/>
                  </a:cubicBezTo>
                  <a:cubicBezTo>
                    <a:pt x="431" y="180"/>
                    <a:pt x="429" y="180"/>
                    <a:pt x="429" y="180"/>
                  </a:cubicBezTo>
                  <a:lnTo>
                    <a:pt x="429" y="180"/>
                  </a:lnTo>
                  <a:cubicBezTo>
                    <a:pt x="430" y="180"/>
                    <a:pt x="431" y="180"/>
                    <a:pt x="432" y="180"/>
                  </a:cubicBezTo>
                  <a:lnTo>
                    <a:pt x="438" y="181"/>
                  </a:lnTo>
                  <a:cubicBezTo>
                    <a:pt x="462" y="185"/>
                    <a:pt x="484" y="191"/>
                    <a:pt x="507" y="193"/>
                  </a:cubicBezTo>
                  <a:cubicBezTo>
                    <a:pt x="527" y="194"/>
                    <a:pt x="546" y="195"/>
                    <a:pt x="565" y="197"/>
                  </a:cubicBezTo>
                  <a:cubicBezTo>
                    <a:pt x="566" y="197"/>
                    <a:pt x="568" y="197"/>
                    <a:pt x="569" y="197"/>
                  </a:cubicBezTo>
                  <a:cubicBezTo>
                    <a:pt x="604" y="197"/>
                    <a:pt x="624" y="143"/>
                    <a:pt x="597" y="120"/>
                  </a:cubicBezTo>
                  <a:cubicBezTo>
                    <a:pt x="579" y="105"/>
                    <a:pt x="561" y="90"/>
                    <a:pt x="541" y="78"/>
                  </a:cubicBezTo>
                  <a:cubicBezTo>
                    <a:pt x="522" y="65"/>
                    <a:pt x="500" y="56"/>
                    <a:pt x="477" y="49"/>
                  </a:cubicBezTo>
                  <a:lnTo>
                    <a:pt x="469" y="46"/>
                  </a:lnTo>
                  <a:cubicBezTo>
                    <a:pt x="467" y="45"/>
                    <a:pt x="466" y="45"/>
                    <a:pt x="467" y="45"/>
                  </a:cubicBezTo>
                  <a:lnTo>
                    <a:pt x="467" y="45"/>
                  </a:lnTo>
                  <a:cubicBezTo>
                    <a:pt x="467" y="45"/>
                    <a:pt x="467" y="45"/>
                    <a:pt x="467" y="45"/>
                  </a:cubicBezTo>
                  <a:lnTo>
                    <a:pt x="467" y="45"/>
                  </a:lnTo>
                  <a:cubicBezTo>
                    <a:pt x="465" y="43"/>
                    <a:pt x="462" y="41"/>
                    <a:pt x="461" y="40"/>
                  </a:cubicBezTo>
                  <a:cubicBezTo>
                    <a:pt x="448" y="32"/>
                    <a:pt x="433" y="27"/>
                    <a:pt x="417" y="24"/>
                  </a:cubicBezTo>
                  <a:cubicBezTo>
                    <a:pt x="398" y="19"/>
                    <a:pt x="378" y="14"/>
                    <a:pt x="357" y="11"/>
                  </a:cubicBezTo>
                  <a:cubicBezTo>
                    <a:pt x="318" y="4"/>
                    <a:pt x="276" y="1"/>
                    <a:pt x="23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427" name="Google Shape;427;p32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 1">
  <p:cSld name="CUSTOM_6">
    <p:spTree>
      <p:nvGrpSpPr>
        <p:cNvPr id="1" name="Shape 4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" name="Google Shape;429;p33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30" name="Google Shape;430;p33"/>
          <p:cNvSpPr txBox="1">
            <a:spLocks noGrp="1"/>
          </p:cNvSpPr>
          <p:nvPr>
            <p:ph type="ctrTitle" idx="2"/>
          </p:nvPr>
        </p:nvSpPr>
        <p:spPr>
          <a:xfrm>
            <a:off x="1629517" y="2543471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31" name="Google Shape;431;p33"/>
          <p:cNvSpPr txBox="1">
            <a:spLocks noGrp="1"/>
          </p:cNvSpPr>
          <p:nvPr>
            <p:ph type="subTitle" idx="1"/>
          </p:nvPr>
        </p:nvSpPr>
        <p:spPr>
          <a:xfrm>
            <a:off x="1629551" y="2982192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2" name="Google Shape;432;p33"/>
          <p:cNvSpPr txBox="1">
            <a:spLocks noGrp="1"/>
          </p:cNvSpPr>
          <p:nvPr>
            <p:ph type="ctrTitle" idx="3"/>
          </p:nvPr>
        </p:nvSpPr>
        <p:spPr>
          <a:xfrm>
            <a:off x="4824913" y="2540000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33" name="Google Shape;433;p33"/>
          <p:cNvSpPr txBox="1">
            <a:spLocks noGrp="1"/>
          </p:cNvSpPr>
          <p:nvPr>
            <p:ph type="subTitle" idx="4"/>
          </p:nvPr>
        </p:nvSpPr>
        <p:spPr>
          <a:xfrm>
            <a:off x="4824932" y="29736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4" name="Google Shape;434;p33"/>
          <p:cNvSpPr txBox="1">
            <a:spLocks noGrp="1"/>
          </p:cNvSpPr>
          <p:nvPr>
            <p:ph type="ctrTitle" idx="5"/>
          </p:nvPr>
        </p:nvSpPr>
        <p:spPr>
          <a:xfrm>
            <a:off x="8020311" y="2540025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35" name="Google Shape;435;p33"/>
          <p:cNvSpPr txBox="1">
            <a:spLocks noGrp="1"/>
          </p:cNvSpPr>
          <p:nvPr>
            <p:ph type="subTitle" idx="6"/>
          </p:nvPr>
        </p:nvSpPr>
        <p:spPr>
          <a:xfrm>
            <a:off x="8020484" y="29736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6" name="Google Shape;436;p33"/>
          <p:cNvSpPr txBox="1">
            <a:spLocks noGrp="1"/>
          </p:cNvSpPr>
          <p:nvPr>
            <p:ph type="ctrTitle" idx="7"/>
          </p:nvPr>
        </p:nvSpPr>
        <p:spPr>
          <a:xfrm>
            <a:off x="1629517" y="4651671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37" name="Google Shape;437;p33"/>
          <p:cNvSpPr txBox="1">
            <a:spLocks noGrp="1"/>
          </p:cNvSpPr>
          <p:nvPr>
            <p:ph type="subTitle" idx="8"/>
          </p:nvPr>
        </p:nvSpPr>
        <p:spPr>
          <a:xfrm>
            <a:off x="1629551" y="5090392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8" name="Google Shape;438;p33"/>
          <p:cNvSpPr txBox="1">
            <a:spLocks noGrp="1"/>
          </p:cNvSpPr>
          <p:nvPr>
            <p:ph type="ctrTitle" idx="9"/>
          </p:nvPr>
        </p:nvSpPr>
        <p:spPr>
          <a:xfrm>
            <a:off x="4824913" y="4648200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39" name="Google Shape;439;p33"/>
          <p:cNvSpPr txBox="1">
            <a:spLocks noGrp="1"/>
          </p:cNvSpPr>
          <p:nvPr>
            <p:ph type="subTitle" idx="13"/>
          </p:nvPr>
        </p:nvSpPr>
        <p:spPr>
          <a:xfrm>
            <a:off x="4824932" y="50818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0" name="Google Shape;440;p33"/>
          <p:cNvSpPr txBox="1">
            <a:spLocks noGrp="1"/>
          </p:cNvSpPr>
          <p:nvPr>
            <p:ph type="ctrTitle" idx="14"/>
          </p:nvPr>
        </p:nvSpPr>
        <p:spPr>
          <a:xfrm>
            <a:off x="8020311" y="4648225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41" name="Google Shape;441;p33"/>
          <p:cNvSpPr txBox="1">
            <a:spLocks noGrp="1"/>
          </p:cNvSpPr>
          <p:nvPr>
            <p:ph type="subTitle" idx="15"/>
          </p:nvPr>
        </p:nvSpPr>
        <p:spPr>
          <a:xfrm>
            <a:off x="8020484" y="50818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 2">
  <p:cSld name="CUSTOM_6_1">
    <p:spTree>
      <p:nvGrpSpPr>
        <p:cNvPr id="1" name="Shape 4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3" name="Google Shape;443;p34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44" name="Google Shape;444;p34"/>
          <p:cNvSpPr txBox="1">
            <a:spLocks noGrp="1"/>
          </p:cNvSpPr>
          <p:nvPr>
            <p:ph type="ctrTitle" idx="2"/>
          </p:nvPr>
        </p:nvSpPr>
        <p:spPr>
          <a:xfrm>
            <a:off x="4953533" y="2015271"/>
            <a:ext cx="27816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45" name="Google Shape;445;p34"/>
          <p:cNvSpPr txBox="1">
            <a:spLocks noGrp="1"/>
          </p:cNvSpPr>
          <p:nvPr>
            <p:ph type="subTitle" idx="1"/>
          </p:nvPr>
        </p:nvSpPr>
        <p:spPr>
          <a:xfrm>
            <a:off x="4953565" y="2452393"/>
            <a:ext cx="2781600" cy="7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6" name="Google Shape;446;p34"/>
          <p:cNvSpPr txBox="1">
            <a:spLocks noGrp="1"/>
          </p:cNvSpPr>
          <p:nvPr>
            <p:ph type="ctrTitle" idx="3"/>
          </p:nvPr>
        </p:nvSpPr>
        <p:spPr>
          <a:xfrm>
            <a:off x="8450361" y="2011800"/>
            <a:ext cx="27816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47" name="Google Shape;447;p34"/>
          <p:cNvSpPr txBox="1">
            <a:spLocks noGrp="1"/>
          </p:cNvSpPr>
          <p:nvPr>
            <p:ph type="subTitle" idx="4"/>
          </p:nvPr>
        </p:nvSpPr>
        <p:spPr>
          <a:xfrm>
            <a:off x="8450361" y="2445400"/>
            <a:ext cx="2781600" cy="7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8" name="Google Shape;448;p34"/>
          <p:cNvSpPr txBox="1">
            <a:spLocks noGrp="1"/>
          </p:cNvSpPr>
          <p:nvPr>
            <p:ph type="ctrTitle" idx="5"/>
          </p:nvPr>
        </p:nvSpPr>
        <p:spPr>
          <a:xfrm>
            <a:off x="8450361" y="4879465"/>
            <a:ext cx="27816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49" name="Google Shape;449;p34"/>
          <p:cNvSpPr txBox="1">
            <a:spLocks noGrp="1"/>
          </p:cNvSpPr>
          <p:nvPr>
            <p:ph type="subTitle" idx="6"/>
          </p:nvPr>
        </p:nvSpPr>
        <p:spPr>
          <a:xfrm>
            <a:off x="8450361" y="5313033"/>
            <a:ext cx="2781600" cy="75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0" name="Google Shape;450;p34"/>
          <p:cNvSpPr txBox="1">
            <a:spLocks noGrp="1"/>
          </p:cNvSpPr>
          <p:nvPr>
            <p:ph type="ctrTitle" idx="7"/>
          </p:nvPr>
        </p:nvSpPr>
        <p:spPr>
          <a:xfrm>
            <a:off x="4953533" y="3447375"/>
            <a:ext cx="27816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51" name="Google Shape;451;p34"/>
          <p:cNvSpPr txBox="1">
            <a:spLocks noGrp="1"/>
          </p:cNvSpPr>
          <p:nvPr>
            <p:ph type="subTitle" idx="8"/>
          </p:nvPr>
        </p:nvSpPr>
        <p:spPr>
          <a:xfrm>
            <a:off x="4953565" y="3884431"/>
            <a:ext cx="2781600" cy="75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2" name="Google Shape;452;p34"/>
          <p:cNvSpPr txBox="1">
            <a:spLocks noGrp="1"/>
          </p:cNvSpPr>
          <p:nvPr>
            <p:ph type="ctrTitle" idx="9"/>
          </p:nvPr>
        </p:nvSpPr>
        <p:spPr>
          <a:xfrm>
            <a:off x="8450361" y="3443904"/>
            <a:ext cx="27816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53" name="Google Shape;453;p34"/>
          <p:cNvSpPr txBox="1">
            <a:spLocks noGrp="1"/>
          </p:cNvSpPr>
          <p:nvPr>
            <p:ph type="subTitle" idx="13"/>
          </p:nvPr>
        </p:nvSpPr>
        <p:spPr>
          <a:xfrm>
            <a:off x="8450361" y="3882617"/>
            <a:ext cx="2781600" cy="75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4" name="Google Shape;454;p34"/>
          <p:cNvSpPr txBox="1">
            <a:spLocks noGrp="1"/>
          </p:cNvSpPr>
          <p:nvPr>
            <p:ph type="ctrTitle" idx="14"/>
          </p:nvPr>
        </p:nvSpPr>
        <p:spPr>
          <a:xfrm>
            <a:off x="4953535" y="4879465"/>
            <a:ext cx="27816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55" name="Google Shape;455;p34"/>
          <p:cNvSpPr txBox="1">
            <a:spLocks noGrp="1"/>
          </p:cNvSpPr>
          <p:nvPr>
            <p:ph type="subTitle" idx="15"/>
          </p:nvPr>
        </p:nvSpPr>
        <p:spPr>
          <a:xfrm>
            <a:off x="4953725" y="5313033"/>
            <a:ext cx="2781600" cy="75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56" name="Google Shape;456;p34"/>
          <p:cNvGrpSpPr/>
          <p:nvPr/>
        </p:nvGrpSpPr>
        <p:grpSpPr>
          <a:xfrm>
            <a:off x="-1632836" y="793756"/>
            <a:ext cx="5621144" cy="7620963"/>
            <a:chOff x="5520025" y="2962325"/>
            <a:chExt cx="629900" cy="952525"/>
          </a:xfrm>
        </p:grpSpPr>
        <p:sp>
          <p:nvSpPr>
            <p:cNvPr id="457" name="Google Shape;457;p34"/>
            <p:cNvSpPr/>
            <p:nvPr/>
          </p:nvSpPr>
          <p:spPr>
            <a:xfrm>
              <a:off x="5520025" y="2962325"/>
              <a:ext cx="629900" cy="952525"/>
            </a:xfrm>
            <a:custGeom>
              <a:avLst/>
              <a:gdLst/>
              <a:ahLst/>
              <a:cxnLst/>
              <a:rect l="l" t="t" r="r" b="b"/>
              <a:pathLst>
                <a:path w="25196" h="38101" extrusionOk="0">
                  <a:moveTo>
                    <a:pt x="5812" y="0"/>
                  </a:moveTo>
                  <a:cubicBezTo>
                    <a:pt x="5344" y="0"/>
                    <a:pt x="4892" y="201"/>
                    <a:pt x="4483" y="705"/>
                  </a:cubicBezTo>
                  <a:cubicBezTo>
                    <a:pt x="3787" y="1563"/>
                    <a:pt x="4286" y="2585"/>
                    <a:pt x="4828" y="3371"/>
                  </a:cubicBezTo>
                  <a:cubicBezTo>
                    <a:pt x="5386" y="4183"/>
                    <a:pt x="5945" y="5036"/>
                    <a:pt x="6574" y="5809"/>
                  </a:cubicBezTo>
                  <a:cubicBezTo>
                    <a:pt x="7955" y="7509"/>
                    <a:pt x="9626" y="8948"/>
                    <a:pt x="11347" y="10292"/>
                  </a:cubicBezTo>
                  <a:cubicBezTo>
                    <a:pt x="13363" y="11867"/>
                    <a:pt x="15431" y="13351"/>
                    <a:pt x="17346" y="15048"/>
                  </a:cubicBezTo>
                  <a:cubicBezTo>
                    <a:pt x="17988" y="15616"/>
                    <a:pt x="18591" y="16258"/>
                    <a:pt x="18944" y="17040"/>
                  </a:cubicBezTo>
                  <a:cubicBezTo>
                    <a:pt x="20022" y="19419"/>
                    <a:pt x="17645" y="21228"/>
                    <a:pt x="15802" y="22191"/>
                  </a:cubicBezTo>
                  <a:cubicBezTo>
                    <a:pt x="13859" y="23206"/>
                    <a:pt x="11673" y="23812"/>
                    <a:pt x="9948" y="25213"/>
                  </a:cubicBezTo>
                  <a:cubicBezTo>
                    <a:pt x="8232" y="26605"/>
                    <a:pt x="7306" y="28698"/>
                    <a:pt x="5668" y="30165"/>
                  </a:cubicBezTo>
                  <a:cubicBezTo>
                    <a:pt x="4509" y="31202"/>
                    <a:pt x="3221" y="32113"/>
                    <a:pt x="2271" y="33358"/>
                  </a:cubicBezTo>
                  <a:cubicBezTo>
                    <a:pt x="1538" y="34318"/>
                    <a:pt x="946" y="35376"/>
                    <a:pt x="510" y="36501"/>
                  </a:cubicBezTo>
                  <a:cubicBezTo>
                    <a:pt x="237" y="37208"/>
                    <a:pt x="0" y="37469"/>
                    <a:pt x="756" y="37764"/>
                  </a:cubicBezTo>
                  <a:cubicBezTo>
                    <a:pt x="1265" y="37962"/>
                    <a:pt x="1847" y="38051"/>
                    <a:pt x="2389" y="38087"/>
                  </a:cubicBezTo>
                  <a:cubicBezTo>
                    <a:pt x="2525" y="38096"/>
                    <a:pt x="2660" y="38101"/>
                    <a:pt x="2795" y="38101"/>
                  </a:cubicBezTo>
                  <a:cubicBezTo>
                    <a:pt x="4845" y="38101"/>
                    <a:pt x="6742" y="37061"/>
                    <a:pt x="8009" y="35453"/>
                  </a:cubicBezTo>
                  <a:cubicBezTo>
                    <a:pt x="9470" y="33600"/>
                    <a:pt x="10444" y="31431"/>
                    <a:pt x="12016" y="29660"/>
                  </a:cubicBezTo>
                  <a:cubicBezTo>
                    <a:pt x="13514" y="27972"/>
                    <a:pt x="15404" y="26592"/>
                    <a:pt x="17588" y="25956"/>
                  </a:cubicBezTo>
                  <a:cubicBezTo>
                    <a:pt x="19093" y="25519"/>
                    <a:pt x="20733" y="25422"/>
                    <a:pt x="22064" y="24596"/>
                  </a:cubicBezTo>
                  <a:cubicBezTo>
                    <a:pt x="23832" y="23496"/>
                    <a:pt x="25195" y="20833"/>
                    <a:pt x="24924" y="18739"/>
                  </a:cubicBezTo>
                  <a:cubicBezTo>
                    <a:pt x="24895" y="18519"/>
                    <a:pt x="24843" y="18303"/>
                    <a:pt x="24770" y="18093"/>
                  </a:cubicBezTo>
                  <a:cubicBezTo>
                    <a:pt x="24369" y="16934"/>
                    <a:pt x="23381" y="16034"/>
                    <a:pt x="22715" y="15024"/>
                  </a:cubicBezTo>
                  <a:cubicBezTo>
                    <a:pt x="21793" y="13625"/>
                    <a:pt x="21507" y="12047"/>
                    <a:pt x="20093" y="10952"/>
                  </a:cubicBezTo>
                  <a:cubicBezTo>
                    <a:pt x="18196" y="9483"/>
                    <a:pt x="15835" y="8737"/>
                    <a:pt x="14018" y="7149"/>
                  </a:cubicBezTo>
                  <a:cubicBezTo>
                    <a:pt x="12485" y="5809"/>
                    <a:pt x="11302" y="4107"/>
                    <a:pt x="9779" y="2751"/>
                  </a:cubicBezTo>
                  <a:cubicBezTo>
                    <a:pt x="8876" y="1948"/>
                    <a:pt x="7269" y="0"/>
                    <a:pt x="581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58" name="Google Shape;458;p34"/>
            <p:cNvSpPr/>
            <p:nvPr/>
          </p:nvSpPr>
          <p:spPr>
            <a:xfrm>
              <a:off x="5963400" y="3223675"/>
              <a:ext cx="15725" cy="3900"/>
            </a:xfrm>
            <a:custGeom>
              <a:avLst/>
              <a:gdLst/>
              <a:ahLst/>
              <a:cxnLst/>
              <a:rect l="l" t="t" r="r" b="b"/>
              <a:pathLst>
                <a:path w="629" h="156" extrusionOk="0">
                  <a:moveTo>
                    <a:pt x="430" y="9"/>
                  </a:moveTo>
                  <a:cubicBezTo>
                    <a:pt x="430" y="9"/>
                    <a:pt x="431" y="9"/>
                    <a:pt x="433" y="9"/>
                  </a:cubicBezTo>
                  <a:lnTo>
                    <a:pt x="433" y="9"/>
                  </a:lnTo>
                  <a:cubicBezTo>
                    <a:pt x="431" y="9"/>
                    <a:pt x="430" y="9"/>
                    <a:pt x="430" y="9"/>
                  </a:cubicBezTo>
                  <a:close/>
                  <a:moveTo>
                    <a:pt x="435" y="146"/>
                  </a:moveTo>
                  <a:cubicBezTo>
                    <a:pt x="435" y="146"/>
                    <a:pt x="434" y="146"/>
                    <a:pt x="433" y="147"/>
                  </a:cubicBezTo>
                  <a:lnTo>
                    <a:pt x="433" y="147"/>
                  </a:lnTo>
                  <a:cubicBezTo>
                    <a:pt x="434" y="146"/>
                    <a:pt x="434" y="146"/>
                    <a:pt x="435" y="146"/>
                  </a:cubicBezTo>
                  <a:close/>
                  <a:moveTo>
                    <a:pt x="78" y="0"/>
                  </a:moveTo>
                  <a:cubicBezTo>
                    <a:pt x="35" y="0"/>
                    <a:pt x="1" y="35"/>
                    <a:pt x="1" y="78"/>
                  </a:cubicBezTo>
                  <a:cubicBezTo>
                    <a:pt x="1" y="120"/>
                    <a:pt x="35" y="155"/>
                    <a:pt x="78" y="155"/>
                  </a:cubicBezTo>
                  <a:lnTo>
                    <a:pt x="328" y="155"/>
                  </a:lnTo>
                  <a:cubicBezTo>
                    <a:pt x="332" y="155"/>
                    <a:pt x="337" y="155"/>
                    <a:pt x="341" y="155"/>
                  </a:cubicBezTo>
                  <a:cubicBezTo>
                    <a:pt x="362" y="155"/>
                    <a:pt x="383" y="154"/>
                    <a:pt x="404" y="151"/>
                  </a:cubicBezTo>
                  <a:lnTo>
                    <a:pt x="432" y="147"/>
                  </a:lnTo>
                  <a:lnTo>
                    <a:pt x="435" y="147"/>
                  </a:lnTo>
                  <a:cubicBezTo>
                    <a:pt x="441" y="147"/>
                    <a:pt x="447" y="146"/>
                    <a:pt x="452" y="146"/>
                  </a:cubicBezTo>
                  <a:cubicBezTo>
                    <a:pt x="475" y="145"/>
                    <a:pt x="500" y="143"/>
                    <a:pt x="524" y="137"/>
                  </a:cubicBezTo>
                  <a:cubicBezTo>
                    <a:pt x="544" y="133"/>
                    <a:pt x="564" y="128"/>
                    <a:pt x="585" y="122"/>
                  </a:cubicBezTo>
                  <a:cubicBezTo>
                    <a:pt x="628" y="109"/>
                    <a:pt x="628" y="48"/>
                    <a:pt x="585" y="34"/>
                  </a:cubicBezTo>
                  <a:lnTo>
                    <a:pt x="527" y="19"/>
                  </a:lnTo>
                  <a:cubicBezTo>
                    <a:pt x="503" y="14"/>
                    <a:pt x="480" y="12"/>
                    <a:pt x="455" y="11"/>
                  </a:cubicBezTo>
                  <a:lnTo>
                    <a:pt x="438" y="10"/>
                  </a:lnTo>
                  <a:cubicBezTo>
                    <a:pt x="437" y="10"/>
                    <a:pt x="435" y="10"/>
                    <a:pt x="433" y="9"/>
                  </a:cubicBezTo>
                  <a:lnTo>
                    <a:pt x="433" y="9"/>
                  </a:lnTo>
                  <a:cubicBezTo>
                    <a:pt x="423" y="8"/>
                    <a:pt x="414" y="6"/>
                    <a:pt x="404" y="4"/>
                  </a:cubicBezTo>
                  <a:cubicBezTo>
                    <a:pt x="378" y="1"/>
                    <a:pt x="353" y="0"/>
                    <a:pt x="32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59" name="Google Shape;459;p34"/>
            <p:cNvSpPr/>
            <p:nvPr/>
          </p:nvSpPr>
          <p:spPr>
            <a:xfrm>
              <a:off x="5710550" y="3111200"/>
              <a:ext cx="14425" cy="4025"/>
            </a:xfrm>
            <a:custGeom>
              <a:avLst/>
              <a:gdLst/>
              <a:ahLst/>
              <a:cxnLst/>
              <a:rect l="l" t="t" r="r" b="b"/>
              <a:pathLst>
                <a:path w="577" h="161" extrusionOk="0">
                  <a:moveTo>
                    <a:pt x="80" y="0"/>
                  </a:moveTo>
                  <a:cubicBezTo>
                    <a:pt x="37" y="0"/>
                    <a:pt x="1" y="36"/>
                    <a:pt x="1" y="81"/>
                  </a:cubicBezTo>
                  <a:cubicBezTo>
                    <a:pt x="1" y="126"/>
                    <a:pt x="37" y="161"/>
                    <a:pt x="80" y="161"/>
                  </a:cubicBezTo>
                  <a:cubicBezTo>
                    <a:pt x="82" y="161"/>
                    <a:pt x="83" y="161"/>
                    <a:pt x="84" y="161"/>
                  </a:cubicBezTo>
                  <a:lnTo>
                    <a:pt x="294" y="159"/>
                  </a:lnTo>
                  <a:lnTo>
                    <a:pt x="399" y="157"/>
                  </a:lnTo>
                  <a:lnTo>
                    <a:pt x="478" y="157"/>
                  </a:lnTo>
                  <a:cubicBezTo>
                    <a:pt x="495" y="156"/>
                    <a:pt x="512" y="152"/>
                    <a:pt x="528" y="145"/>
                  </a:cubicBezTo>
                  <a:cubicBezTo>
                    <a:pt x="576" y="124"/>
                    <a:pt x="576" y="37"/>
                    <a:pt x="528" y="16"/>
                  </a:cubicBezTo>
                  <a:cubicBezTo>
                    <a:pt x="512" y="9"/>
                    <a:pt x="495" y="5"/>
                    <a:pt x="478" y="4"/>
                  </a:cubicBezTo>
                  <a:lnTo>
                    <a:pt x="399" y="4"/>
                  </a:lnTo>
                  <a:lnTo>
                    <a:pt x="294" y="3"/>
                  </a:lnTo>
                  <a:lnTo>
                    <a:pt x="84" y="0"/>
                  </a:lnTo>
                  <a:cubicBezTo>
                    <a:pt x="83" y="0"/>
                    <a:pt x="82" y="0"/>
                    <a:pt x="8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60" name="Google Shape;460;p34"/>
            <p:cNvSpPr/>
            <p:nvPr/>
          </p:nvSpPr>
          <p:spPr>
            <a:xfrm>
              <a:off x="5721125" y="3120225"/>
              <a:ext cx="20800" cy="4550"/>
            </a:xfrm>
            <a:custGeom>
              <a:avLst/>
              <a:gdLst/>
              <a:ahLst/>
              <a:cxnLst/>
              <a:rect l="l" t="t" r="r" b="b"/>
              <a:pathLst>
                <a:path w="832" h="182" extrusionOk="0">
                  <a:moveTo>
                    <a:pt x="554" y="0"/>
                  </a:moveTo>
                  <a:cubicBezTo>
                    <a:pt x="542" y="0"/>
                    <a:pt x="531" y="0"/>
                    <a:pt x="519" y="1"/>
                  </a:cubicBezTo>
                  <a:lnTo>
                    <a:pt x="431" y="2"/>
                  </a:lnTo>
                  <a:cubicBezTo>
                    <a:pt x="371" y="3"/>
                    <a:pt x="311" y="3"/>
                    <a:pt x="250" y="6"/>
                  </a:cubicBezTo>
                  <a:cubicBezTo>
                    <a:pt x="185" y="6"/>
                    <a:pt x="120" y="12"/>
                    <a:pt x="54" y="21"/>
                  </a:cubicBezTo>
                  <a:cubicBezTo>
                    <a:pt x="23" y="29"/>
                    <a:pt x="1" y="58"/>
                    <a:pt x="1" y="91"/>
                  </a:cubicBezTo>
                  <a:cubicBezTo>
                    <a:pt x="3" y="120"/>
                    <a:pt x="23" y="155"/>
                    <a:pt x="54" y="160"/>
                  </a:cubicBezTo>
                  <a:cubicBezTo>
                    <a:pt x="119" y="172"/>
                    <a:pt x="185" y="173"/>
                    <a:pt x="250" y="175"/>
                  </a:cubicBezTo>
                  <a:cubicBezTo>
                    <a:pt x="311" y="178"/>
                    <a:pt x="371" y="178"/>
                    <a:pt x="431" y="178"/>
                  </a:cubicBezTo>
                  <a:lnTo>
                    <a:pt x="519" y="180"/>
                  </a:lnTo>
                  <a:cubicBezTo>
                    <a:pt x="529" y="181"/>
                    <a:pt x="538" y="181"/>
                    <a:pt x="547" y="181"/>
                  </a:cubicBezTo>
                  <a:cubicBezTo>
                    <a:pt x="574" y="181"/>
                    <a:pt x="601" y="179"/>
                    <a:pt x="628" y="175"/>
                  </a:cubicBezTo>
                  <a:cubicBezTo>
                    <a:pt x="657" y="170"/>
                    <a:pt x="686" y="166"/>
                    <a:pt x="715" y="161"/>
                  </a:cubicBezTo>
                  <a:cubicBezTo>
                    <a:pt x="751" y="156"/>
                    <a:pt x="785" y="154"/>
                    <a:pt x="811" y="128"/>
                  </a:cubicBezTo>
                  <a:cubicBezTo>
                    <a:pt x="831" y="106"/>
                    <a:pt x="831" y="74"/>
                    <a:pt x="811" y="54"/>
                  </a:cubicBezTo>
                  <a:cubicBezTo>
                    <a:pt x="785" y="27"/>
                    <a:pt x="751" y="25"/>
                    <a:pt x="715" y="20"/>
                  </a:cubicBezTo>
                  <a:cubicBezTo>
                    <a:pt x="686" y="16"/>
                    <a:pt x="657" y="11"/>
                    <a:pt x="628" y="5"/>
                  </a:cubicBezTo>
                  <a:cubicBezTo>
                    <a:pt x="603" y="2"/>
                    <a:pt x="578" y="0"/>
                    <a:pt x="55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61" name="Google Shape;461;p34"/>
            <p:cNvSpPr/>
            <p:nvPr/>
          </p:nvSpPr>
          <p:spPr>
            <a:xfrm>
              <a:off x="6027825" y="3548775"/>
              <a:ext cx="29450" cy="6600"/>
            </a:xfrm>
            <a:custGeom>
              <a:avLst/>
              <a:gdLst/>
              <a:ahLst/>
              <a:cxnLst/>
              <a:rect l="l" t="t" r="r" b="b"/>
              <a:pathLst>
                <a:path w="1178" h="264" extrusionOk="0">
                  <a:moveTo>
                    <a:pt x="57" y="0"/>
                  </a:moveTo>
                  <a:cubicBezTo>
                    <a:pt x="29" y="0"/>
                    <a:pt x="7" y="20"/>
                    <a:pt x="4" y="47"/>
                  </a:cubicBezTo>
                  <a:cubicBezTo>
                    <a:pt x="1" y="71"/>
                    <a:pt x="15" y="100"/>
                    <a:pt x="42" y="106"/>
                  </a:cubicBezTo>
                  <a:lnTo>
                    <a:pt x="43" y="106"/>
                  </a:lnTo>
                  <a:cubicBezTo>
                    <a:pt x="113" y="118"/>
                    <a:pt x="183" y="134"/>
                    <a:pt x="254" y="144"/>
                  </a:cubicBezTo>
                  <a:cubicBezTo>
                    <a:pt x="324" y="153"/>
                    <a:pt x="396" y="165"/>
                    <a:pt x="468" y="175"/>
                  </a:cubicBezTo>
                  <a:cubicBezTo>
                    <a:pt x="610" y="198"/>
                    <a:pt x="753" y="218"/>
                    <a:pt x="896" y="244"/>
                  </a:cubicBezTo>
                  <a:cubicBezTo>
                    <a:pt x="940" y="252"/>
                    <a:pt x="984" y="255"/>
                    <a:pt x="1029" y="260"/>
                  </a:cubicBezTo>
                  <a:cubicBezTo>
                    <a:pt x="1049" y="262"/>
                    <a:pt x="1067" y="263"/>
                    <a:pt x="1087" y="263"/>
                  </a:cubicBezTo>
                  <a:cubicBezTo>
                    <a:pt x="1094" y="263"/>
                    <a:pt x="1101" y="263"/>
                    <a:pt x="1108" y="263"/>
                  </a:cubicBezTo>
                  <a:cubicBezTo>
                    <a:pt x="1111" y="263"/>
                    <a:pt x="1115" y="263"/>
                    <a:pt x="1118" y="263"/>
                  </a:cubicBezTo>
                  <a:cubicBezTo>
                    <a:pt x="1134" y="262"/>
                    <a:pt x="1149" y="254"/>
                    <a:pt x="1160" y="244"/>
                  </a:cubicBezTo>
                  <a:cubicBezTo>
                    <a:pt x="1174" y="230"/>
                    <a:pt x="1177" y="209"/>
                    <a:pt x="1168" y="192"/>
                  </a:cubicBezTo>
                  <a:cubicBezTo>
                    <a:pt x="1156" y="171"/>
                    <a:pt x="1135" y="164"/>
                    <a:pt x="1114" y="155"/>
                  </a:cubicBezTo>
                  <a:cubicBezTo>
                    <a:pt x="1095" y="148"/>
                    <a:pt x="1077" y="140"/>
                    <a:pt x="1059" y="135"/>
                  </a:cubicBezTo>
                  <a:cubicBezTo>
                    <a:pt x="1025" y="125"/>
                    <a:pt x="991" y="115"/>
                    <a:pt x="956" y="108"/>
                  </a:cubicBezTo>
                  <a:cubicBezTo>
                    <a:pt x="885" y="95"/>
                    <a:pt x="814" y="82"/>
                    <a:pt x="743" y="71"/>
                  </a:cubicBezTo>
                  <a:cubicBezTo>
                    <a:pt x="595" y="48"/>
                    <a:pt x="449" y="29"/>
                    <a:pt x="301" y="13"/>
                  </a:cubicBezTo>
                  <a:cubicBezTo>
                    <a:pt x="220" y="4"/>
                    <a:pt x="138" y="2"/>
                    <a:pt x="5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62" name="Google Shape;462;p34"/>
            <p:cNvSpPr/>
            <p:nvPr/>
          </p:nvSpPr>
          <p:spPr>
            <a:xfrm>
              <a:off x="6046975" y="3546550"/>
              <a:ext cx="19900" cy="4600"/>
            </a:xfrm>
            <a:custGeom>
              <a:avLst/>
              <a:gdLst/>
              <a:ahLst/>
              <a:cxnLst/>
              <a:rect l="l" t="t" r="r" b="b"/>
              <a:pathLst>
                <a:path w="796" h="184" extrusionOk="0">
                  <a:moveTo>
                    <a:pt x="74" y="1"/>
                  </a:moveTo>
                  <a:cubicBezTo>
                    <a:pt x="33" y="1"/>
                    <a:pt x="0" y="33"/>
                    <a:pt x="0" y="73"/>
                  </a:cubicBezTo>
                  <a:cubicBezTo>
                    <a:pt x="1" y="113"/>
                    <a:pt x="34" y="146"/>
                    <a:pt x="74" y="147"/>
                  </a:cubicBezTo>
                  <a:lnTo>
                    <a:pt x="407" y="169"/>
                  </a:lnTo>
                  <a:cubicBezTo>
                    <a:pt x="462" y="173"/>
                    <a:pt x="516" y="178"/>
                    <a:pt x="570" y="179"/>
                  </a:cubicBezTo>
                  <a:lnTo>
                    <a:pt x="655" y="182"/>
                  </a:lnTo>
                  <a:lnTo>
                    <a:pt x="695" y="183"/>
                  </a:lnTo>
                  <a:cubicBezTo>
                    <a:pt x="714" y="183"/>
                    <a:pt x="733" y="179"/>
                    <a:pt x="750" y="171"/>
                  </a:cubicBezTo>
                  <a:cubicBezTo>
                    <a:pt x="772" y="165"/>
                    <a:pt x="789" y="146"/>
                    <a:pt x="792" y="123"/>
                  </a:cubicBezTo>
                  <a:cubicBezTo>
                    <a:pt x="795" y="100"/>
                    <a:pt x="783" y="77"/>
                    <a:pt x="763" y="65"/>
                  </a:cubicBezTo>
                  <a:cubicBezTo>
                    <a:pt x="757" y="62"/>
                    <a:pt x="752" y="59"/>
                    <a:pt x="746" y="55"/>
                  </a:cubicBezTo>
                  <a:cubicBezTo>
                    <a:pt x="732" y="48"/>
                    <a:pt x="717" y="45"/>
                    <a:pt x="701" y="44"/>
                  </a:cubicBezTo>
                  <a:lnTo>
                    <a:pt x="662" y="40"/>
                  </a:lnTo>
                  <a:lnTo>
                    <a:pt x="577" y="31"/>
                  </a:lnTo>
                  <a:cubicBezTo>
                    <a:pt x="521" y="26"/>
                    <a:pt x="466" y="24"/>
                    <a:pt x="410" y="21"/>
                  </a:cubicBezTo>
                  <a:lnTo>
                    <a:pt x="74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63" name="Google Shape;463;p34"/>
            <p:cNvSpPr/>
            <p:nvPr/>
          </p:nvSpPr>
          <p:spPr>
            <a:xfrm>
              <a:off x="6001675" y="3472425"/>
              <a:ext cx="18425" cy="5800"/>
            </a:xfrm>
            <a:custGeom>
              <a:avLst/>
              <a:gdLst/>
              <a:ahLst/>
              <a:cxnLst/>
              <a:rect l="l" t="t" r="r" b="b"/>
              <a:pathLst>
                <a:path w="737" h="232" extrusionOk="0">
                  <a:moveTo>
                    <a:pt x="76" y="1"/>
                  </a:moveTo>
                  <a:cubicBezTo>
                    <a:pt x="46" y="1"/>
                    <a:pt x="15" y="17"/>
                    <a:pt x="8" y="49"/>
                  </a:cubicBezTo>
                  <a:cubicBezTo>
                    <a:pt x="1" y="83"/>
                    <a:pt x="19" y="124"/>
                    <a:pt x="56" y="133"/>
                  </a:cubicBezTo>
                  <a:lnTo>
                    <a:pt x="56" y="132"/>
                  </a:lnTo>
                  <a:cubicBezTo>
                    <a:pt x="161" y="154"/>
                    <a:pt x="265" y="177"/>
                    <a:pt x="370" y="198"/>
                  </a:cubicBezTo>
                  <a:cubicBezTo>
                    <a:pt x="421" y="208"/>
                    <a:pt x="474" y="214"/>
                    <a:pt x="527" y="222"/>
                  </a:cubicBezTo>
                  <a:cubicBezTo>
                    <a:pt x="552" y="226"/>
                    <a:pt x="578" y="231"/>
                    <a:pt x="603" y="231"/>
                  </a:cubicBezTo>
                  <a:cubicBezTo>
                    <a:pt x="610" y="231"/>
                    <a:pt x="618" y="231"/>
                    <a:pt x="625" y="230"/>
                  </a:cubicBezTo>
                  <a:cubicBezTo>
                    <a:pt x="629" y="229"/>
                    <a:pt x="631" y="229"/>
                    <a:pt x="631" y="229"/>
                  </a:cubicBezTo>
                  <a:lnTo>
                    <a:pt x="631" y="229"/>
                  </a:lnTo>
                  <a:cubicBezTo>
                    <a:pt x="632" y="229"/>
                    <a:pt x="631" y="229"/>
                    <a:pt x="628" y="230"/>
                  </a:cubicBezTo>
                  <a:lnTo>
                    <a:pt x="638" y="231"/>
                  </a:lnTo>
                  <a:lnTo>
                    <a:pt x="658" y="232"/>
                  </a:lnTo>
                  <a:cubicBezTo>
                    <a:pt x="673" y="232"/>
                    <a:pt x="688" y="231"/>
                    <a:pt x="704" y="228"/>
                  </a:cubicBezTo>
                  <a:cubicBezTo>
                    <a:pt x="721" y="223"/>
                    <a:pt x="732" y="209"/>
                    <a:pt x="735" y="193"/>
                  </a:cubicBezTo>
                  <a:cubicBezTo>
                    <a:pt x="737" y="175"/>
                    <a:pt x="728" y="159"/>
                    <a:pt x="715" y="150"/>
                  </a:cubicBezTo>
                  <a:cubicBezTo>
                    <a:pt x="702" y="142"/>
                    <a:pt x="688" y="136"/>
                    <a:pt x="674" y="131"/>
                  </a:cubicBezTo>
                  <a:cubicBezTo>
                    <a:pt x="665" y="127"/>
                    <a:pt x="656" y="124"/>
                    <a:pt x="646" y="120"/>
                  </a:cubicBezTo>
                  <a:cubicBezTo>
                    <a:pt x="620" y="107"/>
                    <a:pt x="591" y="98"/>
                    <a:pt x="563" y="94"/>
                  </a:cubicBezTo>
                  <a:cubicBezTo>
                    <a:pt x="510" y="81"/>
                    <a:pt x="458" y="67"/>
                    <a:pt x="406" y="58"/>
                  </a:cubicBezTo>
                  <a:cubicBezTo>
                    <a:pt x="301" y="39"/>
                    <a:pt x="197" y="20"/>
                    <a:pt x="91" y="2"/>
                  </a:cubicBezTo>
                  <a:cubicBezTo>
                    <a:pt x="86" y="1"/>
                    <a:pt x="81" y="1"/>
                    <a:pt x="7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64" name="Google Shape;464;p34"/>
            <p:cNvSpPr/>
            <p:nvPr/>
          </p:nvSpPr>
          <p:spPr>
            <a:xfrm>
              <a:off x="6012225" y="3459975"/>
              <a:ext cx="13225" cy="4700"/>
            </a:xfrm>
            <a:custGeom>
              <a:avLst/>
              <a:gdLst/>
              <a:ahLst/>
              <a:cxnLst/>
              <a:rect l="l" t="t" r="r" b="b"/>
              <a:pathLst>
                <a:path w="529" h="188" extrusionOk="0">
                  <a:moveTo>
                    <a:pt x="173" y="0"/>
                  </a:moveTo>
                  <a:cubicBezTo>
                    <a:pt x="131" y="0"/>
                    <a:pt x="89" y="4"/>
                    <a:pt x="48" y="14"/>
                  </a:cubicBezTo>
                  <a:cubicBezTo>
                    <a:pt x="17" y="19"/>
                    <a:pt x="1" y="53"/>
                    <a:pt x="4" y="80"/>
                  </a:cubicBezTo>
                  <a:cubicBezTo>
                    <a:pt x="8" y="106"/>
                    <a:pt x="31" y="133"/>
                    <a:pt x="59" y="133"/>
                  </a:cubicBezTo>
                  <a:cubicBezTo>
                    <a:pt x="61" y="133"/>
                    <a:pt x="62" y="133"/>
                    <a:pt x="64" y="133"/>
                  </a:cubicBezTo>
                  <a:cubicBezTo>
                    <a:pt x="90" y="131"/>
                    <a:pt x="116" y="129"/>
                    <a:pt x="142" y="129"/>
                  </a:cubicBezTo>
                  <a:cubicBezTo>
                    <a:pt x="151" y="129"/>
                    <a:pt x="159" y="130"/>
                    <a:pt x="168" y="130"/>
                  </a:cubicBezTo>
                  <a:cubicBezTo>
                    <a:pt x="203" y="130"/>
                    <a:pt x="239" y="134"/>
                    <a:pt x="275" y="134"/>
                  </a:cubicBezTo>
                  <a:cubicBezTo>
                    <a:pt x="275" y="134"/>
                    <a:pt x="275" y="134"/>
                    <a:pt x="276" y="134"/>
                  </a:cubicBezTo>
                  <a:lnTo>
                    <a:pt x="276" y="134"/>
                  </a:lnTo>
                  <a:cubicBezTo>
                    <a:pt x="276" y="134"/>
                    <a:pt x="276" y="134"/>
                    <a:pt x="276" y="134"/>
                  </a:cubicBezTo>
                  <a:lnTo>
                    <a:pt x="290" y="136"/>
                  </a:lnTo>
                  <a:cubicBezTo>
                    <a:pt x="299" y="138"/>
                    <a:pt x="306" y="139"/>
                    <a:pt x="315" y="141"/>
                  </a:cubicBezTo>
                  <a:cubicBezTo>
                    <a:pt x="333" y="145"/>
                    <a:pt x="349" y="150"/>
                    <a:pt x="367" y="154"/>
                  </a:cubicBezTo>
                  <a:cubicBezTo>
                    <a:pt x="401" y="165"/>
                    <a:pt x="433" y="181"/>
                    <a:pt x="468" y="187"/>
                  </a:cubicBezTo>
                  <a:cubicBezTo>
                    <a:pt x="471" y="188"/>
                    <a:pt x="474" y="188"/>
                    <a:pt x="477" y="188"/>
                  </a:cubicBezTo>
                  <a:cubicBezTo>
                    <a:pt x="509" y="188"/>
                    <a:pt x="529" y="149"/>
                    <a:pt x="504" y="124"/>
                  </a:cubicBezTo>
                  <a:cubicBezTo>
                    <a:pt x="477" y="95"/>
                    <a:pt x="443" y="74"/>
                    <a:pt x="407" y="60"/>
                  </a:cubicBezTo>
                  <a:cubicBezTo>
                    <a:pt x="371" y="43"/>
                    <a:pt x="332" y="30"/>
                    <a:pt x="294" y="19"/>
                  </a:cubicBezTo>
                  <a:cubicBezTo>
                    <a:pt x="255" y="8"/>
                    <a:pt x="215" y="1"/>
                    <a:pt x="17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65" name="Google Shape;465;p34"/>
            <p:cNvSpPr/>
            <p:nvPr/>
          </p:nvSpPr>
          <p:spPr>
            <a:xfrm>
              <a:off x="5783525" y="3676650"/>
              <a:ext cx="22225" cy="3550"/>
            </a:xfrm>
            <a:custGeom>
              <a:avLst/>
              <a:gdLst/>
              <a:ahLst/>
              <a:cxnLst/>
              <a:rect l="l" t="t" r="r" b="b"/>
              <a:pathLst>
                <a:path w="889" h="142" extrusionOk="0">
                  <a:moveTo>
                    <a:pt x="555" y="1"/>
                  </a:moveTo>
                  <a:cubicBezTo>
                    <a:pt x="524" y="1"/>
                    <a:pt x="493" y="1"/>
                    <a:pt x="462" y="1"/>
                  </a:cubicBezTo>
                  <a:lnTo>
                    <a:pt x="94" y="1"/>
                  </a:lnTo>
                  <a:cubicBezTo>
                    <a:pt x="94" y="1"/>
                    <a:pt x="93" y="1"/>
                    <a:pt x="93" y="1"/>
                  </a:cubicBezTo>
                  <a:cubicBezTo>
                    <a:pt x="0" y="1"/>
                    <a:pt x="1" y="141"/>
                    <a:pt x="94" y="141"/>
                  </a:cubicBezTo>
                  <a:lnTo>
                    <a:pt x="462" y="141"/>
                  </a:lnTo>
                  <a:cubicBezTo>
                    <a:pt x="523" y="141"/>
                    <a:pt x="584" y="141"/>
                    <a:pt x="646" y="139"/>
                  </a:cubicBezTo>
                  <a:cubicBezTo>
                    <a:pt x="677" y="138"/>
                    <a:pt x="709" y="139"/>
                    <a:pt x="739" y="136"/>
                  </a:cubicBezTo>
                  <a:lnTo>
                    <a:pt x="781" y="130"/>
                  </a:lnTo>
                  <a:cubicBezTo>
                    <a:pt x="800" y="130"/>
                    <a:pt x="820" y="127"/>
                    <a:pt x="838" y="122"/>
                  </a:cubicBezTo>
                  <a:cubicBezTo>
                    <a:pt x="889" y="106"/>
                    <a:pt x="889" y="35"/>
                    <a:pt x="838" y="19"/>
                  </a:cubicBezTo>
                  <a:cubicBezTo>
                    <a:pt x="821" y="13"/>
                    <a:pt x="803" y="11"/>
                    <a:pt x="785" y="10"/>
                  </a:cubicBezTo>
                  <a:cubicBezTo>
                    <a:pt x="770" y="9"/>
                    <a:pt x="754" y="7"/>
                    <a:pt x="739" y="6"/>
                  </a:cubicBezTo>
                  <a:cubicBezTo>
                    <a:pt x="709" y="2"/>
                    <a:pt x="677" y="3"/>
                    <a:pt x="646" y="2"/>
                  </a:cubicBezTo>
                  <a:cubicBezTo>
                    <a:pt x="616" y="1"/>
                    <a:pt x="585" y="1"/>
                    <a:pt x="55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66" name="Google Shape;466;p34"/>
            <p:cNvSpPr/>
            <p:nvPr/>
          </p:nvSpPr>
          <p:spPr>
            <a:xfrm>
              <a:off x="5914000" y="3591500"/>
              <a:ext cx="22475" cy="5075"/>
            </a:xfrm>
            <a:custGeom>
              <a:avLst/>
              <a:gdLst/>
              <a:ahLst/>
              <a:cxnLst/>
              <a:rect l="l" t="t" r="r" b="b"/>
              <a:pathLst>
                <a:path w="899" h="203" extrusionOk="0">
                  <a:moveTo>
                    <a:pt x="779" y="0"/>
                  </a:moveTo>
                  <a:cubicBezTo>
                    <a:pt x="768" y="1"/>
                    <a:pt x="756" y="3"/>
                    <a:pt x="745" y="6"/>
                  </a:cubicBezTo>
                  <a:cubicBezTo>
                    <a:pt x="692" y="16"/>
                    <a:pt x="638" y="25"/>
                    <a:pt x="584" y="33"/>
                  </a:cubicBezTo>
                  <a:lnTo>
                    <a:pt x="547" y="39"/>
                  </a:lnTo>
                  <a:lnTo>
                    <a:pt x="528" y="41"/>
                  </a:lnTo>
                  <a:lnTo>
                    <a:pt x="519" y="42"/>
                  </a:lnTo>
                  <a:cubicBezTo>
                    <a:pt x="492" y="47"/>
                    <a:pt x="466" y="50"/>
                    <a:pt x="440" y="52"/>
                  </a:cubicBezTo>
                  <a:cubicBezTo>
                    <a:pt x="318" y="66"/>
                    <a:pt x="196" y="74"/>
                    <a:pt x="74" y="78"/>
                  </a:cubicBezTo>
                  <a:cubicBezTo>
                    <a:pt x="0" y="83"/>
                    <a:pt x="0" y="191"/>
                    <a:pt x="74" y="194"/>
                  </a:cubicBezTo>
                  <a:cubicBezTo>
                    <a:pt x="139" y="200"/>
                    <a:pt x="204" y="203"/>
                    <a:pt x="270" y="203"/>
                  </a:cubicBezTo>
                  <a:cubicBezTo>
                    <a:pt x="424" y="203"/>
                    <a:pt x="578" y="187"/>
                    <a:pt x="730" y="154"/>
                  </a:cubicBezTo>
                  <a:cubicBezTo>
                    <a:pt x="759" y="148"/>
                    <a:pt x="792" y="144"/>
                    <a:pt x="818" y="130"/>
                  </a:cubicBezTo>
                  <a:cubicBezTo>
                    <a:pt x="829" y="125"/>
                    <a:pt x="838" y="117"/>
                    <a:pt x="849" y="111"/>
                  </a:cubicBezTo>
                  <a:cubicBezTo>
                    <a:pt x="864" y="103"/>
                    <a:pt x="877" y="92"/>
                    <a:pt x="888" y="78"/>
                  </a:cubicBezTo>
                  <a:cubicBezTo>
                    <a:pt x="898" y="62"/>
                    <a:pt x="897" y="40"/>
                    <a:pt x="884" y="27"/>
                  </a:cubicBezTo>
                  <a:cubicBezTo>
                    <a:pt x="871" y="14"/>
                    <a:pt x="853" y="7"/>
                    <a:pt x="835" y="7"/>
                  </a:cubicBezTo>
                  <a:lnTo>
                    <a:pt x="817" y="6"/>
                  </a:lnTo>
                  <a:cubicBezTo>
                    <a:pt x="814" y="6"/>
                    <a:pt x="811" y="6"/>
                    <a:pt x="808" y="5"/>
                  </a:cubicBezTo>
                  <a:lnTo>
                    <a:pt x="808" y="5"/>
                  </a:lnTo>
                  <a:cubicBezTo>
                    <a:pt x="808" y="5"/>
                    <a:pt x="812" y="5"/>
                    <a:pt x="813" y="5"/>
                  </a:cubicBezTo>
                  <a:cubicBezTo>
                    <a:pt x="813" y="5"/>
                    <a:pt x="812" y="5"/>
                    <a:pt x="810" y="5"/>
                  </a:cubicBezTo>
                  <a:cubicBezTo>
                    <a:pt x="799" y="2"/>
                    <a:pt x="790" y="1"/>
                    <a:pt x="77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67" name="Google Shape;467;p34"/>
            <p:cNvSpPr/>
            <p:nvPr/>
          </p:nvSpPr>
          <p:spPr>
            <a:xfrm>
              <a:off x="5897375" y="3603275"/>
              <a:ext cx="13725" cy="5200"/>
            </a:xfrm>
            <a:custGeom>
              <a:avLst/>
              <a:gdLst/>
              <a:ahLst/>
              <a:cxnLst/>
              <a:rect l="l" t="t" r="r" b="b"/>
              <a:pathLst>
                <a:path w="549" h="208" extrusionOk="0">
                  <a:moveTo>
                    <a:pt x="448" y="1"/>
                  </a:moveTo>
                  <a:cubicBezTo>
                    <a:pt x="425" y="2"/>
                    <a:pt x="403" y="5"/>
                    <a:pt x="380" y="9"/>
                  </a:cubicBezTo>
                  <a:cubicBezTo>
                    <a:pt x="345" y="15"/>
                    <a:pt x="309" y="23"/>
                    <a:pt x="274" y="30"/>
                  </a:cubicBezTo>
                  <a:lnTo>
                    <a:pt x="61" y="70"/>
                  </a:lnTo>
                  <a:cubicBezTo>
                    <a:pt x="24" y="78"/>
                    <a:pt x="1" y="123"/>
                    <a:pt x="11" y="157"/>
                  </a:cubicBezTo>
                  <a:cubicBezTo>
                    <a:pt x="23" y="191"/>
                    <a:pt x="50" y="208"/>
                    <a:pt x="82" y="208"/>
                  </a:cubicBezTo>
                  <a:cubicBezTo>
                    <a:pt x="87" y="208"/>
                    <a:pt x="92" y="207"/>
                    <a:pt x="98" y="206"/>
                  </a:cubicBezTo>
                  <a:lnTo>
                    <a:pt x="309" y="170"/>
                  </a:lnTo>
                  <a:cubicBezTo>
                    <a:pt x="343" y="164"/>
                    <a:pt x="378" y="159"/>
                    <a:pt x="413" y="152"/>
                  </a:cubicBezTo>
                  <a:cubicBezTo>
                    <a:pt x="430" y="149"/>
                    <a:pt x="447" y="145"/>
                    <a:pt x="464" y="141"/>
                  </a:cubicBezTo>
                  <a:cubicBezTo>
                    <a:pt x="473" y="138"/>
                    <a:pt x="483" y="133"/>
                    <a:pt x="491" y="127"/>
                  </a:cubicBezTo>
                  <a:lnTo>
                    <a:pt x="491" y="127"/>
                  </a:lnTo>
                  <a:cubicBezTo>
                    <a:pt x="491" y="127"/>
                    <a:pt x="491" y="127"/>
                    <a:pt x="491" y="127"/>
                  </a:cubicBezTo>
                  <a:cubicBezTo>
                    <a:pt x="491" y="127"/>
                    <a:pt x="497" y="123"/>
                    <a:pt x="500" y="120"/>
                  </a:cubicBezTo>
                  <a:lnTo>
                    <a:pt x="500" y="120"/>
                  </a:lnTo>
                  <a:cubicBezTo>
                    <a:pt x="502" y="119"/>
                    <a:pt x="506" y="117"/>
                    <a:pt x="507" y="117"/>
                  </a:cubicBezTo>
                  <a:lnTo>
                    <a:pt x="520" y="109"/>
                  </a:lnTo>
                  <a:cubicBezTo>
                    <a:pt x="537" y="98"/>
                    <a:pt x="548" y="76"/>
                    <a:pt x="545" y="56"/>
                  </a:cubicBezTo>
                  <a:cubicBezTo>
                    <a:pt x="543" y="35"/>
                    <a:pt x="527" y="17"/>
                    <a:pt x="507" y="12"/>
                  </a:cubicBezTo>
                  <a:cubicBezTo>
                    <a:pt x="500" y="11"/>
                    <a:pt x="491" y="10"/>
                    <a:pt x="484" y="8"/>
                  </a:cubicBezTo>
                  <a:cubicBezTo>
                    <a:pt x="472" y="5"/>
                    <a:pt x="461" y="2"/>
                    <a:pt x="44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CUSTOM_27">
    <p:spTree>
      <p:nvGrpSpPr>
        <p:cNvPr id="1" name="Shape 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9" name="Google Shape;469;p35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3">
  <p:cSld name="CUSTOM_7"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36"/>
          <p:cNvSpPr txBox="1">
            <a:spLocks noGrp="1"/>
          </p:cNvSpPr>
          <p:nvPr>
            <p:ph type="title"/>
          </p:nvPr>
        </p:nvSpPr>
        <p:spPr>
          <a:xfrm>
            <a:off x="960000" y="1390567"/>
            <a:ext cx="3866000" cy="159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472" name="Google Shape;472;p36"/>
          <p:cNvSpPr txBox="1">
            <a:spLocks noGrp="1"/>
          </p:cNvSpPr>
          <p:nvPr>
            <p:ph type="ctrTitle" idx="2"/>
          </p:nvPr>
        </p:nvSpPr>
        <p:spPr>
          <a:xfrm>
            <a:off x="5598944" y="906400"/>
            <a:ext cx="2166000" cy="49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73" name="Google Shape;473;p36"/>
          <p:cNvSpPr txBox="1">
            <a:spLocks noGrp="1"/>
          </p:cNvSpPr>
          <p:nvPr>
            <p:ph type="subTitle" idx="1"/>
          </p:nvPr>
        </p:nvSpPr>
        <p:spPr>
          <a:xfrm>
            <a:off x="5598944" y="1241667"/>
            <a:ext cx="2166000" cy="94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4" name="Google Shape;474;p36"/>
          <p:cNvSpPr txBox="1">
            <a:spLocks noGrp="1"/>
          </p:cNvSpPr>
          <p:nvPr>
            <p:ph type="ctrTitle" idx="3"/>
          </p:nvPr>
        </p:nvSpPr>
        <p:spPr>
          <a:xfrm>
            <a:off x="9066009" y="2800567"/>
            <a:ext cx="2166000" cy="49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75" name="Google Shape;475;p36"/>
          <p:cNvSpPr txBox="1">
            <a:spLocks noGrp="1"/>
          </p:cNvSpPr>
          <p:nvPr>
            <p:ph type="subTitle" idx="4"/>
          </p:nvPr>
        </p:nvSpPr>
        <p:spPr>
          <a:xfrm>
            <a:off x="9066000" y="3135833"/>
            <a:ext cx="2166000" cy="94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6" name="Google Shape;476;p36"/>
          <p:cNvSpPr txBox="1">
            <a:spLocks noGrp="1"/>
          </p:cNvSpPr>
          <p:nvPr>
            <p:ph type="ctrTitle" idx="5"/>
          </p:nvPr>
        </p:nvSpPr>
        <p:spPr>
          <a:xfrm>
            <a:off x="5598944" y="4593133"/>
            <a:ext cx="2166000" cy="49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77" name="Google Shape;477;p36"/>
          <p:cNvSpPr txBox="1">
            <a:spLocks noGrp="1"/>
          </p:cNvSpPr>
          <p:nvPr>
            <p:ph type="subTitle" idx="6"/>
          </p:nvPr>
        </p:nvSpPr>
        <p:spPr>
          <a:xfrm>
            <a:off x="5598933" y="4928400"/>
            <a:ext cx="2166000" cy="94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17939"/>
      </p:ext>
    </p:extLst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4">
  <p:cSld name="CUSTOM_7_1">
    <p:spTree>
      <p:nvGrpSpPr>
        <p:cNvPr id="1" name="Shape 4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9" name="Google Shape;479;p37"/>
          <p:cNvSpPr txBox="1">
            <a:spLocks noGrp="1"/>
          </p:cNvSpPr>
          <p:nvPr>
            <p:ph type="title"/>
          </p:nvPr>
        </p:nvSpPr>
        <p:spPr>
          <a:xfrm flipH="1">
            <a:off x="7366009" y="1390567"/>
            <a:ext cx="3866000" cy="159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480" name="Google Shape;480;p37"/>
          <p:cNvSpPr txBox="1">
            <a:spLocks noGrp="1"/>
          </p:cNvSpPr>
          <p:nvPr>
            <p:ph type="ctrTitle" idx="2"/>
          </p:nvPr>
        </p:nvSpPr>
        <p:spPr>
          <a:xfrm flipH="1">
            <a:off x="960000" y="906400"/>
            <a:ext cx="2166000" cy="49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81" name="Google Shape;481;p37"/>
          <p:cNvSpPr txBox="1">
            <a:spLocks noGrp="1"/>
          </p:cNvSpPr>
          <p:nvPr>
            <p:ph type="subTitle" idx="1"/>
          </p:nvPr>
        </p:nvSpPr>
        <p:spPr>
          <a:xfrm flipH="1">
            <a:off x="960000" y="1241667"/>
            <a:ext cx="2166000" cy="94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2" name="Google Shape;482;p37"/>
          <p:cNvSpPr txBox="1">
            <a:spLocks noGrp="1"/>
          </p:cNvSpPr>
          <p:nvPr>
            <p:ph type="ctrTitle" idx="3"/>
          </p:nvPr>
        </p:nvSpPr>
        <p:spPr>
          <a:xfrm flipH="1">
            <a:off x="960000" y="2762467"/>
            <a:ext cx="2166000" cy="49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83" name="Google Shape;483;p37"/>
          <p:cNvSpPr txBox="1">
            <a:spLocks noGrp="1"/>
          </p:cNvSpPr>
          <p:nvPr>
            <p:ph type="subTitle" idx="4"/>
          </p:nvPr>
        </p:nvSpPr>
        <p:spPr>
          <a:xfrm flipH="1">
            <a:off x="960009" y="3097733"/>
            <a:ext cx="2166000" cy="94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4" name="Google Shape;484;p37"/>
          <p:cNvSpPr txBox="1">
            <a:spLocks noGrp="1"/>
          </p:cNvSpPr>
          <p:nvPr>
            <p:ph type="ctrTitle" idx="5"/>
          </p:nvPr>
        </p:nvSpPr>
        <p:spPr>
          <a:xfrm flipH="1">
            <a:off x="960000" y="4593133"/>
            <a:ext cx="2166000" cy="49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85" name="Google Shape;485;p37"/>
          <p:cNvSpPr txBox="1">
            <a:spLocks noGrp="1"/>
          </p:cNvSpPr>
          <p:nvPr>
            <p:ph type="subTitle" idx="6"/>
          </p:nvPr>
        </p:nvSpPr>
        <p:spPr>
          <a:xfrm flipH="1">
            <a:off x="960009" y="4928400"/>
            <a:ext cx="2166000" cy="94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CUSTOM_28">
    <p:spTree>
      <p:nvGrpSpPr>
        <p:cNvPr id="1" name="Shape 4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" name="Google Shape;487;p38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4">
  <p:cSld name="CUSTOM_28_1">
    <p:spTree>
      <p:nvGrpSpPr>
        <p:cNvPr id="1" name="Shape 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9" name="Google Shape;489;p39"/>
          <p:cNvGrpSpPr/>
          <p:nvPr/>
        </p:nvGrpSpPr>
        <p:grpSpPr>
          <a:xfrm flipH="1">
            <a:off x="10067311" y="-360191"/>
            <a:ext cx="3383303" cy="2936960"/>
            <a:chOff x="1714027" y="2112087"/>
            <a:chExt cx="354798" cy="307952"/>
          </a:xfrm>
        </p:grpSpPr>
        <p:sp>
          <p:nvSpPr>
            <p:cNvPr id="490" name="Google Shape;490;p39"/>
            <p:cNvSpPr/>
            <p:nvPr/>
          </p:nvSpPr>
          <p:spPr>
            <a:xfrm>
              <a:off x="1987816" y="2161947"/>
              <a:ext cx="22700" cy="7825"/>
            </a:xfrm>
            <a:custGeom>
              <a:avLst/>
              <a:gdLst/>
              <a:ahLst/>
              <a:cxnLst/>
              <a:rect l="l" t="t" r="r" b="b"/>
              <a:pathLst>
                <a:path w="908" h="313" extrusionOk="0">
                  <a:moveTo>
                    <a:pt x="703" y="1"/>
                  </a:moveTo>
                  <a:cubicBezTo>
                    <a:pt x="689" y="1"/>
                    <a:pt x="675" y="2"/>
                    <a:pt x="660" y="5"/>
                  </a:cubicBezTo>
                  <a:cubicBezTo>
                    <a:pt x="592" y="15"/>
                    <a:pt x="526" y="26"/>
                    <a:pt x="459" y="42"/>
                  </a:cubicBezTo>
                  <a:cubicBezTo>
                    <a:pt x="328" y="73"/>
                    <a:pt x="199" y="111"/>
                    <a:pt x="71" y="155"/>
                  </a:cubicBezTo>
                  <a:cubicBezTo>
                    <a:pt x="31" y="169"/>
                    <a:pt x="1" y="210"/>
                    <a:pt x="14" y="254"/>
                  </a:cubicBezTo>
                  <a:cubicBezTo>
                    <a:pt x="25" y="289"/>
                    <a:pt x="57" y="312"/>
                    <a:pt x="93" y="312"/>
                  </a:cubicBezTo>
                  <a:cubicBezTo>
                    <a:pt x="99" y="312"/>
                    <a:pt x="107" y="311"/>
                    <a:pt x="113" y="309"/>
                  </a:cubicBezTo>
                  <a:cubicBezTo>
                    <a:pt x="240" y="269"/>
                    <a:pt x="370" y="236"/>
                    <a:pt x="501" y="207"/>
                  </a:cubicBezTo>
                  <a:cubicBezTo>
                    <a:pt x="567" y="193"/>
                    <a:pt x="632" y="177"/>
                    <a:pt x="697" y="162"/>
                  </a:cubicBezTo>
                  <a:cubicBezTo>
                    <a:pt x="717" y="158"/>
                    <a:pt x="736" y="153"/>
                    <a:pt x="755" y="143"/>
                  </a:cubicBezTo>
                  <a:lnTo>
                    <a:pt x="765" y="135"/>
                  </a:lnTo>
                  <a:cubicBezTo>
                    <a:pt x="770" y="134"/>
                    <a:pt x="772" y="133"/>
                    <a:pt x="771" y="133"/>
                  </a:cubicBezTo>
                  <a:cubicBezTo>
                    <a:pt x="771" y="133"/>
                    <a:pt x="770" y="133"/>
                    <a:pt x="769" y="133"/>
                  </a:cubicBezTo>
                  <a:cubicBezTo>
                    <a:pt x="768" y="133"/>
                    <a:pt x="767" y="134"/>
                    <a:pt x="767" y="134"/>
                  </a:cubicBezTo>
                  <a:cubicBezTo>
                    <a:pt x="766" y="134"/>
                    <a:pt x="768" y="133"/>
                    <a:pt x="773" y="131"/>
                  </a:cubicBezTo>
                  <a:lnTo>
                    <a:pt x="787" y="126"/>
                  </a:lnTo>
                  <a:cubicBezTo>
                    <a:pt x="820" y="115"/>
                    <a:pt x="853" y="101"/>
                    <a:pt x="884" y="82"/>
                  </a:cubicBezTo>
                  <a:cubicBezTo>
                    <a:pt x="908" y="67"/>
                    <a:pt x="903" y="30"/>
                    <a:pt x="876" y="21"/>
                  </a:cubicBezTo>
                  <a:cubicBezTo>
                    <a:pt x="841" y="12"/>
                    <a:pt x="806" y="8"/>
                    <a:pt x="771" y="8"/>
                  </a:cubicBezTo>
                  <a:cubicBezTo>
                    <a:pt x="769" y="8"/>
                    <a:pt x="757" y="7"/>
                    <a:pt x="753" y="7"/>
                  </a:cubicBezTo>
                  <a:cubicBezTo>
                    <a:pt x="752" y="7"/>
                    <a:pt x="752" y="7"/>
                    <a:pt x="752" y="7"/>
                  </a:cubicBezTo>
                  <a:lnTo>
                    <a:pt x="752" y="7"/>
                  </a:lnTo>
                  <a:cubicBezTo>
                    <a:pt x="747" y="6"/>
                    <a:pt x="741" y="5"/>
                    <a:pt x="736" y="3"/>
                  </a:cubicBezTo>
                  <a:cubicBezTo>
                    <a:pt x="725" y="2"/>
                    <a:pt x="714" y="1"/>
                    <a:pt x="7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91" name="Google Shape;491;p39"/>
            <p:cNvSpPr/>
            <p:nvPr/>
          </p:nvSpPr>
          <p:spPr>
            <a:xfrm>
              <a:off x="2002091" y="2168797"/>
              <a:ext cx="10600" cy="3000"/>
            </a:xfrm>
            <a:custGeom>
              <a:avLst/>
              <a:gdLst/>
              <a:ahLst/>
              <a:cxnLst/>
              <a:rect l="l" t="t" r="r" b="b"/>
              <a:pathLst>
                <a:path w="424" h="120" extrusionOk="0">
                  <a:moveTo>
                    <a:pt x="333" y="0"/>
                  </a:moveTo>
                  <a:cubicBezTo>
                    <a:pt x="326" y="0"/>
                    <a:pt x="319" y="0"/>
                    <a:pt x="311" y="1"/>
                  </a:cubicBezTo>
                  <a:lnTo>
                    <a:pt x="229" y="3"/>
                  </a:lnTo>
                  <a:lnTo>
                    <a:pt x="61" y="9"/>
                  </a:lnTo>
                  <a:cubicBezTo>
                    <a:pt x="27" y="9"/>
                    <a:pt x="1" y="38"/>
                    <a:pt x="5" y="71"/>
                  </a:cubicBezTo>
                  <a:cubicBezTo>
                    <a:pt x="9" y="100"/>
                    <a:pt x="34" y="120"/>
                    <a:pt x="62" y="120"/>
                  </a:cubicBezTo>
                  <a:cubicBezTo>
                    <a:pt x="66" y="120"/>
                    <a:pt x="71" y="119"/>
                    <a:pt x="75" y="118"/>
                  </a:cubicBezTo>
                  <a:lnTo>
                    <a:pt x="240" y="81"/>
                  </a:lnTo>
                  <a:lnTo>
                    <a:pt x="321" y="64"/>
                  </a:lnTo>
                  <a:cubicBezTo>
                    <a:pt x="348" y="58"/>
                    <a:pt x="376" y="50"/>
                    <a:pt x="402" y="40"/>
                  </a:cubicBezTo>
                  <a:cubicBezTo>
                    <a:pt x="423" y="34"/>
                    <a:pt x="420" y="4"/>
                    <a:pt x="398" y="4"/>
                  </a:cubicBezTo>
                  <a:cubicBezTo>
                    <a:pt x="376" y="2"/>
                    <a:pt x="355" y="0"/>
                    <a:pt x="33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92" name="Google Shape;492;p39"/>
            <p:cNvSpPr/>
            <p:nvPr/>
          </p:nvSpPr>
          <p:spPr>
            <a:xfrm>
              <a:off x="1891125" y="2273725"/>
              <a:ext cx="15350" cy="7425"/>
            </a:xfrm>
            <a:custGeom>
              <a:avLst/>
              <a:gdLst/>
              <a:ahLst/>
              <a:cxnLst/>
              <a:rect l="l" t="t" r="r" b="b"/>
              <a:pathLst>
                <a:path w="614" h="297" extrusionOk="0">
                  <a:moveTo>
                    <a:pt x="544" y="0"/>
                  </a:moveTo>
                  <a:cubicBezTo>
                    <a:pt x="503" y="0"/>
                    <a:pt x="465" y="16"/>
                    <a:pt x="427" y="27"/>
                  </a:cubicBezTo>
                  <a:cubicBezTo>
                    <a:pt x="406" y="34"/>
                    <a:pt x="385" y="38"/>
                    <a:pt x="365" y="45"/>
                  </a:cubicBezTo>
                  <a:lnTo>
                    <a:pt x="302" y="65"/>
                  </a:lnTo>
                  <a:cubicBezTo>
                    <a:pt x="223" y="93"/>
                    <a:pt x="144" y="123"/>
                    <a:pt x="64" y="154"/>
                  </a:cubicBezTo>
                  <a:cubicBezTo>
                    <a:pt x="28" y="168"/>
                    <a:pt x="1" y="203"/>
                    <a:pt x="13" y="243"/>
                  </a:cubicBezTo>
                  <a:cubicBezTo>
                    <a:pt x="23" y="273"/>
                    <a:pt x="51" y="296"/>
                    <a:pt x="82" y="296"/>
                  </a:cubicBezTo>
                  <a:cubicBezTo>
                    <a:pt x="89" y="296"/>
                    <a:pt x="96" y="295"/>
                    <a:pt x="102" y="293"/>
                  </a:cubicBezTo>
                  <a:lnTo>
                    <a:pt x="101" y="293"/>
                  </a:lnTo>
                  <a:cubicBezTo>
                    <a:pt x="183" y="267"/>
                    <a:pt x="264" y="239"/>
                    <a:pt x="346" y="209"/>
                  </a:cubicBezTo>
                  <a:lnTo>
                    <a:pt x="404" y="188"/>
                  </a:lnTo>
                  <a:cubicBezTo>
                    <a:pt x="418" y="183"/>
                    <a:pt x="431" y="178"/>
                    <a:pt x="445" y="171"/>
                  </a:cubicBezTo>
                  <a:cubicBezTo>
                    <a:pt x="450" y="169"/>
                    <a:pt x="456" y="167"/>
                    <a:pt x="460" y="163"/>
                  </a:cubicBezTo>
                  <a:cubicBezTo>
                    <a:pt x="461" y="162"/>
                    <a:pt x="462" y="162"/>
                    <a:pt x="462" y="161"/>
                  </a:cubicBezTo>
                  <a:lnTo>
                    <a:pt x="462" y="161"/>
                  </a:lnTo>
                  <a:cubicBezTo>
                    <a:pt x="462" y="161"/>
                    <a:pt x="462" y="161"/>
                    <a:pt x="462" y="161"/>
                  </a:cubicBezTo>
                  <a:cubicBezTo>
                    <a:pt x="483" y="153"/>
                    <a:pt x="503" y="145"/>
                    <a:pt x="522" y="136"/>
                  </a:cubicBezTo>
                  <a:cubicBezTo>
                    <a:pt x="535" y="131"/>
                    <a:pt x="549" y="126"/>
                    <a:pt x="561" y="119"/>
                  </a:cubicBezTo>
                  <a:cubicBezTo>
                    <a:pt x="573" y="113"/>
                    <a:pt x="584" y="103"/>
                    <a:pt x="594" y="93"/>
                  </a:cubicBezTo>
                  <a:cubicBezTo>
                    <a:pt x="610" y="77"/>
                    <a:pt x="613" y="54"/>
                    <a:pt x="605" y="34"/>
                  </a:cubicBezTo>
                  <a:cubicBezTo>
                    <a:pt x="596" y="14"/>
                    <a:pt x="578" y="1"/>
                    <a:pt x="556" y="1"/>
                  </a:cubicBezTo>
                  <a:cubicBezTo>
                    <a:pt x="552" y="1"/>
                    <a:pt x="548" y="0"/>
                    <a:pt x="54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93" name="Google Shape;493;p39"/>
            <p:cNvSpPr/>
            <p:nvPr/>
          </p:nvSpPr>
          <p:spPr>
            <a:xfrm>
              <a:off x="1902050" y="2263300"/>
              <a:ext cx="13100" cy="5525"/>
            </a:xfrm>
            <a:custGeom>
              <a:avLst/>
              <a:gdLst/>
              <a:ahLst/>
              <a:cxnLst/>
              <a:rect l="l" t="t" r="r" b="b"/>
              <a:pathLst>
                <a:path w="524" h="221" extrusionOk="0">
                  <a:moveTo>
                    <a:pt x="469" y="0"/>
                  </a:moveTo>
                  <a:cubicBezTo>
                    <a:pt x="439" y="0"/>
                    <a:pt x="409" y="6"/>
                    <a:pt x="380" y="11"/>
                  </a:cubicBezTo>
                  <a:cubicBezTo>
                    <a:pt x="345" y="17"/>
                    <a:pt x="311" y="25"/>
                    <a:pt x="276" y="36"/>
                  </a:cubicBezTo>
                  <a:cubicBezTo>
                    <a:pt x="206" y="58"/>
                    <a:pt x="136" y="81"/>
                    <a:pt x="66" y="104"/>
                  </a:cubicBezTo>
                  <a:cubicBezTo>
                    <a:pt x="0" y="127"/>
                    <a:pt x="22" y="220"/>
                    <a:pt x="84" y="220"/>
                  </a:cubicBezTo>
                  <a:cubicBezTo>
                    <a:pt x="89" y="220"/>
                    <a:pt x="93" y="220"/>
                    <a:pt x="98" y="219"/>
                  </a:cubicBezTo>
                  <a:cubicBezTo>
                    <a:pt x="168" y="197"/>
                    <a:pt x="238" y="175"/>
                    <a:pt x="307" y="151"/>
                  </a:cubicBezTo>
                  <a:cubicBezTo>
                    <a:pt x="344" y="139"/>
                    <a:pt x="379" y="124"/>
                    <a:pt x="413" y="108"/>
                  </a:cubicBezTo>
                  <a:cubicBezTo>
                    <a:pt x="446" y="92"/>
                    <a:pt x="482" y="77"/>
                    <a:pt x="509" y="51"/>
                  </a:cubicBezTo>
                  <a:cubicBezTo>
                    <a:pt x="524" y="36"/>
                    <a:pt x="518" y="6"/>
                    <a:pt x="496" y="2"/>
                  </a:cubicBezTo>
                  <a:cubicBezTo>
                    <a:pt x="487" y="1"/>
                    <a:pt x="478" y="0"/>
                    <a:pt x="46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94" name="Google Shape;494;p39"/>
            <p:cNvSpPr/>
            <p:nvPr/>
          </p:nvSpPr>
          <p:spPr>
            <a:xfrm>
              <a:off x="1795900" y="2387434"/>
              <a:ext cx="13525" cy="5400"/>
            </a:xfrm>
            <a:custGeom>
              <a:avLst/>
              <a:gdLst/>
              <a:ahLst/>
              <a:cxnLst/>
              <a:rect l="l" t="t" r="r" b="b"/>
              <a:pathLst>
                <a:path w="541" h="216" extrusionOk="0">
                  <a:moveTo>
                    <a:pt x="462" y="0"/>
                  </a:moveTo>
                  <a:cubicBezTo>
                    <a:pt x="447" y="0"/>
                    <a:pt x="433" y="2"/>
                    <a:pt x="418" y="5"/>
                  </a:cubicBezTo>
                  <a:lnTo>
                    <a:pt x="370" y="14"/>
                  </a:lnTo>
                  <a:cubicBezTo>
                    <a:pt x="335" y="21"/>
                    <a:pt x="300" y="29"/>
                    <a:pt x="265" y="36"/>
                  </a:cubicBezTo>
                  <a:lnTo>
                    <a:pt x="58" y="82"/>
                  </a:lnTo>
                  <a:cubicBezTo>
                    <a:pt x="21" y="91"/>
                    <a:pt x="0" y="129"/>
                    <a:pt x="10" y="166"/>
                  </a:cubicBezTo>
                  <a:cubicBezTo>
                    <a:pt x="19" y="196"/>
                    <a:pt x="47" y="215"/>
                    <a:pt x="77" y="215"/>
                  </a:cubicBezTo>
                  <a:cubicBezTo>
                    <a:pt x="82" y="215"/>
                    <a:pt x="88" y="215"/>
                    <a:pt x="94" y="213"/>
                  </a:cubicBezTo>
                  <a:lnTo>
                    <a:pt x="95" y="213"/>
                  </a:lnTo>
                  <a:lnTo>
                    <a:pt x="302" y="165"/>
                  </a:lnTo>
                  <a:cubicBezTo>
                    <a:pt x="335" y="157"/>
                    <a:pt x="370" y="148"/>
                    <a:pt x="404" y="140"/>
                  </a:cubicBezTo>
                  <a:lnTo>
                    <a:pt x="453" y="127"/>
                  </a:lnTo>
                  <a:cubicBezTo>
                    <a:pt x="472" y="121"/>
                    <a:pt x="492" y="112"/>
                    <a:pt x="510" y="100"/>
                  </a:cubicBezTo>
                  <a:cubicBezTo>
                    <a:pt x="531" y="88"/>
                    <a:pt x="540" y="64"/>
                    <a:pt x="535" y="41"/>
                  </a:cubicBezTo>
                  <a:cubicBezTo>
                    <a:pt x="528" y="18"/>
                    <a:pt x="507" y="3"/>
                    <a:pt x="484" y="1"/>
                  </a:cubicBezTo>
                  <a:cubicBezTo>
                    <a:pt x="477" y="1"/>
                    <a:pt x="469" y="0"/>
                    <a:pt x="46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95" name="Google Shape;495;p39"/>
            <p:cNvSpPr/>
            <p:nvPr/>
          </p:nvSpPr>
          <p:spPr>
            <a:xfrm>
              <a:off x="1809350" y="2376234"/>
              <a:ext cx="10150" cy="5575"/>
            </a:xfrm>
            <a:custGeom>
              <a:avLst/>
              <a:gdLst/>
              <a:ahLst/>
              <a:cxnLst/>
              <a:rect l="l" t="t" r="r" b="b"/>
              <a:pathLst>
                <a:path w="406" h="223" extrusionOk="0">
                  <a:moveTo>
                    <a:pt x="324" y="0"/>
                  </a:moveTo>
                  <a:cubicBezTo>
                    <a:pt x="322" y="0"/>
                    <a:pt x="319" y="0"/>
                    <a:pt x="317" y="1"/>
                  </a:cubicBezTo>
                  <a:cubicBezTo>
                    <a:pt x="300" y="3"/>
                    <a:pt x="283" y="4"/>
                    <a:pt x="266" y="7"/>
                  </a:cubicBezTo>
                  <a:cubicBezTo>
                    <a:pt x="242" y="12"/>
                    <a:pt x="216" y="18"/>
                    <a:pt x="192" y="26"/>
                  </a:cubicBezTo>
                  <a:cubicBezTo>
                    <a:pt x="139" y="43"/>
                    <a:pt x="90" y="67"/>
                    <a:pt x="43" y="96"/>
                  </a:cubicBezTo>
                  <a:cubicBezTo>
                    <a:pt x="12" y="116"/>
                    <a:pt x="0" y="157"/>
                    <a:pt x="18" y="189"/>
                  </a:cubicBezTo>
                  <a:cubicBezTo>
                    <a:pt x="32" y="209"/>
                    <a:pt x="56" y="222"/>
                    <a:pt x="79" y="222"/>
                  </a:cubicBezTo>
                  <a:cubicBezTo>
                    <a:pt x="90" y="222"/>
                    <a:pt x="101" y="220"/>
                    <a:pt x="111" y="213"/>
                  </a:cubicBezTo>
                  <a:lnTo>
                    <a:pt x="112" y="213"/>
                  </a:lnTo>
                  <a:cubicBezTo>
                    <a:pt x="131" y="200"/>
                    <a:pt x="152" y="188"/>
                    <a:pt x="174" y="178"/>
                  </a:cubicBezTo>
                  <a:cubicBezTo>
                    <a:pt x="178" y="174"/>
                    <a:pt x="184" y="172"/>
                    <a:pt x="191" y="170"/>
                  </a:cubicBezTo>
                  <a:cubicBezTo>
                    <a:pt x="194" y="168"/>
                    <a:pt x="203" y="163"/>
                    <a:pt x="203" y="163"/>
                  </a:cubicBezTo>
                  <a:lnTo>
                    <a:pt x="203" y="163"/>
                  </a:lnTo>
                  <a:cubicBezTo>
                    <a:pt x="203" y="163"/>
                    <a:pt x="201" y="164"/>
                    <a:pt x="197" y="166"/>
                  </a:cubicBezTo>
                  <a:cubicBezTo>
                    <a:pt x="207" y="162"/>
                    <a:pt x="219" y="157"/>
                    <a:pt x="230" y="154"/>
                  </a:cubicBezTo>
                  <a:cubicBezTo>
                    <a:pt x="253" y="146"/>
                    <a:pt x="275" y="140"/>
                    <a:pt x="299" y="134"/>
                  </a:cubicBezTo>
                  <a:cubicBezTo>
                    <a:pt x="311" y="131"/>
                    <a:pt x="322" y="128"/>
                    <a:pt x="334" y="127"/>
                  </a:cubicBezTo>
                  <a:cubicBezTo>
                    <a:pt x="350" y="123"/>
                    <a:pt x="364" y="117"/>
                    <a:pt x="378" y="108"/>
                  </a:cubicBezTo>
                  <a:cubicBezTo>
                    <a:pt x="396" y="96"/>
                    <a:pt x="405" y="75"/>
                    <a:pt x="403" y="53"/>
                  </a:cubicBezTo>
                  <a:cubicBezTo>
                    <a:pt x="399" y="33"/>
                    <a:pt x="385" y="14"/>
                    <a:pt x="364" y="9"/>
                  </a:cubicBezTo>
                  <a:cubicBezTo>
                    <a:pt x="351" y="3"/>
                    <a:pt x="338" y="0"/>
                    <a:pt x="32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96" name="Google Shape;496;p39"/>
            <p:cNvSpPr/>
            <p:nvPr/>
          </p:nvSpPr>
          <p:spPr>
            <a:xfrm>
              <a:off x="1714027" y="2112087"/>
              <a:ext cx="354798" cy="307952"/>
            </a:xfrm>
            <a:custGeom>
              <a:avLst/>
              <a:gdLst/>
              <a:ahLst/>
              <a:cxnLst/>
              <a:rect l="l" t="t" r="r" b="b"/>
              <a:pathLst>
                <a:path w="22123" h="19205" extrusionOk="0">
                  <a:moveTo>
                    <a:pt x="14167" y="591"/>
                  </a:moveTo>
                  <a:lnTo>
                    <a:pt x="12063" y="1975"/>
                  </a:lnTo>
                  <a:cubicBezTo>
                    <a:pt x="12692" y="1765"/>
                    <a:pt x="13324" y="1564"/>
                    <a:pt x="13960" y="1373"/>
                  </a:cubicBezTo>
                  <a:lnTo>
                    <a:pt x="13960" y="1373"/>
                  </a:lnTo>
                  <a:cubicBezTo>
                    <a:pt x="14036" y="1115"/>
                    <a:pt x="14105" y="854"/>
                    <a:pt x="14167" y="591"/>
                  </a:cubicBezTo>
                  <a:close/>
                  <a:moveTo>
                    <a:pt x="19856" y="0"/>
                  </a:moveTo>
                  <a:cubicBezTo>
                    <a:pt x="19449" y="0"/>
                    <a:pt x="19027" y="62"/>
                    <a:pt x="18648" y="147"/>
                  </a:cubicBezTo>
                  <a:cubicBezTo>
                    <a:pt x="17071" y="499"/>
                    <a:pt x="15507" y="908"/>
                    <a:pt x="13960" y="1373"/>
                  </a:cubicBezTo>
                  <a:lnTo>
                    <a:pt x="13960" y="1373"/>
                  </a:lnTo>
                  <a:cubicBezTo>
                    <a:pt x="13110" y="4248"/>
                    <a:pt x="11393" y="6865"/>
                    <a:pt x="9083" y="8777"/>
                  </a:cubicBezTo>
                  <a:cubicBezTo>
                    <a:pt x="7257" y="10289"/>
                    <a:pt x="5096" y="11357"/>
                    <a:pt x="3291" y="12892"/>
                  </a:cubicBezTo>
                  <a:cubicBezTo>
                    <a:pt x="1486" y="14425"/>
                    <a:pt x="1" y="16651"/>
                    <a:pt x="259" y="19007"/>
                  </a:cubicBezTo>
                  <a:cubicBezTo>
                    <a:pt x="755" y="19142"/>
                    <a:pt x="1264" y="19204"/>
                    <a:pt x="1774" y="19204"/>
                  </a:cubicBezTo>
                  <a:cubicBezTo>
                    <a:pt x="3055" y="19204"/>
                    <a:pt x="4347" y="18814"/>
                    <a:pt x="5491" y="18214"/>
                  </a:cubicBezTo>
                  <a:cubicBezTo>
                    <a:pt x="7090" y="17373"/>
                    <a:pt x="8450" y="16152"/>
                    <a:pt x="9792" y="14942"/>
                  </a:cubicBezTo>
                  <a:cubicBezTo>
                    <a:pt x="11993" y="12958"/>
                    <a:pt x="14208" y="10960"/>
                    <a:pt x="15996" y="8597"/>
                  </a:cubicBezTo>
                  <a:cubicBezTo>
                    <a:pt x="17222" y="6976"/>
                    <a:pt x="18259" y="5172"/>
                    <a:pt x="19823" y="3877"/>
                  </a:cubicBezTo>
                  <a:cubicBezTo>
                    <a:pt x="20802" y="3066"/>
                    <a:pt x="22122" y="1986"/>
                    <a:pt x="21580" y="838"/>
                  </a:cubicBezTo>
                  <a:cubicBezTo>
                    <a:pt x="21281" y="202"/>
                    <a:pt x="20593" y="0"/>
                    <a:pt x="198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497" name="Google Shape;497;p39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498" name="Google Shape;498;p39"/>
          <p:cNvGrpSpPr/>
          <p:nvPr/>
        </p:nvGrpSpPr>
        <p:grpSpPr>
          <a:xfrm flipH="1">
            <a:off x="10929734" y="403224"/>
            <a:ext cx="1197085" cy="1162301"/>
            <a:chOff x="4944000" y="1221025"/>
            <a:chExt cx="151425" cy="147025"/>
          </a:xfrm>
        </p:grpSpPr>
        <p:sp>
          <p:nvSpPr>
            <p:cNvPr id="499" name="Google Shape;499;p39"/>
            <p:cNvSpPr/>
            <p:nvPr/>
          </p:nvSpPr>
          <p:spPr>
            <a:xfrm>
              <a:off x="5017279" y="1313650"/>
              <a:ext cx="23475" cy="3650"/>
            </a:xfrm>
            <a:custGeom>
              <a:avLst/>
              <a:gdLst/>
              <a:ahLst/>
              <a:cxnLst/>
              <a:rect l="l" t="t" r="r" b="b"/>
              <a:pathLst>
                <a:path w="939" h="146" extrusionOk="0">
                  <a:moveTo>
                    <a:pt x="615" y="0"/>
                  </a:moveTo>
                  <a:cubicBezTo>
                    <a:pt x="569" y="0"/>
                    <a:pt x="524" y="1"/>
                    <a:pt x="478" y="1"/>
                  </a:cubicBezTo>
                  <a:lnTo>
                    <a:pt x="69" y="3"/>
                  </a:lnTo>
                  <a:cubicBezTo>
                    <a:pt x="31" y="4"/>
                    <a:pt x="0" y="34"/>
                    <a:pt x="0" y="71"/>
                  </a:cubicBezTo>
                  <a:cubicBezTo>
                    <a:pt x="1" y="109"/>
                    <a:pt x="31" y="140"/>
                    <a:pt x="69" y="141"/>
                  </a:cubicBezTo>
                  <a:lnTo>
                    <a:pt x="69" y="142"/>
                  </a:lnTo>
                  <a:lnTo>
                    <a:pt x="478" y="144"/>
                  </a:lnTo>
                  <a:cubicBezTo>
                    <a:pt x="523" y="144"/>
                    <a:pt x="568" y="145"/>
                    <a:pt x="613" y="145"/>
                  </a:cubicBezTo>
                  <a:cubicBezTo>
                    <a:pt x="635" y="145"/>
                    <a:pt x="658" y="145"/>
                    <a:pt x="680" y="144"/>
                  </a:cubicBezTo>
                  <a:lnTo>
                    <a:pt x="782" y="141"/>
                  </a:lnTo>
                  <a:lnTo>
                    <a:pt x="834" y="140"/>
                  </a:lnTo>
                  <a:cubicBezTo>
                    <a:pt x="847" y="140"/>
                    <a:pt x="860" y="139"/>
                    <a:pt x="871" y="135"/>
                  </a:cubicBezTo>
                  <a:cubicBezTo>
                    <a:pt x="882" y="131"/>
                    <a:pt x="892" y="126"/>
                    <a:pt x="902" y="121"/>
                  </a:cubicBezTo>
                  <a:cubicBezTo>
                    <a:pt x="939" y="103"/>
                    <a:pt x="939" y="42"/>
                    <a:pt x="902" y="24"/>
                  </a:cubicBezTo>
                  <a:cubicBezTo>
                    <a:pt x="892" y="18"/>
                    <a:pt x="882" y="13"/>
                    <a:pt x="871" y="9"/>
                  </a:cubicBezTo>
                  <a:cubicBezTo>
                    <a:pt x="862" y="7"/>
                    <a:pt x="851" y="5"/>
                    <a:pt x="841" y="5"/>
                  </a:cubicBezTo>
                  <a:cubicBezTo>
                    <a:pt x="839" y="5"/>
                    <a:pt x="837" y="5"/>
                    <a:pt x="834" y="5"/>
                  </a:cubicBezTo>
                  <a:lnTo>
                    <a:pt x="782" y="4"/>
                  </a:lnTo>
                  <a:lnTo>
                    <a:pt x="684" y="1"/>
                  </a:lnTo>
                  <a:cubicBezTo>
                    <a:pt x="661" y="0"/>
                    <a:pt x="638" y="0"/>
                    <a:pt x="61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00" name="Google Shape;500;p39"/>
            <p:cNvSpPr/>
            <p:nvPr/>
          </p:nvSpPr>
          <p:spPr>
            <a:xfrm>
              <a:off x="5020679" y="1326350"/>
              <a:ext cx="9600" cy="4500"/>
            </a:xfrm>
            <a:custGeom>
              <a:avLst/>
              <a:gdLst/>
              <a:ahLst/>
              <a:cxnLst/>
              <a:rect l="l" t="t" r="r" b="b"/>
              <a:pathLst>
                <a:path w="384" h="180" extrusionOk="0">
                  <a:moveTo>
                    <a:pt x="272" y="7"/>
                  </a:moveTo>
                  <a:lnTo>
                    <a:pt x="274" y="7"/>
                  </a:lnTo>
                  <a:lnTo>
                    <a:pt x="277" y="8"/>
                  </a:lnTo>
                  <a:lnTo>
                    <a:pt x="277" y="8"/>
                  </a:lnTo>
                  <a:cubicBezTo>
                    <a:pt x="276" y="8"/>
                    <a:pt x="274" y="7"/>
                    <a:pt x="272" y="7"/>
                  </a:cubicBezTo>
                  <a:close/>
                  <a:moveTo>
                    <a:pt x="277" y="174"/>
                  </a:moveTo>
                  <a:lnTo>
                    <a:pt x="270" y="175"/>
                  </a:lnTo>
                  <a:lnTo>
                    <a:pt x="270" y="175"/>
                  </a:lnTo>
                  <a:cubicBezTo>
                    <a:pt x="271" y="174"/>
                    <a:pt x="272" y="174"/>
                    <a:pt x="273" y="174"/>
                  </a:cubicBezTo>
                  <a:close/>
                  <a:moveTo>
                    <a:pt x="172" y="1"/>
                  </a:moveTo>
                  <a:lnTo>
                    <a:pt x="88" y="2"/>
                  </a:lnTo>
                  <a:cubicBezTo>
                    <a:pt x="65" y="3"/>
                    <a:pt x="43" y="11"/>
                    <a:pt x="26" y="28"/>
                  </a:cubicBezTo>
                  <a:cubicBezTo>
                    <a:pt x="10" y="44"/>
                    <a:pt x="0" y="66"/>
                    <a:pt x="0" y="89"/>
                  </a:cubicBezTo>
                  <a:cubicBezTo>
                    <a:pt x="1" y="137"/>
                    <a:pt x="40" y="176"/>
                    <a:pt x="88" y="177"/>
                  </a:cubicBezTo>
                  <a:lnTo>
                    <a:pt x="88" y="178"/>
                  </a:lnTo>
                  <a:lnTo>
                    <a:pt x="172" y="179"/>
                  </a:lnTo>
                  <a:lnTo>
                    <a:pt x="234" y="179"/>
                  </a:lnTo>
                  <a:cubicBezTo>
                    <a:pt x="236" y="179"/>
                    <a:pt x="238" y="179"/>
                    <a:pt x="240" y="179"/>
                  </a:cubicBezTo>
                  <a:cubicBezTo>
                    <a:pt x="249" y="179"/>
                    <a:pt x="258" y="178"/>
                    <a:pt x="268" y="175"/>
                  </a:cubicBezTo>
                  <a:lnTo>
                    <a:pt x="268" y="175"/>
                  </a:lnTo>
                  <a:lnTo>
                    <a:pt x="281" y="174"/>
                  </a:lnTo>
                  <a:cubicBezTo>
                    <a:pt x="288" y="174"/>
                    <a:pt x="296" y="173"/>
                    <a:pt x="303" y="172"/>
                  </a:cubicBezTo>
                  <a:cubicBezTo>
                    <a:pt x="322" y="170"/>
                    <a:pt x="339" y="161"/>
                    <a:pt x="353" y="146"/>
                  </a:cubicBezTo>
                  <a:cubicBezTo>
                    <a:pt x="383" y="116"/>
                    <a:pt x="383" y="65"/>
                    <a:pt x="353" y="34"/>
                  </a:cubicBezTo>
                  <a:cubicBezTo>
                    <a:pt x="341" y="23"/>
                    <a:pt x="328" y="16"/>
                    <a:pt x="314" y="10"/>
                  </a:cubicBezTo>
                  <a:cubicBezTo>
                    <a:pt x="303" y="8"/>
                    <a:pt x="292" y="7"/>
                    <a:pt x="281" y="7"/>
                  </a:cubicBezTo>
                  <a:lnTo>
                    <a:pt x="273" y="6"/>
                  </a:lnTo>
                  <a:lnTo>
                    <a:pt x="272" y="6"/>
                  </a:lnTo>
                  <a:lnTo>
                    <a:pt x="273" y="6"/>
                  </a:lnTo>
                  <a:lnTo>
                    <a:pt x="270" y="6"/>
                  </a:lnTo>
                  <a:lnTo>
                    <a:pt x="270" y="6"/>
                  </a:lnTo>
                  <a:cubicBezTo>
                    <a:pt x="259" y="3"/>
                    <a:pt x="248" y="1"/>
                    <a:pt x="23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01" name="Google Shape;501;p39"/>
            <p:cNvSpPr/>
            <p:nvPr/>
          </p:nvSpPr>
          <p:spPr>
            <a:xfrm>
              <a:off x="4944000" y="1355175"/>
              <a:ext cx="16250" cy="4200"/>
            </a:xfrm>
            <a:custGeom>
              <a:avLst/>
              <a:gdLst/>
              <a:ahLst/>
              <a:cxnLst/>
              <a:rect l="l" t="t" r="r" b="b"/>
              <a:pathLst>
                <a:path w="650" h="168" extrusionOk="0">
                  <a:moveTo>
                    <a:pt x="334" y="0"/>
                  </a:moveTo>
                  <a:lnTo>
                    <a:pt x="84" y="2"/>
                  </a:lnTo>
                  <a:cubicBezTo>
                    <a:pt x="41" y="2"/>
                    <a:pt x="0" y="39"/>
                    <a:pt x="2" y="84"/>
                  </a:cubicBezTo>
                  <a:cubicBezTo>
                    <a:pt x="3" y="129"/>
                    <a:pt x="39" y="165"/>
                    <a:pt x="84" y="166"/>
                  </a:cubicBezTo>
                  <a:lnTo>
                    <a:pt x="84" y="165"/>
                  </a:lnTo>
                  <a:lnTo>
                    <a:pt x="334" y="167"/>
                  </a:lnTo>
                  <a:lnTo>
                    <a:pt x="459" y="167"/>
                  </a:lnTo>
                  <a:cubicBezTo>
                    <a:pt x="463" y="167"/>
                    <a:pt x="467" y="167"/>
                    <a:pt x="471" y="167"/>
                  </a:cubicBezTo>
                  <a:cubicBezTo>
                    <a:pt x="492" y="167"/>
                    <a:pt x="513" y="165"/>
                    <a:pt x="535" y="159"/>
                  </a:cubicBezTo>
                  <a:cubicBezTo>
                    <a:pt x="555" y="154"/>
                    <a:pt x="575" y="147"/>
                    <a:pt x="595" y="139"/>
                  </a:cubicBezTo>
                  <a:cubicBezTo>
                    <a:pt x="649" y="123"/>
                    <a:pt x="649" y="45"/>
                    <a:pt x="595" y="28"/>
                  </a:cubicBezTo>
                  <a:lnTo>
                    <a:pt x="538" y="9"/>
                  </a:lnTo>
                  <a:cubicBezTo>
                    <a:pt x="518" y="4"/>
                    <a:pt x="498" y="1"/>
                    <a:pt x="478" y="1"/>
                  </a:cubicBezTo>
                  <a:cubicBezTo>
                    <a:pt x="472" y="1"/>
                    <a:pt x="467" y="1"/>
                    <a:pt x="462" y="1"/>
                  </a:cubicBezTo>
                  <a:cubicBezTo>
                    <a:pt x="420" y="0"/>
                    <a:pt x="377" y="0"/>
                    <a:pt x="33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02" name="Google Shape;502;p39"/>
            <p:cNvSpPr/>
            <p:nvPr/>
          </p:nvSpPr>
          <p:spPr>
            <a:xfrm>
              <a:off x="4958550" y="1363500"/>
              <a:ext cx="9700" cy="4550"/>
            </a:xfrm>
            <a:custGeom>
              <a:avLst/>
              <a:gdLst/>
              <a:ahLst/>
              <a:cxnLst/>
              <a:rect l="l" t="t" r="r" b="b"/>
              <a:pathLst>
                <a:path w="388" h="182" extrusionOk="0">
                  <a:moveTo>
                    <a:pt x="90" y="0"/>
                  </a:moveTo>
                  <a:cubicBezTo>
                    <a:pt x="40" y="1"/>
                    <a:pt x="0" y="42"/>
                    <a:pt x="0" y="91"/>
                  </a:cubicBezTo>
                  <a:cubicBezTo>
                    <a:pt x="1" y="141"/>
                    <a:pt x="40" y="181"/>
                    <a:pt x="90" y="182"/>
                  </a:cubicBezTo>
                  <a:lnTo>
                    <a:pt x="90" y="181"/>
                  </a:lnTo>
                  <a:lnTo>
                    <a:pt x="160" y="180"/>
                  </a:lnTo>
                  <a:lnTo>
                    <a:pt x="197" y="180"/>
                  </a:lnTo>
                  <a:cubicBezTo>
                    <a:pt x="208" y="180"/>
                    <a:pt x="219" y="178"/>
                    <a:pt x="230" y="174"/>
                  </a:cubicBezTo>
                  <a:cubicBezTo>
                    <a:pt x="236" y="172"/>
                    <a:pt x="241" y="170"/>
                    <a:pt x="248" y="168"/>
                  </a:cubicBezTo>
                  <a:cubicBezTo>
                    <a:pt x="294" y="154"/>
                    <a:pt x="388" y="161"/>
                    <a:pt x="388" y="91"/>
                  </a:cubicBezTo>
                  <a:cubicBezTo>
                    <a:pt x="387" y="64"/>
                    <a:pt x="369" y="42"/>
                    <a:pt x="344" y="33"/>
                  </a:cubicBezTo>
                  <a:cubicBezTo>
                    <a:pt x="333" y="30"/>
                    <a:pt x="323" y="27"/>
                    <a:pt x="312" y="26"/>
                  </a:cubicBezTo>
                  <a:cubicBezTo>
                    <a:pt x="290" y="23"/>
                    <a:pt x="269" y="18"/>
                    <a:pt x="248" y="13"/>
                  </a:cubicBezTo>
                  <a:cubicBezTo>
                    <a:pt x="241" y="11"/>
                    <a:pt x="236" y="9"/>
                    <a:pt x="230" y="7"/>
                  </a:cubicBezTo>
                  <a:cubicBezTo>
                    <a:pt x="219" y="4"/>
                    <a:pt x="208" y="1"/>
                    <a:pt x="197" y="1"/>
                  </a:cubicBezTo>
                  <a:lnTo>
                    <a:pt x="162" y="1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03" name="Google Shape;503;p39"/>
            <p:cNvSpPr/>
            <p:nvPr/>
          </p:nvSpPr>
          <p:spPr>
            <a:xfrm>
              <a:off x="5079800" y="1221025"/>
              <a:ext cx="15625" cy="4950"/>
            </a:xfrm>
            <a:custGeom>
              <a:avLst/>
              <a:gdLst/>
              <a:ahLst/>
              <a:cxnLst/>
              <a:rect l="l" t="t" r="r" b="b"/>
              <a:pathLst>
                <a:path w="625" h="198" extrusionOk="0">
                  <a:moveTo>
                    <a:pt x="467" y="45"/>
                  </a:moveTo>
                  <a:cubicBezTo>
                    <a:pt x="469" y="46"/>
                    <a:pt x="471" y="47"/>
                    <a:pt x="473" y="47"/>
                  </a:cubicBezTo>
                  <a:cubicBezTo>
                    <a:pt x="470" y="46"/>
                    <a:pt x="468" y="45"/>
                    <a:pt x="467" y="45"/>
                  </a:cubicBezTo>
                  <a:close/>
                  <a:moveTo>
                    <a:pt x="388" y="179"/>
                  </a:moveTo>
                  <a:lnTo>
                    <a:pt x="388" y="179"/>
                  </a:lnTo>
                  <a:cubicBezTo>
                    <a:pt x="388" y="179"/>
                    <a:pt x="389" y="179"/>
                    <a:pt x="391" y="180"/>
                  </a:cubicBezTo>
                  <a:lnTo>
                    <a:pt x="391" y="180"/>
                  </a:lnTo>
                  <a:cubicBezTo>
                    <a:pt x="389" y="179"/>
                    <a:pt x="388" y="179"/>
                    <a:pt x="388" y="179"/>
                  </a:cubicBezTo>
                  <a:close/>
                  <a:moveTo>
                    <a:pt x="235" y="1"/>
                  </a:moveTo>
                  <a:cubicBezTo>
                    <a:pt x="230" y="1"/>
                    <a:pt x="224" y="1"/>
                    <a:pt x="218" y="1"/>
                  </a:cubicBezTo>
                  <a:cubicBezTo>
                    <a:pt x="171" y="3"/>
                    <a:pt x="122" y="8"/>
                    <a:pt x="76" y="17"/>
                  </a:cubicBezTo>
                  <a:cubicBezTo>
                    <a:pt x="30" y="25"/>
                    <a:pt x="1" y="82"/>
                    <a:pt x="15" y="124"/>
                  </a:cubicBezTo>
                  <a:cubicBezTo>
                    <a:pt x="26" y="162"/>
                    <a:pt x="62" y="188"/>
                    <a:pt x="101" y="188"/>
                  </a:cubicBezTo>
                  <a:cubicBezTo>
                    <a:pt x="108" y="188"/>
                    <a:pt x="115" y="187"/>
                    <a:pt x="122" y="185"/>
                  </a:cubicBezTo>
                  <a:lnTo>
                    <a:pt x="122" y="184"/>
                  </a:lnTo>
                  <a:cubicBezTo>
                    <a:pt x="132" y="182"/>
                    <a:pt x="141" y="180"/>
                    <a:pt x="151" y="179"/>
                  </a:cubicBezTo>
                  <a:cubicBezTo>
                    <a:pt x="151" y="179"/>
                    <a:pt x="152" y="179"/>
                    <a:pt x="154" y="179"/>
                  </a:cubicBezTo>
                  <a:lnTo>
                    <a:pt x="154" y="179"/>
                  </a:lnTo>
                  <a:cubicBezTo>
                    <a:pt x="157" y="178"/>
                    <a:pt x="161" y="178"/>
                    <a:pt x="162" y="178"/>
                  </a:cubicBezTo>
                  <a:cubicBezTo>
                    <a:pt x="182" y="176"/>
                    <a:pt x="201" y="175"/>
                    <a:pt x="221" y="174"/>
                  </a:cubicBezTo>
                  <a:cubicBezTo>
                    <a:pt x="237" y="173"/>
                    <a:pt x="254" y="173"/>
                    <a:pt x="270" y="173"/>
                  </a:cubicBezTo>
                  <a:cubicBezTo>
                    <a:pt x="293" y="173"/>
                    <a:pt x="316" y="174"/>
                    <a:pt x="338" y="175"/>
                  </a:cubicBezTo>
                  <a:cubicBezTo>
                    <a:pt x="356" y="176"/>
                    <a:pt x="375" y="180"/>
                    <a:pt x="393" y="180"/>
                  </a:cubicBezTo>
                  <a:lnTo>
                    <a:pt x="393" y="180"/>
                  </a:lnTo>
                  <a:cubicBezTo>
                    <a:pt x="393" y="180"/>
                    <a:pt x="393" y="180"/>
                    <a:pt x="393" y="180"/>
                  </a:cubicBezTo>
                  <a:cubicBezTo>
                    <a:pt x="401" y="182"/>
                    <a:pt x="409" y="183"/>
                    <a:pt x="417" y="183"/>
                  </a:cubicBezTo>
                  <a:cubicBezTo>
                    <a:pt x="420" y="183"/>
                    <a:pt x="423" y="182"/>
                    <a:pt x="426" y="182"/>
                  </a:cubicBezTo>
                  <a:cubicBezTo>
                    <a:pt x="429" y="182"/>
                    <a:pt x="433" y="181"/>
                    <a:pt x="436" y="181"/>
                  </a:cubicBezTo>
                  <a:cubicBezTo>
                    <a:pt x="431" y="180"/>
                    <a:pt x="429" y="180"/>
                    <a:pt x="429" y="180"/>
                  </a:cubicBezTo>
                  <a:lnTo>
                    <a:pt x="429" y="180"/>
                  </a:lnTo>
                  <a:cubicBezTo>
                    <a:pt x="430" y="180"/>
                    <a:pt x="431" y="180"/>
                    <a:pt x="432" y="180"/>
                  </a:cubicBezTo>
                  <a:lnTo>
                    <a:pt x="438" y="181"/>
                  </a:lnTo>
                  <a:cubicBezTo>
                    <a:pt x="462" y="185"/>
                    <a:pt x="484" y="191"/>
                    <a:pt x="507" y="193"/>
                  </a:cubicBezTo>
                  <a:cubicBezTo>
                    <a:pt x="527" y="194"/>
                    <a:pt x="546" y="195"/>
                    <a:pt x="565" y="197"/>
                  </a:cubicBezTo>
                  <a:cubicBezTo>
                    <a:pt x="566" y="197"/>
                    <a:pt x="568" y="197"/>
                    <a:pt x="569" y="197"/>
                  </a:cubicBezTo>
                  <a:cubicBezTo>
                    <a:pt x="604" y="197"/>
                    <a:pt x="624" y="143"/>
                    <a:pt x="597" y="120"/>
                  </a:cubicBezTo>
                  <a:cubicBezTo>
                    <a:pt x="579" y="105"/>
                    <a:pt x="561" y="90"/>
                    <a:pt x="541" y="78"/>
                  </a:cubicBezTo>
                  <a:cubicBezTo>
                    <a:pt x="522" y="65"/>
                    <a:pt x="500" y="56"/>
                    <a:pt x="477" y="49"/>
                  </a:cubicBezTo>
                  <a:lnTo>
                    <a:pt x="469" y="46"/>
                  </a:lnTo>
                  <a:cubicBezTo>
                    <a:pt x="467" y="45"/>
                    <a:pt x="466" y="45"/>
                    <a:pt x="467" y="45"/>
                  </a:cubicBezTo>
                  <a:lnTo>
                    <a:pt x="467" y="45"/>
                  </a:lnTo>
                  <a:cubicBezTo>
                    <a:pt x="467" y="45"/>
                    <a:pt x="467" y="45"/>
                    <a:pt x="467" y="45"/>
                  </a:cubicBezTo>
                  <a:lnTo>
                    <a:pt x="467" y="45"/>
                  </a:lnTo>
                  <a:cubicBezTo>
                    <a:pt x="465" y="43"/>
                    <a:pt x="462" y="41"/>
                    <a:pt x="461" y="40"/>
                  </a:cubicBezTo>
                  <a:cubicBezTo>
                    <a:pt x="448" y="32"/>
                    <a:pt x="433" y="27"/>
                    <a:pt x="417" y="24"/>
                  </a:cubicBezTo>
                  <a:cubicBezTo>
                    <a:pt x="398" y="19"/>
                    <a:pt x="378" y="14"/>
                    <a:pt x="357" y="11"/>
                  </a:cubicBezTo>
                  <a:cubicBezTo>
                    <a:pt x="318" y="4"/>
                    <a:pt x="276" y="1"/>
                    <a:pt x="23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5">
  <p:cSld name="CUSTOM_28_1_1">
    <p:spTree>
      <p:nvGrpSpPr>
        <p:cNvPr id="1" name="Shape 5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5" name="Google Shape;505;p40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506" name="Google Shape;506;p40"/>
          <p:cNvGrpSpPr/>
          <p:nvPr/>
        </p:nvGrpSpPr>
        <p:grpSpPr>
          <a:xfrm>
            <a:off x="-1464289" y="-424891"/>
            <a:ext cx="3383303" cy="2936960"/>
            <a:chOff x="1714027" y="2112087"/>
            <a:chExt cx="354798" cy="307952"/>
          </a:xfrm>
        </p:grpSpPr>
        <p:sp>
          <p:nvSpPr>
            <p:cNvPr id="507" name="Google Shape;507;p40"/>
            <p:cNvSpPr/>
            <p:nvPr/>
          </p:nvSpPr>
          <p:spPr>
            <a:xfrm>
              <a:off x="1714027" y="2112087"/>
              <a:ext cx="354798" cy="307952"/>
            </a:xfrm>
            <a:custGeom>
              <a:avLst/>
              <a:gdLst/>
              <a:ahLst/>
              <a:cxnLst/>
              <a:rect l="l" t="t" r="r" b="b"/>
              <a:pathLst>
                <a:path w="22123" h="19205" extrusionOk="0">
                  <a:moveTo>
                    <a:pt x="14167" y="591"/>
                  </a:moveTo>
                  <a:lnTo>
                    <a:pt x="12063" y="1975"/>
                  </a:lnTo>
                  <a:cubicBezTo>
                    <a:pt x="12692" y="1765"/>
                    <a:pt x="13324" y="1564"/>
                    <a:pt x="13960" y="1373"/>
                  </a:cubicBezTo>
                  <a:lnTo>
                    <a:pt x="13960" y="1373"/>
                  </a:lnTo>
                  <a:cubicBezTo>
                    <a:pt x="14036" y="1115"/>
                    <a:pt x="14105" y="854"/>
                    <a:pt x="14167" y="591"/>
                  </a:cubicBezTo>
                  <a:close/>
                  <a:moveTo>
                    <a:pt x="19856" y="0"/>
                  </a:moveTo>
                  <a:cubicBezTo>
                    <a:pt x="19449" y="0"/>
                    <a:pt x="19027" y="62"/>
                    <a:pt x="18648" y="147"/>
                  </a:cubicBezTo>
                  <a:cubicBezTo>
                    <a:pt x="17071" y="499"/>
                    <a:pt x="15507" y="908"/>
                    <a:pt x="13960" y="1373"/>
                  </a:cubicBezTo>
                  <a:lnTo>
                    <a:pt x="13960" y="1373"/>
                  </a:lnTo>
                  <a:cubicBezTo>
                    <a:pt x="13110" y="4248"/>
                    <a:pt x="11393" y="6865"/>
                    <a:pt x="9083" y="8777"/>
                  </a:cubicBezTo>
                  <a:cubicBezTo>
                    <a:pt x="7257" y="10289"/>
                    <a:pt x="5096" y="11357"/>
                    <a:pt x="3291" y="12892"/>
                  </a:cubicBezTo>
                  <a:cubicBezTo>
                    <a:pt x="1486" y="14425"/>
                    <a:pt x="1" y="16651"/>
                    <a:pt x="259" y="19007"/>
                  </a:cubicBezTo>
                  <a:cubicBezTo>
                    <a:pt x="755" y="19142"/>
                    <a:pt x="1264" y="19204"/>
                    <a:pt x="1774" y="19204"/>
                  </a:cubicBezTo>
                  <a:cubicBezTo>
                    <a:pt x="3055" y="19204"/>
                    <a:pt x="4347" y="18814"/>
                    <a:pt x="5491" y="18214"/>
                  </a:cubicBezTo>
                  <a:cubicBezTo>
                    <a:pt x="7090" y="17373"/>
                    <a:pt x="8450" y="16152"/>
                    <a:pt x="9792" y="14942"/>
                  </a:cubicBezTo>
                  <a:cubicBezTo>
                    <a:pt x="11993" y="12958"/>
                    <a:pt x="14208" y="10960"/>
                    <a:pt x="15996" y="8597"/>
                  </a:cubicBezTo>
                  <a:cubicBezTo>
                    <a:pt x="17222" y="6976"/>
                    <a:pt x="18259" y="5172"/>
                    <a:pt x="19823" y="3877"/>
                  </a:cubicBezTo>
                  <a:cubicBezTo>
                    <a:pt x="20802" y="3066"/>
                    <a:pt x="22122" y="1986"/>
                    <a:pt x="21580" y="838"/>
                  </a:cubicBezTo>
                  <a:cubicBezTo>
                    <a:pt x="21281" y="202"/>
                    <a:pt x="20593" y="0"/>
                    <a:pt x="198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08" name="Google Shape;508;p40"/>
            <p:cNvSpPr/>
            <p:nvPr/>
          </p:nvSpPr>
          <p:spPr>
            <a:xfrm>
              <a:off x="1987816" y="2161947"/>
              <a:ext cx="22700" cy="7825"/>
            </a:xfrm>
            <a:custGeom>
              <a:avLst/>
              <a:gdLst/>
              <a:ahLst/>
              <a:cxnLst/>
              <a:rect l="l" t="t" r="r" b="b"/>
              <a:pathLst>
                <a:path w="908" h="313" extrusionOk="0">
                  <a:moveTo>
                    <a:pt x="703" y="1"/>
                  </a:moveTo>
                  <a:cubicBezTo>
                    <a:pt x="689" y="1"/>
                    <a:pt x="675" y="2"/>
                    <a:pt x="660" y="5"/>
                  </a:cubicBezTo>
                  <a:cubicBezTo>
                    <a:pt x="592" y="15"/>
                    <a:pt x="526" y="26"/>
                    <a:pt x="459" y="42"/>
                  </a:cubicBezTo>
                  <a:cubicBezTo>
                    <a:pt x="328" y="73"/>
                    <a:pt x="199" y="111"/>
                    <a:pt x="71" y="155"/>
                  </a:cubicBezTo>
                  <a:cubicBezTo>
                    <a:pt x="31" y="169"/>
                    <a:pt x="1" y="210"/>
                    <a:pt x="14" y="254"/>
                  </a:cubicBezTo>
                  <a:cubicBezTo>
                    <a:pt x="25" y="289"/>
                    <a:pt x="57" y="312"/>
                    <a:pt x="93" y="312"/>
                  </a:cubicBezTo>
                  <a:cubicBezTo>
                    <a:pt x="99" y="312"/>
                    <a:pt x="107" y="311"/>
                    <a:pt x="113" y="309"/>
                  </a:cubicBezTo>
                  <a:cubicBezTo>
                    <a:pt x="240" y="269"/>
                    <a:pt x="370" y="236"/>
                    <a:pt x="501" y="207"/>
                  </a:cubicBezTo>
                  <a:cubicBezTo>
                    <a:pt x="567" y="193"/>
                    <a:pt x="632" y="177"/>
                    <a:pt x="697" y="162"/>
                  </a:cubicBezTo>
                  <a:cubicBezTo>
                    <a:pt x="717" y="158"/>
                    <a:pt x="736" y="153"/>
                    <a:pt x="755" y="143"/>
                  </a:cubicBezTo>
                  <a:lnTo>
                    <a:pt x="765" y="135"/>
                  </a:lnTo>
                  <a:cubicBezTo>
                    <a:pt x="770" y="134"/>
                    <a:pt x="772" y="133"/>
                    <a:pt x="771" y="133"/>
                  </a:cubicBezTo>
                  <a:cubicBezTo>
                    <a:pt x="771" y="133"/>
                    <a:pt x="770" y="133"/>
                    <a:pt x="769" y="133"/>
                  </a:cubicBezTo>
                  <a:cubicBezTo>
                    <a:pt x="768" y="133"/>
                    <a:pt x="767" y="134"/>
                    <a:pt x="767" y="134"/>
                  </a:cubicBezTo>
                  <a:cubicBezTo>
                    <a:pt x="766" y="134"/>
                    <a:pt x="768" y="133"/>
                    <a:pt x="773" y="131"/>
                  </a:cubicBezTo>
                  <a:lnTo>
                    <a:pt x="787" y="126"/>
                  </a:lnTo>
                  <a:cubicBezTo>
                    <a:pt x="820" y="115"/>
                    <a:pt x="853" y="101"/>
                    <a:pt x="884" y="82"/>
                  </a:cubicBezTo>
                  <a:cubicBezTo>
                    <a:pt x="908" y="67"/>
                    <a:pt x="903" y="30"/>
                    <a:pt x="876" y="21"/>
                  </a:cubicBezTo>
                  <a:cubicBezTo>
                    <a:pt x="841" y="12"/>
                    <a:pt x="806" y="8"/>
                    <a:pt x="771" y="8"/>
                  </a:cubicBezTo>
                  <a:cubicBezTo>
                    <a:pt x="769" y="8"/>
                    <a:pt x="757" y="7"/>
                    <a:pt x="753" y="7"/>
                  </a:cubicBezTo>
                  <a:cubicBezTo>
                    <a:pt x="752" y="7"/>
                    <a:pt x="752" y="7"/>
                    <a:pt x="752" y="7"/>
                  </a:cubicBezTo>
                  <a:lnTo>
                    <a:pt x="752" y="7"/>
                  </a:lnTo>
                  <a:cubicBezTo>
                    <a:pt x="747" y="6"/>
                    <a:pt x="741" y="5"/>
                    <a:pt x="736" y="3"/>
                  </a:cubicBezTo>
                  <a:cubicBezTo>
                    <a:pt x="725" y="2"/>
                    <a:pt x="714" y="1"/>
                    <a:pt x="7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09" name="Google Shape;509;p40"/>
            <p:cNvSpPr/>
            <p:nvPr/>
          </p:nvSpPr>
          <p:spPr>
            <a:xfrm>
              <a:off x="2002091" y="2168797"/>
              <a:ext cx="10600" cy="3000"/>
            </a:xfrm>
            <a:custGeom>
              <a:avLst/>
              <a:gdLst/>
              <a:ahLst/>
              <a:cxnLst/>
              <a:rect l="l" t="t" r="r" b="b"/>
              <a:pathLst>
                <a:path w="424" h="120" extrusionOk="0">
                  <a:moveTo>
                    <a:pt x="333" y="0"/>
                  </a:moveTo>
                  <a:cubicBezTo>
                    <a:pt x="326" y="0"/>
                    <a:pt x="319" y="0"/>
                    <a:pt x="311" y="1"/>
                  </a:cubicBezTo>
                  <a:lnTo>
                    <a:pt x="229" y="3"/>
                  </a:lnTo>
                  <a:lnTo>
                    <a:pt x="61" y="9"/>
                  </a:lnTo>
                  <a:cubicBezTo>
                    <a:pt x="27" y="9"/>
                    <a:pt x="1" y="38"/>
                    <a:pt x="5" y="71"/>
                  </a:cubicBezTo>
                  <a:cubicBezTo>
                    <a:pt x="9" y="100"/>
                    <a:pt x="34" y="120"/>
                    <a:pt x="62" y="120"/>
                  </a:cubicBezTo>
                  <a:cubicBezTo>
                    <a:pt x="66" y="120"/>
                    <a:pt x="71" y="119"/>
                    <a:pt x="75" y="118"/>
                  </a:cubicBezTo>
                  <a:lnTo>
                    <a:pt x="240" y="81"/>
                  </a:lnTo>
                  <a:lnTo>
                    <a:pt x="321" y="64"/>
                  </a:lnTo>
                  <a:cubicBezTo>
                    <a:pt x="348" y="58"/>
                    <a:pt x="376" y="50"/>
                    <a:pt x="402" y="40"/>
                  </a:cubicBezTo>
                  <a:cubicBezTo>
                    <a:pt x="423" y="34"/>
                    <a:pt x="420" y="4"/>
                    <a:pt x="398" y="4"/>
                  </a:cubicBezTo>
                  <a:cubicBezTo>
                    <a:pt x="376" y="2"/>
                    <a:pt x="355" y="0"/>
                    <a:pt x="33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10" name="Google Shape;510;p40"/>
            <p:cNvSpPr/>
            <p:nvPr/>
          </p:nvSpPr>
          <p:spPr>
            <a:xfrm>
              <a:off x="1891125" y="2273725"/>
              <a:ext cx="15350" cy="7425"/>
            </a:xfrm>
            <a:custGeom>
              <a:avLst/>
              <a:gdLst/>
              <a:ahLst/>
              <a:cxnLst/>
              <a:rect l="l" t="t" r="r" b="b"/>
              <a:pathLst>
                <a:path w="614" h="297" extrusionOk="0">
                  <a:moveTo>
                    <a:pt x="544" y="0"/>
                  </a:moveTo>
                  <a:cubicBezTo>
                    <a:pt x="503" y="0"/>
                    <a:pt x="465" y="16"/>
                    <a:pt x="427" y="27"/>
                  </a:cubicBezTo>
                  <a:cubicBezTo>
                    <a:pt x="406" y="34"/>
                    <a:pt x="385" y="38"/>
                    <a:pt x="365" y="45"/>
                  </a:cubicBezTo>
                  <a:lnTo>
                    <a:pt x="302" y="65"/>
                  </a:lnTo>
                  <a:cubicBezTo>
                    <a:pt x="223" y="93"/>
                    <a:pt x="144" y="123"/>
                    <a:pt x="64" y="154"/>
                  </a:cubicBezTo>
                  <a:cubicBezTo>
                    <a:pt x="28" y="168"/>
                    <a:pt x="1" y="203"/>
                    <a:pt x="13" y="243"/>
                  </a:cubicBezTo>
                  <a:cubicBezTo>
                    <a:pt x="23" y="273"/>
                    <a:pt x="51" y="296"/>
                    <a:pt x="82" y="296"/>
                  </a:cubicBezTo>
                  <a:cubicBezTo>
                    <a:pt x="89" y="296"/>
                    <a:pt x="96" y="295"/>
                    <a:pt x="102" y="293"/>
                  </a:cubicBezTo>
                  <a:lnTo>
                    <a:pt x="101" y="293"/>
                  </a:lnTo>
                  <a:cubicBezTo>
                    <a:pt x="183" y="267"/>
                    <a:pt x="264" y="239"/>
                    <a:pt x="346" y="209"/>
                  </a:cubicBezTo>
                  <a:lnTo>
                    <a:pt x="404" y="188"/>
                  </a:lnTo>
                  <a:cubicBezTo>
                    <a:pt x="418" y="183"/>
                    <a:pt x="431" y="178"/>
                    <a:pt x="445" y="171"/>
                  </a:cubicBezTo>
                  <a:cubicBezTo>
                    <a:pt x="450" y="169"/>
                    <a:pt x="456" y="167"/>
                    <a:pt x="460" y="163"/>
                  </a:cubicBezTo>
                  <a:cubicBezTo>
                    <a:pt x="461" y="162"/>
                    <a:pt x="462" y="162"/>
                    <a:pt x="462" y="161"/>
                  </a:cubicBezTo>
                  <a:lnTo>
                    <a:pt x="462" y="161"/>
                  </a:lnTo>
                  <a:cubicBezTo>
                    <a:pt x="462" y="161"/>
                    <a:pt x="462" y="161"/>
                    <a:pt x="462" y="161"/>
                  </a:cubicBezTo>
                  <a:cubicBezTo>
                    <a:pt x="483" y="153"/>
                    <a:pt x="503" y="145"/>
                    <a:pt x="522" y="136"/>
                  </a:cubicBezTo>
                  <a:cubicBezTo>
                    <a:pt x="535" y="131"/>
                    <a:pt x="549" y="126"/>
                    <a:pt x="561" y="119"/>
                  </a:cubicBezTo>
                  <a:cubicBezTo>
                    <a:pt x="573" y="113"/>
                    <a:pt x="584" y="103"/>
                    <a:pt x="594" y="93"/>
                  </a:cubicBezTo>
                  <a:cubicBezTo>
                    <a:pt x="610" y="77"/>
                    <a:pt x="613" y="54"/>
                    <a:pt x="605" y="34"/>
                  </a:cubicBezTo>
                  <a:cubicBezTo>
                    <a:pt x="596" y="14"/>
                    <a:pt x="578" y="1"/>
                    <a:pt x="556" y="1"/>
                  </a:cubicBezTo>
                  <a:cubicBezTo>
                    <a:pt x="552" y="1"/>
                    <a:pt x="548" y="0"/>
                    <a:pt x="54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11" name="Google Shape;511;p40"/>
            <p:cNvSpPr/>
            <p:nvPr/>
          </p:nvSpPr>
          <p:spPr>
            <a:xfrm>
              <a:off x="1902050" y="2263300"/>
              <a:ext cx="13100" cy="5525"/>
            </a:xfrm>
            <a:custGeom>
              <a:avLst/>
              <a:gdLst/>
              <a:ahLst/>
              <a:cxnLst/>
              <a:rect l="l" t="t" r="r" b="b"/>
              <a:pathLst>
                <a:path w="524" h="221" extrusionOk="0">
                  <a:moveTo>
                    <a:pt x="469" y="0"/>
                  </a:moveTo>
                  <a:cubicBezTo>
                    <a:pt x="439" y="0"/>
                    <a:pt x="409" y="6"/>
                    <a:pt x="380" y="11"/>
                  </a:cubicBezTo>
                  <a:cubicBezTo>
                    <a:pt x="345" y="17"/>
                    <a:pt x="311" y="25"/>
                    <a:pt x="276" y="36"/>
                  </a:cubicBezTo>
                  <a:cubicBezTo>
                    <a:pt x="206" y="58"/>
                    <a:pt x="136" y="81"/>
                    <a:pt x="66" y="104"/>
                  </a:cubicBezTo>
                  <a:cubicBezTo>
                    <a:pt x="0" y="127"/>
                    <a:pt x="22" y="220"/>
                    <a:pt x="84" y="220"/>
                  </a:cubicBezTo>
                  <a:cubicBezTo>
                    <a:pt x="89" y="220"/>
                    <a:pt x="93" y="220"/>
                    <a:pt x="98" y="219"/>
                  </a:cubicBezTo>
                  <a:cubicBezTo>
                    <a:pt x="168" y="197"/>
                    <a:pt x="238" y="175"/>
                    <a:pt x="307" y="151"/>
                  </a:cubicBezTo>
                  <a:cubicBezTo>
                    <a:pt x="344" y="139"/>
                    <a:pt x="379" y="124"/>
                    <a:pt x="413" y="108"/>
                  </a:cubicBezTo>
                  <a:cubicBezTo>
                    <a:pt x="446" y="92"/>
                    <a:pt x="482" y="77"/>
                    <a:pt x="509" y="51"/>
                  </a:cubicBezTo>
                  <a:cubicBezTo>
                    <a:pt x="524" y="36"/>
                    <a:pt x="518" y="6"/>
                    <a:pt x="496" y="2"/>
                  </a:cubicBezTo>
                  <a:cubicBezTo>
                    <a:pt x="487" y="1"/>
                    <a:pt x="478" y="0"/>
                    <a:pt x="46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12" name="Google Shape;512;p40"/>
            <p:cNvSpPr/>
            <p:nvPr/>
          </p:nvSpPr>
          <p:spPr>
            <a:xfrm>
              <a:off x="1795900" y="2387434"/>
              <a:ext cx="13525" cy="5400"/>
            </a:xfrm>
            <a:custGeom>
              <a:avLst/>
              <a:gdLst/>
              <a:ahLst/>
              <a:cxnLst/>
              <a:rect l="l" t="t" r="r" b="b"/>
              <a:pathLst>
                <a:path w="541" h="216" extrusionOk="0">
                  <a:moveTo>
                    <a:pt x="462" y="0"/>
                  </a:moveTo>
                  <a:cubicBezTo>
                    <a:pt x="447" y="0"/>
                    <a:pt x="433" y="2"/>
                    <a:pt x="418" y="5"/>
                  </a:cubicBezTo>
                  <a:lnTo>
                    <a:pt x="370" y="14"/>
                  </a:lnTo>
                  <a:cubicBezTo>
                    <a:pt x="335" y="21"/>
                    <a:pt x="300" y="29"/>
                    <a:pt x="265" y="36"/>
                  </a:cubicBezTo>
                  <a:lnTo>
                    <a:pt x="58" y="82"/>
                  </a:lnTo>
                  <a:cubicBezTo>
                    <a:pt x="21" y="91"/>
                    <a:pt x="0" y="129"/>
                    <a:pt x="10" y="166"/>
                  </a:cubicBezTo>
                  <a:cubicBezTo>
                    <a:pt x="19" y="196"/>
                    <a:pt x="47" y="215"/>
                    <a:pt x="77" y="215"/>
                  </a:cubicBezTo>
                  <a:cubicBezTo>
                    <a:pt x="82" y="215"/>
                    <a:pt x="88" y="215"/>
                    <a:pt x="94" y="213"/>
                  </a:cubicBezTo>
                  <a:lnTo>
                    <a:pt x="95" y="213"/>
                  </a:lnTo>
                  <a:lnTo>
                    <a:pt x="302" y="165"/>
                  </a:lnTo>
                  <a:cubicBezTo>
                    <a:pt x="335" y="157"/>
                    <a:pt x="370" y="148"/>
                    <a:pt x="404" y="140"/>
                  </a:cubicBezTo>
                  <a:lnTo>
                    <a:pt x="453" y="127"/>
                  </a:lnTo>
                  <a:cubicBezTo>
                    <a:pt x="472" y="121"/>
                    <a:pt x="492" y="112"/>
                    <a:pt x="510" y="100"/>
                  </a:cubicBezTo>
                  <a:cubicBezTo>
                    <a:pt x="531" y="88"/>
                    <a:pt x="540" y="64"/>
                    <a:pt x="535" y="41"/>
                  </a:cubicBezTo>
                  <a:cubicBezTo>
                    <a:pt x="528" y="18"/>
                    <a:pt x="507" y="3"/>
                    <a:pt x="484" y="1"/>
                  </a:cubicBezTo>
                  <a:cubicBezTo>
                    <a:pt x="477" y="1"/>
                    <a:pt x="469" y="0"/>
                    <a:pt x="46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13" name="Google Shape;513;p40"/>
            <p:cNvSpPr/>
            <p:nvPr/>
          </p:nvSpPr>
          <p:spPr>
            <a:xfrm>
              <a:off x="1809350" y="2376234"/>
              <a:ext cx="10150" cy="5575"/>
            </a:xfrm>
            <a:custGeom>
              <a:avLst/>
              <a:gdLst/>
              <a:ahLst/>
              <a:cxnLst/>
              <a:rect l="l" t="t" r="r" b="b"/>
              <a:pathLst>
                <a:path w="406" h="223" extrusionOk="0">
                  <a:moveTo>
                    <a:pt x="324" y="0"/>
                  </a:moveTo>
                  <a:cubicBezTo>
                    <a:pt x="322" y="0"/>
                    <a:pt x="319" y="0"/>
                    <a:pt x="317" y="1"/>
                  </a:cubicBezTo>
                  <a:cubicBezTo>
                    <a:pt x="300" y="3"/>
                    <a:pt x="283" y="4"/>
                    <a:pt x="266" y="7"/>
                  </a:cubicBezTo>
                  <a:cubicBezTo>
                    <a:pt x="242" y="12"/>
                    <a:pt x="216" y="18"/>
                    <a:pt x="192" y="26"/>
                  </a:cubicBezTo>
                  <a:cubicBezTo>
                    <a:pt x="139" y="43"/>
                    <a:pt x="90" y="67"/>
                    <a:pt x="43" y="96"/>
                  </a:cubicBezTo>
                  <a:cubicBezTo>
                    <a:pt x="12" y="116"/>
                    <a:pt x="0" y="157"/>
                    <a:pt x="18" y="189"/>
                  </a:cubicBezTo>
                  <a:cubicBezTo>
                    <a:pt x="32" y="209"/>
                    <a:pt x="56" y="222"/>
                    <a:pt x="79" y="222"/>
                  </a:cubicBezTo>
                  <a:cubicBezTo>
                    <a:pt x="90" y="222"/>
                    <a:pt x="101" y="220"/>
                    <a:pt x="111" y="213"/>
                  </a:cubicBezTo>
                  <a:lnTo>
                    <a:pt x="112" y="213"/>
                  </a:lnTo>
                  <a:cubicBezTo>
                    <a:pt x="131" y="200"/>
                    <a:pt x="152" y="188"/>
                    <a:pt x="174" y="178"/>
                  </a:cubicBezTo>
                  <a:cubicBezTo>
                    <a:pt x="178" y="174"/>
                    <a:pt x="184" y="172"/>
                    <a:pt x="191" y="170"/>
                  </a:cubicBezTo>
                  <a:cubicBezTo>
                    <a:pt x="194" y="168"/>
                    <a:pt x="203" y="163"/>
                    <a:pt x="203" y="163"/>
                  </a:cubicBezTo>
                  <a:lnTo>
                    <a:pt x="203" y="163"/>
                  </a:lnTo>
                  <a:cubicBezTo>
                    <a:pt x="203" y="163"/>
                    <a:pt x="201" y="164"/>
                    <a:pt x="197" y="166"/>
                  </a:cubicBezTo>
                  <a:cubicBezTo>
                    <a:pt x="207" y="162"/>
                    <a:pt x="219" y="157"/>
                    <a:pt x="230" y="154"/>
                  </a:cubicBezTo>
                  <a:cubicBezTo>
                    <a:pt x="253" y="146"/>
                    <a:pt x="275" y="140"/>
                    <a:pt x="299" y="134"/>
                  </a:cubicBezTo>
                  <a:cubicBezTo>
                    <a:pt x="311" y="131"/>
                    <a:pt x="322" y="128"/>
                    <a:pt x="334" y="127"/>
                  </a:cubicBezTo>
                  <a:cubicBezTo>
                    <a:pt x="350" y="123"/>
                    <a:pt x="364" y="117"/>
                    <a:pt x="378" y="108"/>
                  </a:cubicBezTo>
                  <a:cubicBezTo>
                    <a:pt x="396" y="96"/>
                    <a:pt x="405" y="75"/>
                    <a:pt x="403" y="53"/>
                  </a:cubicBezTo>
                  <a:cubicBezTo>
                    <a:pt x="399" y="33"/>
                    <a:pt x="385" y="14"/>
                    <a:pt x="364" y="9"/>
                  </a:cubicBezTo>
                  <a:cubicBezTo>
                    <a:pt x="351" y="3"/>
                    <a:pt x="338" y="0"/>
                    <a:pt x="32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 1">
  <p:cSld name="CUSTOM_25"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Google Shape;515;p41"/>
          <p:cNvSpPr txBox="1">
            <a:spLocks noGrp="1"/>
          </p:cNvSpPr>
          <p:nvPr>
            <p:ph type="subTitle" idx="1"/>
          </p:nvPr>
        </p:nvSpPr>
        <p:spPr>
          <a:xfrm flipH="1">
            <a:off x="2669000" y="4781044"/>
            <a:ext cx="6854000" cy="59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516" name="Google Shape;516;p41"/>
          <p:cNvSpPr txBox="1">
            <a:spLocks noGrp="1"/>
          </p:cNvSpPr>
          <p:nvPr>
            <p:ph type="title" hasCustomPrompt="1"/>
          </p:nvPr>
        </p:nvSpPr>
        <p:spPr>
          <a:xfrm flipH="1">
            <a:off x="2829600" y="3284484"/>
            <a:ext cx="6532800" cy="16920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grpSp>
        <p:nvGrpSpPr>
          <p:cNvPr id="517" name="Google Shape;517;p41"/>
          <p:cNvGrpSpPr/>
          <p:nvPr/>
        </p:nvGrpSpPr>
        <p:grpSpPr>
          <a:xfrm flipH="1">
            <a:off x="-339263" y="2222618"/>
            <a:ext cx="11788077" cy="6075717"/>
            <a:chOff x="3301125" y="2268425"/>
            <a:chExt cx="1404725" cy="637750"/>
          </a:xfrm>
        </p:grpSpPr>
        <p:sp>
          <p:nvSpPr>
            <p:cNvPr id="518" name="Google Shape;518;p41"/>
            <p:cNvSpPr/>
            <p:nvPr/>
          </p:nvSpPr>
          <p:spPr>
            <a:xfrm>
              <a:off x="3881575" y="2292400"/>
              <a:ext cx="11375" cy="5375"/>
            </a:xfrm>
            <a:custGeom>
              <a:avLst/>
              <a:gdLst/>
              <a:ahLst/>
              <a:cxnLst/>
              <a:rect l="l" t="t" r="r" b="b"/>
              <a:pathLst>
                <a:path w="455" h="215" extrusionOk="0">
                  <a:moveTo>
                    <a:pt x="302" y="0"/>
                  </a:moveTo>
                  <a:cubicBezTo>
                    <a:pt x="275" y="0"/>
                    <a:pt x="249" y="3"/>
                    <a:pt x="222" y="8"/>
                  </a:cubicBezTo>
                  <a:cubicBezTo>
                    <a:pt x="161" y="19"/>
                    <a:pt x="102" y="42"/>
                    <a:pt x="50" y="76"/>
                  </a:cubicBezTo>
                  <a:cubicBezTo>
                    <a:pt x="17" y="97"/>
                    <a:pt x="1" y="142"/>
                    <a:pt x="24" y="178"/>
                  </a:cubicBezTo>
                  <a:cubicBezTo>
                    <a:pt x="37" y="200"/>
                    <a:pt x="64" y="215"/>
                    <a:pt x="90" y="215"/>
                  </a:cubicBezTo>
                  <a:cubicBezTo>
                    <a:pt x="102" y="215"/>
                    <a:pt x="114" y="212"/>
                    <a:pt x="125" y="204"/>
                  </a:cubicBezTo>
                  <a:cubicBezTo>
                    <a:pt x="137" y="197"/>
                    <a:pt x="148" y="190"/>
                    <a:pt x="160" y="183"/>
                  </a:cubicBezTo>
                  <a:cubicBezTo>
                    <a:pt x="166" y="180"/>
                    <a:pt x="172" y="177"/>
                    <a:pt x="179" y="174"/>
                  </a:cubicBezTo>
                  <a:lnTo>
                    <a:pt x="182" y="172"/>
                  </a:lnTo>
                  <a:lnTo>
                    <a:pt x="182" y="172"/>
                  </a:lnTo>
                  <a:cubicBezTo>
                    <a:pt x="183" y="172"/>
                    <a:pt x="183" y="172"/>
                    <a:pt x="184" y="172"/>
                  </a:cubicBezTo>
                  <a:cubicBezTo>
                    <a:pt x="208" y="162"/>
                    <a:pt x="234" y="155"/>
                    <a:pt x="259" y="150"/>
                  </a:cubicBezTo>
                  <a:lnTo>
                    <a:pt x="268" y="148"/>
                  </a:lnTo>
                  <a:cubicBezTo>
                    <a:pt x="273" y="148"/>
                    <a:pt x="274" y="148"/>
                    <a:pt x="274" y="148"/>
                  </a:cubicBezTo>
                  <a:lnTo>
                    <a:pt x="274" y="148"/>
                  </a:lnTo>
                  <a:cubicBezTo>
                    <a:pt x="273" y="148"/>
                    <a:pt x="270" y="148"/>
                    <a:pt x="264" y="148"/>
                  </a:cubicBezTo>
                  <a:cubicBezTo>
                    <a:pt x="270" y="147"/>
                    <a:pt x="274" y="146"/>
                    <a:pt x="279" y="146"/>
                  </a:cubicBezTo>
                  <a:cubicBezTo>
                    <a:pt x="281" y="146"/>
                    <a:pt x="283" y="146"/>
                    <a:pt x="285" y="146"/>
                  </a:cubicBezTo>
                  <a:cubicBezTo>
                    <a:pt x="297" y="145"/>
                    <a:pt x="309" y="145"/>
                    <a:pt x="321" y="145"/>
                  </a:cubicBezTo>
                  <a:cubicBezTo>
                    <a:pt x="325" y="145"/>
                    <a:pt x="329" y="145"/>
                    <a:pt x="333" y="145"/>
                  </a:cubicBezTo>
                  <a:cubicBezTo>
                    <a:pt x="343" y="145"/>
                    <a:pt x="352" y="146"/>
                    <a:pt x="362" y="146"/>
                  </a:cubicBezTo>
                  <a:cubicBezTo>
                    <a:pt x="373" y="146"/>
                    <a:pt x="384" y="145"/>
                    <a:pt x="395" y="144"/>
                  </a:cubicBezTo>
                  <a:lnTo>
                    <a:pt x="404" y="142"/>
                  </a:lnTo>
                  <a:cubicBezTo>
                    <a:pt x="411" y="140"/>
                    <a:pt x="417" y="138"/>
                    <a:pt x="423" y="135"/>
                  </a:cubicBezTo>
                  <a:cubicBezTo>
                    <a:pt x="439" y="125"/>
                    <a:pt x="451" y="108"/>
                    <a:pt x="453" y="89"/>
                  </a:cubicBezTo>
                  <a:cubicBezTo>
                    <a:pt x="455" y="70"/>
                    <a:pt x="449" y="51"/>
                    <a:pt x="436" y="38"/>
                  </a:cubicBezTo>
                  <a:cubicBezTo>
                    <a:pt x="411" y="7"/>
                    <a:pt x="360" y="4"/>
                    <a:pt x="323" y="1"/>
                  </a:cubicBezTo>
                  <a:cubicBezTo>
                    <a:pt x="316" y="0"/>
                    <a:pt x="309" y="0"/>
                    <a:pt x="30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19" name="Google Shape;519;p41"/>
            <p:cNvSpPr/>
            <p:nvPr/>
          </p:nvSpPr>
          <p:spPr>
            <a:xfrm>
              <a:off x="3851975" y="2279000"/>
              <a:ext cx="11150" cy="6050"/>
            </a:xfrm>
            <a:custGeom>
              <a:avLst/>
              <a:gdLst/>
              <a:ahLst/>
              <a:cxnLst/>
              <a:rect l="l" t="t" r="r" b="b"/>
              <a:pathLst>
                <a:path w="446" h="242" extrusionOk="0">
                  <a:moveTo>
                    <a:pt x="200" y="200"/>
                  </a:moveTo>
                  <a:lnTo>
                    <a:pt x="185" y="206"/>
                  </a:lnTo>
                  <a:cubicBezTo>
                    <a:pt x="190" y="204"/>
                    <a:pt x="195" y="202"/>
                    <a:pt x="200" y="200"/>
                  </a:cubicBezTo>
                  <a:close/>
                  <a:moveTo>
                    <a:pt x="303" y="1"/>
                  </a:moveTo>
                  <a:cubicBezTo>
                    <a:pt x="298" y="1"/>
                    <a:pt x="294" y="1"/>
                    <a:pt x="289" y="1"/>
                  </a:cubicBezTo>
                  <a:cubicBezTo>
                    <a:pt x="275" y="3"/>
                    <a:pt x="259" y="6"/>
                    <a:pt x="243" y="9"/>
                  </a:cubicBezTo>
                  <a:cubicBezTo>
                    <a:pt x="223" y="12"/>
                    <a:pt x="203" y="17"/>
                    <a:pt x="183" y="23"/>
                  </a:cubicBezTo>
                  <a:cubicBezTo>
                    <a:pt x="139" y="37"/>
                    <a:pt x="95" y="57"/>
                    <a:pt x="56" y="84"/>
                  </a:cubicBezTo>
                  <a:cubicBezTo>
                    <a:pt x="20" y="108"/>
                    <a:pt x="1" y="159"/>
                    <a:pt x="26" y="200"/>
                  </a:cubicBezTo>
                  <a:cubicBezTo>
                    <a:pt x="42" y="225"/>
                    <a:pt x="71" y="242"/>
                    <a:pt x="101" y="242"/>
                  </a:cubicBezTo>
                  <a:cubicBezTo>
                    <a:pt x="115" y="242"/>
                    <a:pt x="129" y="238"/>
                    <a:pt x="142" y="230"/>
                  </a:cubicBezTo>
                  <a:lnTo>
                    <a:pt x="143" y="230"/>
                  </a:lnTo>
                  <a:cubicBezTo>
                    <a:pt x="162" y="218"/>
                    <a:pt x="182" y="208"/>
                    <a:pt x="203" y="199"/>
                  </a:cubicBezTo>
                  <a:lnTo>
                    <a:pt x="203" y="199"/>
                  </a:lnTo>
                  <a:cubicBezTo>
                    <a:pt x="227" y="190"/>
                    <a:pt x="251" y="184"/>
                    <a:pt x="276" y="179"/>
                  </a:cubicBezTo>
                  <a:lnTo>
                    <a:pt x="276" y="179"/>
                  </a:lnTo>
                  <a:cubicBezTo>
                    <a:pt x="295" y="178"/>
                    <a:pt x="313" y="176"/>
                    <a:pt x="332" y="172"/>
                  </a:cubicBezTo>
                  <a:lnTo>
                    <a:pt x="332" y="172"/>
                  </a:lnTo>
                  <a:cubicBezTo>
                    <a:pt x="357" y="170"/>
                    <a:pt x="382" y="170"/>
                    <a:pt x="405" y="157"/>
                  </a:cubicBezTo>
                  <a:cubicBezTo>
                    <a:pt x="431" y="143"/>
                    <a:pt x="445" y="116"/>
                    <a:pt x="445" y="89"/>
                  </a:cubicBezTo>
                  <a:cubicBezTo>
                    <a:pt x="445" y="58"/>
                    <a:pt x="429" y="37"/>
                    <a:pt x="405" y="20"/>
                  </a:cubicBezTo>
                  <a:cubicBezTo>
                    <a:pt x="385" y="5"/>
                    <a:pt x="356" y="3"/>
                    <a:pt x="330" y="3"/>
                  </a:cubicBezTo>
                  <a:lnTo>
                    <a:pt x="330" y="3"/>
                  </a:lnTo>
                  <a:cubicBezTo>
                    <a:pt x="321" y="2"/>
                    <a:pt x="312" y="1"/>
                    <a:pt x="3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0" name="Google Shape;520;p41"/>
            <p:cNvSpPr/>
            <p:nvPr/>
          </p:nvSpPr>
          <p:spPr>
            <a:xfrm>
              <a:off x="3641950" y="2284900"/>
              <a:ext cx="12375" cy="4975"/>
            </a:xfrm>
            <a:custGeom>
              <a:avLst/>
              <a:gdLst/>
              <a:ahLst/>
              <a:cxnLst/>
              <a:rect l="l" t="t" r="r" b="b"/>
              <a:pathLst>
                <a:path w="495" h="199" extrusionOk="0">
                  <a:moveTo>
                    <a:pt x="318" y="0"/>
                  </a:moveTo>
                  <a:cubicBezTo>
                    <a:pt x="296" y="0"/>
                    <a:pt x="275" y="3"/>
                    <a:pt x="253" y="6"/>
                  </a:cubicBezTo>
                  <a:cubicBezTo>
                    <a:pt x="181" y="16"/>
                    <a:pt x="111" y="37"/>
                    <a:pt x="45" y="69"/>
                  </a:cubicBezTo>
                  <a:cubicBezTo>
                    <a:pt x="11" y="84"/>
                    <a:pt x="1" y="134"/>
                    <a:pt x="20" y="165"/>
                  </a:cubicBezTo>
                  <a:cubicBezTo>
                    <a:pt x="33" y="187"/>
                    <a:pt x="57" y="199"/>
                    <a:pt x="81" y="199"/>
                  </a:cubicBezTo>
                  <a:cubicBezTo>
                    <a:pt x="93" y="199"/>
                    <a:pt x="105" y="196"/>
                    <a:pt x="116" y="190"/>
                  </a:cubicBezTo>
                  <a:lnTo>
                    <a:pt x="116" y="191"/>
                  </a:lnTo>
                  <a:cubicBezTo>
                    <a:pt x="124" y="187"/>
                    <a:pt x="133" y="183"/>
                    <a:pt x="142" y="179"/>
                  </a:cubicBezTo>
                  <a:lnTo>
                    <a:pt x="142" y="179"/>
                  </a:lnTo>
                  <a:cubicBezTo>
                    <a:pt x="143" y="179"/>
                    <a:pt x="151" y="176"/>
                    <a:pt x="154" y="174"/>
                  </a:cubicBezTo>
                  <a:lnTo>
                    <a:pt x="169" y="168"/>
                  </a:lnTo>
                  <a:cubicBezTo>
                    <a:pt x="193" y="160"/>
                    <a:pt x="216" y="153"/>
                    <a:pt x="240" y="147"/>
                  </a:cubicBezTo>
                  <a:cubicBezTo>
                    <a:pt x="263" y="142"/>
                    <a:pt x="286" y="137"/>
                    <a:pt x="310" y="134"/>
                  </a:cubicBezTo>
                  <a:lnTo>
                    <a:pt x="318" y="133"/>
                  </a:lnTo>
                  <a:lnTo>
                    <a:pt x="315" y="133"/>
                  </a:lnTo>
                  <a:lnTo>
                    <a:pt x="333" y="131"/>
                  </a:lnTo>
                  <a:cubicBezTo>
                    <a:pt x="347" y="130"/>
                    <a:pt x="361" y="127"/>
                    <a:pt x="373" y="120"/>
                  </a:cubicBezTo>
                  <a:lnTo>
                    <a:pt x="373" y="120"/>
                  </a:lnTo>
                  <a:cubicBezTo>
                    <a:pt x="376" y="120"/>
                    <a:pt x="378" y="120"/>
                    <a:pt x="380" y="120"/>
                  </a:cubicBezTo>
                  <a:cubicBezTo>
                    <a:pt x="378" y="120"/>
                    <a:pt x="377" y="120"/>
                    <a:pt x="377" y="120"/>
                  </a:cubicBezTo>
                  <a:cubicBezTo>
                    <a:pt x="378" y="120"/>
                    <a:pt x="385" y="119"/>
                    <a:pt x="386" y="118"/>
                  </a:cubicBezTo>
                  <a:cubicBezTo>
                    <a:pt x="394" y="117"/>
                    <a:pt x="403" y="116"/>
                    <a:pt x="412" y="116"/>
                  </a:cubicBezTo>
                  <a:cubicBezTo>
                    <a:pt x="432" y="115"/>
                    <a:pt x="452" y="111"/>
                    <a:pt x="471" y="102"/>
                  </a:cubicBezTo>
                  <a:cubicBezTo>
                    <a:pt x="491" y="90"/>
                    <a:pt x="494" y="63"/>
                    <a:pt x="478" y="46"/>
                  </a:cubicBezTo>
                  <a:cubicBezTo>
                    <a:pt x="464" y="33"/>
                    <a:pt x="447" y="24"/>
                    <a:pt x="428" y="19"/>
                  </a:cubicBezTo>
                  <a:cubicBezTo>
                    <a:pt x="411" y="14"/>
                    <a:pt x="394" y="11"/>
                    <a:pt x="377" y="10"/>
                  </a:cubicBezTo>
                  <a:cubicBezTo>
                    <a:pt x="377" y="10"/>
                    <a:pt x="376" y="10"/>
                    <a:pt x="376" y="10"/>
                  </a:cubicBezTo>
                  <a:lnTo>
                    <a:pt x="376" y="10"/>
                  </a:lnTo>
                  <a:cubicBezTo>
                    <a:pt x="376" y="10"/>
                    <a:pt x="376" y="10"/>
                    <a:pt x="376" y="10"/>
                  </a:cubicBezTo>
                  <a:cubicBezTo>
                    <a:pt x="366" y="4"/>
                    <a:pt x="354" y="0"/>
                    <a:pt x="34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1" name="Google Shape;521;p41"/>
            <p:cNvSpPr/>
            <p:nvPr/>
          </p:nvSpPr>
          <p:spPr>
            <a:xfrm>
              <a:off x="3658400" y="2294925"/>
              <a:ext cx="7950" cy="3625"/>
            </a:xfrm>
            <a:custGeom>
              <a:avLst/>
              <a:gdLst/>
              <a:ahLst/>
              <a:cxnLst/>
              <a:rect l="l" t="t" r="r" b="b"/>
              <a:pathLst>
                <a:path w="318" h="145" extrusionOk="0">
                  <a:moveTo>
                    <a:pt x="73" y="0"/>
                  </a:moveTo>
                  <a:cubicBezTo>
                    <a:pt x="33" y="0"/>
                    <a:pt x="2" y="33"/>
                    <a:pt x="1" y="72"/>
                  </a:cubicBezTo>
                  <a:cubicBezTo>
                    <a:pt x="2" y="112"/>
                    <a:pt x="33" y="144"/>
                    <a:pt x="73" y="144"/>
                  </a:cubicBezTo>
                  <a:lnTo>
                    <a:pt x="168" y="142"/>
                  </a:lnTo>
                  <a:lnTo>
                    <a:pt x="215" y="142"/>
                  </a:lnTo>
                  <a:cubicBezTo>
                    <a:pt x="227" y="142"/>
                    <a:pt x="239" y="140"/>
                    <a:pt x="250" y="137"/>
                  </a:cubicBezTo>
                  <a:lnTo>
                    <a:pt x="275" y="129"/>
                  </a:lnTo>
                  <a:cubicBezTo>
                    <a:pt x="300" y="121"/>
                    <a:pt x="317" y="98"/>
                    <a:pt x="318" y="72"/>
                  </a:cubicBezTo>
                  <a:cubicBezTo>
                    <a:pt x="317" y="46"/>
                    <a:pt x="300" y="23"/>
                    <a:pt x="275" y="16"/>
                  </a:cubicBezTo>
                  <a:lnTo>
                    <a:pt x="253" y="8"/>
                  </a:lnTo>
                  <a:cubicBezTo>
                    <a:pt x="240" y="4"/>
                    <a:pt x="227" y="2"/>
                    <a:pt x="215" y="2"/>
                  </a:cubicBezTo>
                  <a:lnTo>
                    <a:pt x="168" y="1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2" name="Google Shape;522;p41"/>
            <p:cNvSpPr/>
            <p:nvPr/>
          </p:nvSpPr>
          <p:spPr>
            <a:xfrm>
              <a:off x="3491125" y="2782325"/>
              <a:ext cx="12375" cy="4325"/>
            </a:xfrm>
            <a:custGeom>
              <a:avLst/>
              <a:gdLst/>
              <a:ahLst/>
              <a:cxnLst/>
              <a:rect l="l" t="t" r="r" b="b"/>
              <a:pathLst>
                <a:path w="495" h="173" extrusionOk="0">
                  <a:moveTo>
                    <a:pt x="292" y="1"/>
                  </a:moveTo>
                  <a:cubicBezTo>
                    <a:pt x="286" y="1"/>
                    <a:pt x="279" y="1"/>
                    <a:pt x="273" y="2"/>
                  </a:cubicBezTo>
                  <a:cubicBezTo>
                    <a:pt x="209" y="6"/>
                    <a:pt x="144" y="12"/>
                    <a:pt x="80" y="17"/>
                  </a:cubicBezTo>
                  <a:cubicBezTo>
                    <a:pt x="41" y="21"/>
                    <a:pt x="1" y="51"/>
                    <a:pt x="3" y="94"/>
                  </a:cubicBezTo>
                  <a:cubicBezTo>
                    <a:pt x="5" y="133"/>
                    <a:pt x="34" y="173"/>
                    <a:pt x="75" y="173"/>
                  </a:cubicBezTo>
                  <a:cubicBezTo>
                    <a:pt x="77" y="173"/>
                    <a:pt x="78" y="173"/>
                    <a:pt x="80" y="172"/>
                  </a:cubicBezTo>
                  <a:cubicBezTo>
                    <a:pt x="146" y="167"/>
                    <a:pt x="211" y="162"/>
                    <a:pt x="276" y="156"/>
                  </a:cubicBezTo>
                  <a:cubicBezTo>
                    <a:pt x="300" y="155"/>
                    <a:pt x="324" y="149"/>
                    <a:pt x="346" y="141"/>
                  </a:cubicBezTo>
                  <a:lnTo>
                    <a:pt x="356" y="136"/>
                  </a:lnTo>
                  <a:cubicBezTo>
                    <a:pt x="360" y="134"/>
                    <a:pt x="362" y="133"/>
                    <a:pt x="362" y="133"/>
                  </a:cubicBezTo>
                  <a:lnTo>
                    <a:pt x="362" y="133"/>
                  </a:lnTo>
                  <a:cubicBezTo>
                    <a:pt x="362" y="133"/>
                    <a:pt x="361" y="134"/>
                    <a:pt x="358" y="136"/>
                  </a:cubicBezTo>
                  <a:cubicBezTo>
                    <a:pt x="367" y="133"/>
                    <a:pt x="375" y="131"/>
                    <a:pt x="383" y="129"/>
                  </a:cubicBezTo>
                  <a:cubicBezTo>
                    <a:pt x="416" y="120"/>
                    <a:pt x="452" y="114"/>
                    <a:pt x="477" y="90"/>
                  </a:cubicBezTo>
                  <a:cubicBezTo>
                    <a:pt x="494" y="73"/>
                    <a:pt x="490" y="45"/>
                    <a:pt x="470" y="33"/>
                  </a:cubicBezTo>
                  <a:cubicBezTo>
                    <a:pt x="442" y="13"/>
                    <a:pt x="400" y="15"/>
                    <a:pt x="367" y="12"/>
                  </a:cubicBezTo>
                  <a:cubicBezTo>
                    <a:pt x="360" y="11"/>
                    <a:pt x="352" y="11"/>
                    <a:pt x="345" y="10"/>
                  </a:cubicBezTo>
                  <a:lnTo>
                    <a:pt x="345" y="10"/>
                  </a:lnTo>
                  <a:cubicBezTo>
                    <a:pt x="343" y="9"/>
                    <a:pt x="336" y="7"/>
                    <a:pt x="334" y="6"/>
                  </a:cubicBezTo>
                  <a:cubicBezTo>
                    <a:pt x="320" y="2"/>
                    <a:pt x="306" y="1"/>
                    <a:pt x="29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3" name="Google Shape;523;p41"/>
            <p:cNvSpPr/>
            <p:nvPr/>
          </p:nvSpPr>
          <p:spPr>
            <a:xfrm>
              <a:off x="3469250" y="2794425"/>
              <a:ext cx="9275" cy="3650"/>
            </a:xfrm>
            <a:custGeom>
              <a:avLst/>
              <a:gdLst/>
              <a:ahLst/>
              <a:cxnLst/>
              <a:rect l="l" t="t" r="r" b="b"/>
              <a:pathLst>
                <a:path w="371" h="146" extrusionOk="0">
                  <a:moveTo>
                    <a:pt x="278" y="1"/>
                  </a:moveTo>
                  <a:cubicBezTo>
                    <a:pt x="269" y="1"/>
                    <a:pt x="258" y="3"/>
                    <a:pt x="249" y="4"/>
                  </a:cubicBezTo>
                  <a:cubicBezTo>
                    <a:pt x="222" y="6"/>
                    <a:pt x="198" y="10"/>
                    <a:pt x="172" y="13"/>
                  </a:cubicBezTo>
                  <a:lnTo>
                    <a:pt x="44" y="31"/>
                  </a:lnTo>
                  <a:cubicBezTo>
                    <a:pt x="29" y="35"/>
                    <a:pt x="17" y="45"/>
                    <a:pt x="9" y="57"/>
                  </a:cubicBezTo>
                  <a:cubicBezTo>
                    <a:pt x="3" y="69"/>
                    <a:pt x="1" y="82"/>
                    <a:pt x="3" y="94"/>
                  </a:cubicBezTo>
                  <a:cubicBezTo>
                    <a:pt x="6" y="120"/>
                    <a:pt x="29" y="145"/>
                    <a:pt x="56" y="145"/>
                  </a:cubicBezTo>
                  <a:cubicBezTo>
                    <a:pt x="57" y="145"/>
                    <a:pt x="58" y="145"/>
                    <a:pt x="59" y="145"/>
                  </a:cubicBezTo>
                  <a:lnTo>
                    <a:pt x="188" y="131"/>
                  </a:lnTo>
                  <a:cubicBezTo>
                    <a:pt x="213" y="129"/>
                    <a:pt x="238" y="126"/>
                    <a:pt x="262" y="123"/>
                  </a:cubicBezTo>
                  <a:cubicBezTo>
                    <a:pt x="273" y="122"/>
                    <a:pt x="283" y="121"/>
                    <a:pt x="294" y="119"/>
                  </a:cubicBezTo>
                  <a:cubicBezTo>
                    <a:pt x="308" y="114"/>
                    <a:pt x="320" y="109"/>
                    <a:pt x="333" y="101"/>
                  </a:cubicBezTo>
                  <a:cubicBezTo>
                    <a:pt x="371" y="80"/>
                    <a:pt x="362" y="18"/>
                    <a:pt x="320" y="8"/>
                  </a:cubicBezTo>
                  <a:cubicBezTo>
                    <a:pt x="307" y="3"/>
                    <a:pt x="293" y="1"/>
                    <a:pt x="27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4" name="Google Shape;524;p41"/>
            <p:cNvSpPr/>
            <p:nvPr/>
          </p:nvSpPr>
          <p:spPr>
            <a:xfrm>
              <a:off x="3469000" y="2787350"/>
              <a:ext cx="9275" cy="3650"/>
            </a:xfrm>
            <a:custGeom>
              <a:avLst/>
              <a:gdLst/>
              <a:ahLst/>
              <a:cxnLst/>
              <a:rect l="l" t="t" r="r" b="b"/>
              <a:pathLst>
                <a:path w="371" h="146" extrusionOk="0">
                  <a:moveTo>
                    <a:pt x="276" y="1"/>
                  </a:moveTo>
                  <a:cubicBezTo>
                    <a:pt x="267" y="1"/>
                    <a:pt x="258" y="2"/>
                    <a:pt x="248" y="3"/>
                  </a:cubicBezTo>
                  <a:cubicBezTo>
                    <a:pt x="223" y="6"/>
                    <a:pt x="196" y="10"/>
                    <a:pt x="171" y="14"/>
                  </a:cubicBezTo>
                  <a:lnTo>
                    <a:pt x="43" y="32"/>
                  </a:lnTo>
                  <a:cubicBezTo>
                    <a:pt x="29" y="36"/>
                    <a:pt x="16" y="45"/>
                    <a:pt x="9" y="58"/>
                  </a:cubicBezTo>
                  <a:cubicBezTo>
                    <a:pt x="2" y="70"/>
                    <a:pt x="0" y="82"/>
                    <a:pt x="1" y="95"/>
                  </a:cubicBezTo>
                  <a:cubicBezTo>
                    <a:pt x="5" y="120"/>
                    <a:pt x="28" y="146"/>
                    <a:pt x="55" y="146"/>
                  </a:cubicBezTo>
                  <a:cubicBezTo>
                    <a:pt x="56" y="146"/>
                    <a:pt x="57" y="145"/>
                    <a:pt x="58" y="145"/>
                  </a:cubicBezTo>
                  <a:lnTo>
                    <a:pt x="187" y="132"/>
                  </a:lnTo>
                  <a:cubicBezTo>
                    <a:pt x="211" y="130"/>
                    <a:pt x="236" y="126"/>
                    <a:pt x="261" y="123"/>
                  </a:cubicBezTo>
                  <a:cubicBezTo>
                    <a:pt x="271" y="122"/>
                    <a:pt x="282" y="121"/>
                    <a:pt x="292" y="119"/>
                  </a:cubicBezTo>
                  <a:cubicBezTo>
                    <a:pt x="306" y="115"/>
                    <a:pt x="320" y="110"/>
                    <a:pt x="332" y="101"/>
                  </a:cubicBezTo>
                  <a:cubicBezTo>
                    <a:pt x="370" y="80"/>
                    <a:pt x="361" y="19"/>
                    <a:pt x="320" y="8"/>
                  </a:cubicBezTo>
                  <a:cubicBezTo>
                    <a:pt x="306" y="3"/>
                    <a:pt x="291" y="1"/>
                    <a:pt x="27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5" name="Google Shape;525;p41"/>
            <p:cNvSpPr/>
            <p:nvPr/>
          </p:nvSpPr>
          <p:spPr>
            <a:xfrm>
              <a:off x="3301125" y="2268425"/>
              <a:ext cx="1404725" cy="637750"/>
            </a:xfrm>
            <a:custGeom>
              <a:avLst/>
              <a:gdLst/>
              <a:ahLst/>
              <a:cxnLst/>
              <a:rect l="l" t="t" r="r" b="b"/>
              <a:pathLst>
                <a:path w="56189" h="25510" extrusionOk="0">
                  <a:moveTo>
                    <a:pt x="18536" y="1"/>
                  </a:moveTo>
                  <a:cubicBezTo>
                    <a:pt x="17958" y="1"/>
                    <a:pt x="17381" y="31"/>
                    <a:pt x="16814" y="95"/>
                  </a:cubicBezTo>
                  <a:cubicBezTo>
                    <a:pt x="15250" y="275"/>
                    <a:pt x="13055" y="802"/>
                    <a:pt x="11982" y="2066"/>
                  </a:cubicBezTo>
                  <a:cubicBezTo>
                    <a:pt x="10811" y="3445"/>
                    <a:pt x="9358" y="4574"/>
                    <a:pt x="7957" y="5739"/>
                  </a:cubicBezTo>
                  <a:cubicBezTo>
                    <a:pt x="6419" y="7020"/>
                    <a:pt x="4853" y="8285"/>
                    <a:pt x="3508" y="9768"/>
                  </a:cubicBezTo>
                  <a:cubicBezTo>
                    <a:pt x="2162" y="11250"/>
                    <a:pt x="1031" y="12977"/>
                    <a:pt x="519" y="14913"/>
                  </a:cubicBezTo>
                  <a:cubicBezTo>
                    <a:pt x="0" y="16875"/>
                    <a:pt x="251" y="18752"/>
                    <a:pt x="1134" y="20552"/>
                  </a:cubicBezTo>
                  <a:cubicBezTo>
                    <a:pt x="1966" y="22248"/>
                    <a:pt x="3702" y="23384"/>
                    <a:pt x="5379" y="24164"/>
                  </a:cubicBezTo>
                  <a:cubicBezTo>
                    <a:pt x="7290" y="25054"/>
                    <a:pt x="9398" y="25510"/>
                    <a:pt x="11505" y="25510"/>
                  </a:cubicBezTo>
                  <a:cubicBezTo>
                    <a:pt x="12452" y="25510"/>
                    <a:pt x="13398" y="25418"/>
                    <a:pt x="14326" y="25231"/>
                  </a:cubicBezTo>
                  <a:lnTo>
                    <a:pt x="13622" y="24142"/>
                  </a:lnTo>
                  <a:cubicBezTo>
                    <a:pt x="13152" y="23418"/>
                    <a:pt x="16251" y="24074"/>
                    <a:pt x="15626" y="23477"/>
                  </a:cubicBezTo>
                  <a:cubicBezTo>
                    <a:pt x="13948" y="21871"/>
                    <a:pt x="7781" y="19999"/>
                    <a:pt x="6325" y="18189"/>
                  </a:cubicBezTo>
                  <a:cubicBezTo>
                    <a:pt x="5189" y="16775"/>
                    <a:pt x="5006" y="14665"/>
                    <a:pt x="5882" y="13077"/>
                  </a:cubicBezTo>
                  <a:cubicBezTo>
                    <a:pt x="6300" y="12322"/>
                    <a:pt x="6919" y="11700"/>
                    <a:pt x="7549" y="11112"/>
                  </a:cubicBezTo>
                  <a:cubicBezTo>
                    <a:pt x="9824" y="8991"/>
                    <a:pt x="12357" y="7165"/>
                    <a:pt x="15089" y="5677"/>
                  </a:cubicBezTo>
                  <a:cubicBezTo>
                    <a:pt x="15505" y="5450"/>
                    <a:pt x="16383" y="5046"/>
                    <a:pt x="17242" y="4542"/>
                  </a:cubicBezTo>
                  <a:cubicBezTo>
                    <a:pt x="18550" y="3775"/>
                    <a:pt x="20034" y="3374"/>
                    <a:pt x="21540" y="3374"/>
                  </a:cubicBezTo>
                  <a:cubicBezTo>
                    <a:pt x="21818" y="3374"/>
                    <a:pt x="22096" y="3388"/>
                    <a:pt x="22374" y="3415"/>
                  </a:cubicBezTo>
                  <a:cubicBezTo>
                    <a:pt x="23465" y="3523"/>
                    <a:pt x="24560" y="3594"/>
                    <a:pt x="25638" y="3654"/>
                  </a:cubicBezTo>
                  <a:cubicBezTo>
                    <a:pt x="30475" y="3924"/>
                    <a:pt x="35592" y="4184"/>
                    <a:pt x="39617" y="6878"/>
                  </a:cubicBezTo>
                  <a:cubicBezTo>
                    <a:pt x="41819" y="8352"/>
                    <a:pt x="43575" y="10490"/>
                    <a:pt x="45970" y="11624"/>
                  </a:cubicBezTo>
                  <a:cubicBezTo>
                    <a:pt x="47959" y="12567"/>
                    <a:pt x="50194" y="12728"/>
                    <a:pt x="52416" y="12728"/>
                  </a:cubicBezTo>
                  <a:cubicBezTo>
                    <a:pt x="52935" y="12728"/>
                    <a:pt x="53453" y="12719"/>
                    <a:pt x="53967" y="12709"/>
                  </a:cubicBezTo>
                  <a:cubicBezTo>
                    <a:pt x="54652" y="12697"/>
                    <a:pt x="55458" y="12618"/>
                    <a:pt x="55807" y="12028"/>
                  </a:cubicBezTo>
                  <a:cubicBezTo>
                    <a:pt x="56188" y="11385"/>
                    <a:pt x="55727" y="10517"/>
                    <a:pt x="55065" y="10166"/>
                  </a:cubicBezTo>
                  <a:cubicBezTo>
                    <a:pt x="54405" y="9816"/>
                    <a:pt x="53623" y="9823"/>
                    <a:pt x="52877" y="9768"/>
                  </a:cubicBezTo>
                  <a:cubicBezTo>
                    <a:pt x="50240" y="9573"/>
                    <a:pt x="47678" y="8471"/>
                    <a:pt x="45724" y="6689"/>
                  </a:cubicBezTo>
                  <a:cubicBezTo>
                    <a:pt x="44687" y="5744"/>
                    <a:pt x="43809" y="4610"/>
                    <a:pt x="42636" y="3841"/>
                  </a:cubicBezTo>
                  <a:cubicBezTo>
                    <a:pt x="41532" y="3117"/>
                    <a:pt x="40231" y="2760"/>
                    <a:pt x="38936" y="2498"/>
                  </a:cubicBezTo>
                  <a:cubicBezTo>
                    <a:pt x="37943" y="2298"/>
                    <a:pt x="36941" y="2147"/>
                    <a:pt x="35935" y="2028"/>
                  </a:cubicBezTo>
                  <a:cubicBezTo>
                    <a:pt x="32682" y="1643"/>
                    <a:pt x="29400" y="1583"/>
                    <a:pt x="26151" y="1174"/>
                  </a:cubicBezTo>
                  <a:cubicBezTo>
                    <a:pt x="25341" y="1073"/>
                    <a:pt x="24535" y="949"/>
                    <a:pt x="23734" y="794"/>
                  </a:cubicBezTo>
                  <a:cubicBezTo>
                    <a:pt x="23073" y="666"/>
                    <a:pt x="22452" y="396"/>
                    <a:pt x="21802" y="287"/>
                  </a:cubicBezTo>
                  <a:cubicBezTo>
                    <a:pt x="20736" y="108"/>
                    <a:pt x="19633" y="1"/>
                    <a:pt x="1853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6" name="Google Shape;526;p41"/>
            <p:cNvSpPr/>
            <p:nvPr/>
          </p:nvSpPr>
          <p:spPr>
            <a:xfrm>
              <a:off x="3829925" y="2290650"/>
              <a:ext cx="9075" cy="3100"/>
            </a:xfrm>
            <a:custGeom>
              <a:avLst/>
              <a:gdLst/>
              <a:ahLst/>
              <a:cxnLst/>
              <a:rect l="l" t="t" r="r" b="b"/>
              <a:pathLst>
                <a:path w="363" h="124" extrusionOk="0">
                  <a:moveTo>
                    <a:pt x="153" y="1"/>
                  </a:moveTo>
                  <a:cubicBezTo>
                    <a:pt x="121" y="1"/>
                    <a:pt x="90" y="2"/>
                    <a:pt x="59" y="3"/>
                  </a:cubicBezTo>
                  <a:cubicBezTo>
                    <a:pt x="26" y="4"/>
                    <a:pt x="0" y="30"/>
                    <a:pt x="0" y="62"/>
                  </a:cubicBezTo>
                  <a:cubicBezTo>
                    <a:pt x="1" y="94"/>
                    <a:pt x="26" y="120"/>
                    <a:pt x="59" y="121"/>
                  </a:cubicBezTo>
                  <a:cubicBezTo>
                    <a:pt x="94" y="122"/>
                    <a:pt x="128" y="124"/>
                    <a:pt x="163" y="124"/>
                  </a:cubicBezTo>
                  <a:cubicBezTo>
                    <a:pt x="171" y="124"/>
                    <a:pt x="179" y="124"/>
                    <a:pt x="188" y="124"/>
                  </a:cubicBezTo>
                  <a:lnTo>
                    <a:pt x="251" y="121"/>
                  </a:lnTo>
                  <a:cubicBezTo>
                    <a:pt x="262" y="121"/>
                    <a:pt x="272" y="121"/>
                    <a:pt x="283" y="120"/>
                  </a:cubicBezTo>
                  <a:cubicBezTo>
                    <a:pt x="300" y="119"/>
                    <a:pt x="316" y="113"/>
                    <a:pt x="331" y="105"/>
                  </a:cubicBezTo>
                  <a:cubicBezTo>
                    <a:pt x="363" y="86"/>
                    <a:pt x="363" y="39"/>
                    <a:pt x="331" y="20"/>
                  </a:cubicBezTo>
                  <a:cubicBezTo>
                    <a:pt x="316" y="11"/>
                    <a:pt x="300" y="6"/>
                    <a:pt x="283" y="4"/>
                  </a:cubicBezTo>
                  <a:cubicBezTo>
                    <a:pt x="273" y="4"/>
                    <a:pt x="263" y="4"/>
                    <a:pt x="253" y="3"/>
                  </a:cubicBezTo>
                  <a:lnTo>
                    <a:pt x="188" y="1"/>
                  </a:lnTo>
                  <a:cubicBezTo>
                    <a:pt x="176" y="1"/>
                    <a:pt x="165" y="1"/>
                    <a:pt x="15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7" name="Google Shape;527;p41"/>
            <p:cNvSpPr/>
            <p:nvPr/>
          </p:nvSpPr>
          <p:spPr>
            <a:xfrm>
              <a:off x="3841725" y="2299850"/>
              <a:ext cx="20450" cy="4650"/>
            </a:xfrm>
            <a:custGeom>
              <a:avLst/>
              <a:gdLst/>
              <a:ahLst/>
              <a:cxnLst/>
              <a:rect l="l" t="t" r="r" b="b"/>
              <a:pathLst>
                <a:path w="818" h="186" extrusionOk="0">
                  <a:moveTo>
                    <a:pt x="372" y="1"/>
                  </a:moveTo>
                  <a:cubicBezTo>
                    <a:pt x="332" y="1"/>
                    <a:pt x="292" y="3"/>
                    <a:pt x="252" y="4"/>
                  </a:cubicBezTo>
                  <a:cubicBezTo>
                    <a:pt x="224" y="5"/>
                    <a:pt x="195" y="7"/>
                    <a:pt x="168" y="9"/>
                  </a:cubicBezTo>
                  <a:cubicBezTo>
                    <a:pt x="132" y="12"/>
                    <a:pt x="97" y="17"/>
                    <a:pt x="63" y="23"/>
                  </a:cubicBezTo>
                  <a:cubicBezTo>
                    <a:pt x="24" y="31"/>
                    <a:pt x="0" y="75"/>
                    <a:pt x="6" y="110"/>
                  </a:cubicBezTo>
                  <a:cubicBezTo>
                    <a:pt x="11" y="149"/>
                    <a:pt x="44" y="178"/>
                    <a:pt x="83" y="178"/>
                  </a:cubicBezTo>
                  <a:cubicBezTo>
                    <a:pt x="107" y="179"/>
                    <a:pt x="130" y="181"/>
                    <a:pt x="154" y="181"/>
                  </a:cubicBezTo>
                  <a:cubicBezTo>
                    <a:pt x="159" y="181"/>
                    <a:pt x="165" y="181"/>
                    <a:pt x="170" y="180"/>
                  </a:cubicBezTo>
                  <a:cubicBezTo>
                    <a:pt x="200" y="179"/>
                    <a:pt x="229" y="179"/>
                    <a:pt x="259" y="179"/>
                  </a:cubicBezTo>
                  <a:cubicBezTo>
                    <a:pt x="303" y="179"/>
                    <a:pt x="349" y="181"/>
                    <a:pt x="394" y="181"/>
                  </a:cubicBezTo>
                  <a:cubicBezTo>
                    <a:pt x="405" y="181"/>
                    <a:pt x="416" y="181"/>
                    <a:pt x="427" y="180"/>
                  </a:cubicBezTo>
                  <a:cubicBezTo>
                    <a:pt x="484" y="180"/>
                    <a:pt x="540" y="180"/>
                    <a:pt x="596" y="184"/>
                  </a:cubicBezTo>
                  <a:cubicBezTo>
                    <a:pt x="612" y="184"/>
                    <a:pt x="627" y="186"/>
                    <a:pt x="642" y="186"/>
                  </a:cubicBezTo>
                  <a:cubicBezTo>
                    <a:pt x="659" y="186"/>
                    <a:pt x="677" y="183"/>
                    <a:pt x="695" y="179"/>
                  </a:cubicBezTo>
                  <a:cubicBezTo>
                    <a:pt x="723" y="174"/>
                    <a:pt x="751" y="170"/>
                    <a:pt x="778" y="166"/>
                  </a:cubicBezTo>
                  <a:cubicBezTo>
                    <a:pt x="802" y="159"/>
                    <a:pt x="818" y="139"/>
                    <a:pt x="818" y="115"/>
                  </a:cubicBezTo>
                  <a:cubicBezTo>
                    <a:pt x="816" y="92"/>
                    <a:pt x="802" y="72"/>
                    <a:pt x="778" y="65"/>
                  </a:cubicBezTo>
                  <a:cubicBezTo>
                    <a:pt x="751" y="54"/>
                    <a:pt x="723" y="43"/>
                    <a:pt x="695" y="33"/>
                  </a:cubicBezTo>
                  <a:cubicBezTo>
                    <a:pt x="663" y="22"/>
                    <a:pt x="630" y="17"/>
                    <a:pt x="597" y="16"/>
                  </a:cubicBezTo>
                  <a:cubicBezTo>
                    <a:pt x="539" y="10"/>
                    <a:pt x="482" y="5"/>
                    <a:pt x="424" y="2"/>
                  </a:cubicBezTo>
                  <a:cubicBezTo>
                    <a:pt x="407" y="1"/>
                    <a:pt x="390" y="1"/>
                    <a:pt x="37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8" name="Google Shape;528;p41"/>
            <p:cNvSpPr/>
            <p:nvPr/>
          </p:nvSpPr>
          <p:spPr>
            <a:xfrm>
              <a:off x="3630525" y="2332625"/>
              <a:ext cx="16300" cy="4250"/>
            </a:xfrm>
            <a:custGeom>
              <a:avLst/>
              <a:gdLst/>
              <a:ahLst/>
              <a:cxnLst/>
              <a:rect l="l" t="t" r="r" b="b"/>
              <a:pathLst>
                <a:path w="652" h="170" extrusionOk="0">
                  <a:moveTo>
                    <a:pt x="460" y="1"/>
                  </a:moveTo>
                  <a:cubicBezTo>
                    <a:pt x="458" y="1"/>
                    <a:pt x="456" y="1"/>
                    <a:pt x="455" y="1"/>
                  </a:cubicBezTo>
                  <a:lnTo>
                    <a:pt x="331" y="2"/>
                  </a:lnTo>
                  <a:lnTo>
                    <a:pt x="83" y="4"/>
                  </a:lnTo>
                  <a:cubicBezTo>
                    <a:pt x="41" y="4"/>
                    <a:pt x="0" y="41"/>
                    <a:pt x="2" y="85"/>
                  </a:cubicBezTo>
                  <a:cubicBezTo>
                    <a:pt x="3" y="129"/>
                    <a:pt x="39" y="165"/>
                    <a:pt x="83" y="166"/>
                  </a:cubicBezTo>
                  <a:lnTo>
                    <a:pt x="331" y="168"/>
                  </a:lnTo>
                  <a:lnTo>
                    <a:pt x="451" y="169"/>
                  </a:lnTo>
                  <a:cubicBezTo>
                    <a:pt x="499" y="169"/>
                    <a:pt x="544" y="159"/>
                    <a:pt x="590" y="148"/>
                  </a:cubicBezTo>
                  <a:cubicBezTo>
                    <a:pt x="652" y="134"/>
                    <a:pt x="652" y="37"/>
                    <a:pt x="590" y="22"/>
                  </a:cubicBezTo>
                  <a:cubicBezTo>
                    <a:pt x="547" y="13"/>
                    <a:pt x="504" y="1"/>
                    <a:pt x="46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9" name="Google Shape;529;p41"/>
            <p:cNvSpPr/>
            <p:nvPr/>
          </p:nvSpPr>
          <p:spPr>
            <a:xfrm>
              <a:off x="3601300" y="2345125"/>
              <a:ext cx="18750" cy="4025"/>
            </a:xfrm>
            <a:custGeom>
              <a:avLst/>
              <a:gdLst/>
              <a:ahLst/>
              <a:cxnLst/>
              <a:rect l="l" t="t" r="r" b="b"/>
              <a:pathLst>
                <a:path w="750" h="161" extrusionOk="0">
                  <a:moveTo>
                    <a:pt x="477" y="0"/>
                  </a:moveTo>
                  <a:cubicBezTo>
                    <a:pt x="474" y="0"/>
                    <a:pt x="471" y="0"/>
                    <a:pt x="468" y="1"/>
                  </a:cubicBezTo>
                  <a:lnTo>
                    <a:pt x="389" y="2"/>
                  </a:lnTo>
                  <a:lnTo>
                    <a:pt x="76" y="5"/>
                  </a:lnTo>
                  <a:cubicBezTo>
                    <a:pt x="35" y="5"/>
                    <a:pt x="1" y="38"/>
                    <a:pt x="1" y="81"/>
                  </a:cubicBezTo>
                  <a:cubicBezTo>
                    <a:pt x="1" y="122"/>
                    <a:pt x="35" y="156"/>
                    <a:pt x="76" y="156"/>
                  </a:cubicBezTo>
                  <a:lnTo>
                    <a:pt x="77" y="156"/>
                  </a:lnTo>
                  <a:lnTo>
                    <a:pt x="390" y="160"/>
                  </a:lnTo>
                  <a:lnTo>
                    <a:pt x="465" y="161"/>
                  </a:lnTo>
                  <a:cubicBezTo>
                    <a:pt x="483" y="161"/>
                    <a:pt x="501" y="159"/>
                    <a:pt x="518" y="154"/>
                  </a:cubicBezTo>
                  <a:cubicBezTo>
                    <a:pt x="519" y="154"/>
                    <a:pt x="534" y="151"/>
                    <a:pt x="529" y="151"/>
                  </a:cubicBezTo>
                  <a:cubicBezTo>
                    <a:pt x="528" y="151"/>
                    <a:pt x="527" y="151"/>
                    <a:pt x="524" y="151"/>
                  </a:cubicBezTo>
                  <a:cubicBezTo>
                    <a:pt x="530" y="150"/>
                    <a:pt x="537" y="150"/>
                    <a:pt x="544" y="149"/>
                  </a:cubicBezTo>
                  <a:cubicBezTo>
                    <a:pt x="599" y="144"/>
                    <a:pt x="655" y="140"/>
                    <a:pt x="709" y="131"/>
                  </a:cubicBezTo>
                  <a:cubicBezTo>
                    <a:pt x="733" y="126"/>
                    <a:pt x="750" y="105"/>
                    <a:pt x="748" y="81"/>
                  </a:cubicBezTo>
                  <a:cubicBezTo>
                    <a:pt x="747" y="59"/>
                    <a:pt x="734" y="32"/>
                    <a:pt x="709" y="29"/>
                  </a:cubicBezTo>
                  <a:cubicBezTo>
                    <a:pt x="655" y="21"/>
                    <a:pt x="599" y="15"/>
                    <a:pt x="544" y="11"/>
                  </a:cubicBezTo>
                  <a:cubicBezTo>
                    <a:pt x="538" y="11"/>
                    <a:pt x="530" y="10"/>
                    <a:pt x="524" y="9"/>
                  </a:cubicBezTo>
                  <a:lnTo>
                    <a:pt x="524" y="9"/>
                  </a:lnTo>
                  <a:cubicBezTo>
                    <a:pt x="527" y="9"/>
                    <a:pt x="528" y="10"/>
                    <a:pt x="529" y="10"/>
                  </a:cubicBezTo>
                  <a:cubicBezTo>
                    <a:pt x="531" y="10"/>
                    <a:pt x="522" y="7"/>
                    <a:pt x="518" y="6"/>
                  </a:cubicBezTo>
                  <a:cubicBezTo>
                    <a:pt x="504" y="2"/>
                    <a:pt x="491" y="0"/>
                    <a:pt x="47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30" name="Google Shape;530;p41"/>
            <p:cNvSpPr/>
            <p:nvPr/>
          </p:nvSpPr>
          <p:spPr>
            <a:xfrm>
              <a:off x="3428775" y="2752725"/>
              <a:ext cx="17000" cy="4125"/>
            </a:xfrm>
            <a:custGeom>
              <a:avLst/>
              <a:gdLst/>
              <a:ahLst/>
              <a:cxnLst/>
              <a:rect l="l" t="t" r="r" b="b"/>
              <a:pathLst>
                <a:path w="680" h="165" extrusionOk="0">
                  <a:moveTo>
                    <a:pt x="440" y="1"/>
                  </a:moveTo>
                  <a:cubicBezTo>
                    <a:pt x="409" y="1"/>
                    <a:pt x="379" y="2"/>
                    <a:pt x="347" y="3"/>
                  </a:cubicBezTo>
                  <a:lnTo>
                    <a:pt x="78" y="6"/>
                  </a:lnTo>
                  <a:cubicBezTo>
                    <a:pt x="39" y="6"/>
                    <a:pt x="0" y="41"/>
                    <a:pt x="2" y="83"/>
                  </a:cubicBezTo>
                  <a:cubicBezTo>
                    <a:pt x="4" y="125"/>
                    <a:pt x="37" y="159"/>
                    <a:pt x="78" y="160"/>
                  </a:cubicBezTo>
                  <a:lnTo>
                    <a:pt x="77" y="160"/>
                  </a:lnTo>
                  <a:lnTo>
                    <a:pt x="346" y="163"/>
                  </a:lnTo>
                  <a:cubicBezTo>
                    <a:pt x="379" y="163"/>
                    <a:pt x="412" y="165"/>
                    <a:pt x="445" y="165"/>
                  </a:cubicBezTo>
                  <a:cubicBezTo>
                    <a:pt x="456" y="165"/>
                    <a:pt x="467" y="165"/>
                    <a:pt x="478" y="164"/>
                  </a:cubicBezTo>
                  <a:cubicBezTo>
                    <a:pt x="501" y="164"/>
                    <a:pt x="524" y="163"/>
                    <a:pt x="547" y="162"/>
                  </a:cubicBezTo>
                  <a:cubicBezTo>
                    <a:pt x="560" y="162"/>
                    <a:pt x="573" y="161"/>
                    <a:pt x="587" y="159"/>
                  </a:cubicBezTo>
                  <a:cubicBezTo>
                    <a:pt x="606" y="156"/>
                    <a:pt x="625" y="146"/>
                    <a:pt x="638" y="131"/>
                  </a:cubicBezTo>
                  <a:lnTo>
                    <a:pt x="638" y="131"/>
                  </a:lnTo>
                  <a:lnTo>
                    <a:pt x="647" y="126"/>
                  </a:lnTo>
                  <a:cubicBezTo>
                    <a:pt x="679" y="106"/>
                    <a:pt x="679" y="60"/>
                    <a:pt x="647" y="40"/>
                  </a:cubicBezTo>
                  <a:lnTo>
                    <a:pt x="636" y="33"/>
                  </a:lnTo>
                  <a:lnTo>
                    <a:pt x="636" y="33"/>
                  </a:lnTo>
                  <a:cubicBezTo>
                    <a:pt x="625" y="22"/>
                    <a:pt x="612" y="14"/>
                    <a:pt x="597" y="8"/>
                  </a:cubicBezTo>
                  <a:cubicBezTo>
                    <a:pt x="586" y="6"/>
                    <a:pt x="574" y="4"/>
                    <a:pt x="563" y="4"/>
                  </a:cubicBezTo>
                  <a:cubicBezTo>
                    <a:pt x="559" y="4"/>
                    <a:pt x="555" y="5"/>
                    <a:pt x="551" y="5"/>
                  </a:cubicBezTo>
                  <a:cubicBezTo>
                    <a:pt x="528" y="4"/>
                    <a:pt x="504" y="2"/>
                    <a:pt x="482" y="2"/>
                  </a:cubicBezTo>
                  <a:cubicBezTo>
                    <a:pt x="468" y="1"/>
                    <a:pt x="454" y="1"/>
                    <a:pt x="44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31" name="Google Shape;531;p41"/>
            <p:cNvSpPr/>
            <p:nvPr/>
          </p:nvSpPr>
          <p:spPr>
            <a:xfrm>
              <a:off x="3449775" y="2768300"/>
              <a:ext cx="16850" cy="3975"/>
            </a:xfrm>
            <a:custGeom>
              <a:avLst/>
              <a:gdLst/>
              <a:ahLst/>
              <a:cxnLst/>
              <a:rect l="l" t="t" r="r" b="b"/>
              <a:pathLst>
                <a:path w="674" h="159" extrusionOk="0">
                  <a:moveTo>
                    <a:pt x="438" y="0"/>
                  </a:moveTo>
                  <a:cubicBezTo>
                    <a:pt x="406" y="0"/>
                    <a:pt x="375" y="1"/>
                    <a:pt x="343" y="2"/>
                  </a:cubicBezTo>
                  <a:lnTo>
                    <a:pt x="73" y="7"/>
                  </a:lnTo>
                  <a:cubicBezTo>
                    <a:pt x="33" y="7"/>
                    <a:pt x="2" y="40"/>
                    <a:pt x="1" y="80"/>
                  </a:cubicBezTo>
                  <a:cubicBezTo>
                    <a:pt x="2" y="119"/>
                    <a:pt x="33" y="151"/>
                    <a:pt x="73" y="151"/>
                  </a:cubicBezTo>
                  <a:lnTo>
                    <a:pt x="343" y="157"/>
                  </a:lnTo>
                  <a:cubicBezTo>
                    <a:pt x="374" y="157"/>
                    <a:pt x="405" y="158"/>
                    <a:pt x="436" y="158"/>
                  </a:cubicBezTo>
                  <a:cubicBezTo>
                    <a:pt x="449" y="158"/>
                    <a:pt x="462" y="158"/>
                    <a:pt x="475" y="158"/>
                  </a:cubicBezTo>
                  <a:lnTo>
                    <a:pt x="544" y="157"/>
                  </a:lnTo>
                  <a:cubicBezTo>
                    <a:pt x="557" y="157"/>
                    <a:pt x="570" y="156"/>
                    <a:pt x="584" y="155"/>
                  </a:cubicBezTo>
                  <a:cubicBezTo>
                    <a:pt x="601" y="150"/>
                    <a:pt x="616" y="144"/>
                    <a:pt x="632" y="135"/>
                  </a:cubicBezTo>
                  <a:cubicBezTo>
                    <a:pt x="673" y="109"/>
                    <a:pt x="673" y="49"/>
                    <a:pt x="632" y="24"/>
                  </a:cubicBezTo>
                  <a:cubicBezTo>
                    <a:pt x="620" y="17"/>
                    <a:pt x="607" y="10"/>
                    <a:pt x="593" y="6"/>
                  </a:cubicBezTo>
                  <a:cubicBezTo>
                    <a:pt x="581" y="3"/>
                    <a:pt x="568" y="1"/>
                    <a:pt x="555" y="1"/>
                  </a:cubicBezTo>
                  <a:cubicBezTo>
                    <a:pt x="552" y="1"/>
                    <a:pt x="550" y="2"/>
                    <a:pt x="547" y="2"/>
                  </a:cubicBezTo>
                  <a:lnTo>
                    <a:pt x="477" y="1"/>
                  </a:lnTo>
                  <a:cubicBezTo>
                    <a:pt x="464" y="0"/>
                    <a:pt x="451" y="0"/>
                    <a:pt x="43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32" name="Google Shape;532;p41"/>
            <p:cNvSpPr/>
            <p:nvPr/>
          </p:nvSpPr>
          <p:spPr>
            <a:xfrm>
              <a:off x="4506150" y="2560825"/>
              <a:ext cx="14325" cy="4275"/>
            </a:xfrm>
            <a:custGeom>
              <a:avLst/>
              <a:gdLst/>
              <a:ahLst/>
              <a:cxnLst/>
              <a:rect l="l" t="t" r="r" b="b"/>
              <a:pathLst>
                <a:path w="573" h="171" extrusionOk="0">
                  <a:moveTo>
                    <a:pt x="255" y="1"/>
                  </a:moveTo>
                  <a:cubicBezTo>
                    <a:pt x="237" y="1"/>
                    <a:pt x="218" y="1"/>
                    <a:pt x="200" y="2"/>
                  </a:cubicBezTo>
                  <a:lnTo>
                    <a:pt x="85" y="3"/>
                  </a:lnTo>
                  <a:cubicBezTo>
                    <a:pt x="42" y="3"/>
                    <a:pt x="1" y="41"/>
                    <a:pt x="3" y="85"/>
                  </a:cubicBezTo>
                  <a:cubicBezTo>
                    <a:pt x="4" y="131"/>
                    <a:pt x="40" y="167"/>
                    <a:pt x="85" y="168"/>
                  </a:cubicBezTo>
                  <a:lnTo>
                    <a:pt x="85" y="167"/>
                  </a:lnTo>
                  <a:lnTo>
                    <a:pt x="197" y="169"/>
                  </a:lnTo>
                  <a:cubicBezTo>
                    <a:pt x="216" y="170"/>
                    <a:pt x="235" y="170"/>
                    <a:pt x="254" y="170"/>
                  </a:cubicBezTo>
                  <a:cubicBezTo>
                    <a:pt x="273" y="170"/>
                    <a:pt x="292" y="170"/>
                    <a:pt x="312" y="169"/>
                  </a:cubicBezTo>
                  <a:lnTo>
                    <a:pt x="422" y="155"/>
                  </a:lnTo>
                  <a:cubicBezTo>
                    <a:pt x="467" y="151"/>
                    <a:pt x="520" y="153"/>
                    <a:pt x="553" y="120"/>
                  </a:cubicBezTo>
                  <a:cubicBezTo>
                    <a:pt x="572" y="100"/>
                    <a:pt x="572" y="70"/>
                    <a:pt x="553" y="51"/>
                  </a:cubicBezTo>
                  <a:cubicBezTo>
                    <a:pt x="522" y="18"/>
                    <a:pt x="469" y="20"/>
                    <a:pt x="427" y="15"/>
                  </a:cubicBezTo>
                  <a:lnTo>
                    <a:pt x="312" y="2"/>
                  </a:lnTo>
                  <a:cubicBezTo>
                    <a:pt x="293" y="1"/>
                    <a:pt x="274" y="1"/>
                    <a:pt x="25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33" name="Google Shape;533;p41"/>
            <p:cNvSpPr/>
            <p:nvPr/>
          </p:nvSpPr>
          <p:spPr>
            <a:xfrm>
              <a:off x="4516725" y="2549850"/>
              <a:ext cx="19000" cy="4000"/>
            </a:xfrm>
            <a:custGeom>
              <a:avLst/>
              <a:gdLst/>
              <a:ahLst/>
              <a:cxnLst/>
              <a:rect l="l" t="t" r="r" b="b"/>
              <a:pathLst>
                <a:path w="760" h="160" extrusionOk="0">
                  <a:moveTo>
                    <a:pt x="595" y="0"/>
                  </a:moveTo>
                  <a:cubicBezTo>
                    <a:pt x="593" y="0"/>
                    <a:pt x="591" y="0"/>
                    <a:pt x="589" y="0"/>
                  </a:cubicBezTo>
                  <a:cubicBezTo>
                    <a:pt x="576" y="0"/>
                    <a:pt x="562" y="2"/>
                    <a:pt x="550" y="2"/>
                  </a:cubicBezTo>
                  <a:lnTo>
                    <a:pt x="388" y="9"/>
                  </a:lnTo>
                  <a:cubicBezTo>
                    <a:pt x="281" y="13"/>
                    <a:pt x="172" y="26"/>
                    <a:pt x="64" y="35"/>
                  </a:cubicBezTo>
                  <a:cubicBezTo>
                    <a:pt x="32" y="37"/>
                    <a:pt x="0" y="62"/>
                    <a:pt x="2" y="97"/>
                  </a:cubicBezTo>
                  <a:cubicBezTo>
                    <a:pt x="3" y="131"/>
                    <a:pt x="30" y="160"/>
                    <a:pt x="64" y="160"/>
                  </a:cubicBezTo>
                  <a:lnTo>
                    <a:pt x="65" y="160"/>
                  </a:lnTo>
                  <a:cubicBezTo>
                    <a:pt x="173" y="157"/>
                    <a:pt x="283" y="158"/>
                    <a:pt x="393" y="150"/>
                  </a:cubicBezTo>
                  <a:lnTo>
                    <a:pt x="556" y="139"/>
                  </a:lnTo>
                  <a:cubicBezTo>
                    <a:pt x="570" y="138"/>
                    <a:pt x="582" y="136"/>
                    <a:pt x="596" y="135"/>
                  </a:cubicBezTo>
                  <a:cubicBezTo>
                    <a:pt x="610" y="134"/>
                    <a:pt x="624" y="130"/>
                    <a:pt x="635" y="125"/>
                  </a:cubicBezTo>
                  <a:cubicBezTo>
                    <a:pt x="636" y="124"/>
                    <a:pt x="637" y="124"/>
                    <a:pt x="638" y="124"/>
                  </a:cubicBezTo>
                  <a:lnTo>
                    <a:pt x="638" y="124"/>
                  </a:lnTo>
                  <a:cubicBezTo>
                    <a:pt x="639" y="124"/>
                    <a:pt x="641" y="123"/>
                    <a:pt x="645" y="123"/>
                  </a:cubicBezTo>
                  <a:cubicBezTo>
                    <a:pt x="671" y="117"/>
                    <a:pt x="698" y="109"/>
                    <a:pt x="725" y="103"/>
                  </a:cubicBezTo>
                  <a:cubicBezTo>
                    <a:pt x="746" y="96"/>
                    <a:pt x="760" y="76"/>
                    <a:pt x="756" y="55"/>
                  </a:cubicBezTo>
                  <a:cubicBezTo>
                    <a:pt x="753" y="34"/>
                    <a:pt x="735" y="18"/>
                    <a:pt x="714" y="17"/>
                  </a:cubicBezTo>
                  <a:cubicBezTo>
                    <a:pt x="687" y="14"/>
                    <a:pt x="658" y="12"/>
                    <a:pt x="632" y="8"/>
                  </a:cubicBezTo>
                  <a:lnTo>
                    <a:pt x="620" y="4"/>
                  </a:lnTo>
                  <a:cubicBezTo>
                    <a:pt x="612" y="2"/>
                    <a:pt x="603" y="0"/>
                    <a:pt x="59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34" name="Google Shape;534;p41"/>
            <p:cNvSpPr/>
            <p:nvPr/>
          </p:nvSpPr>
          <p:spPr>
            <a:xfrm>
              <a:off x="4307550" y="2357175"/>
              <a:ext cx="15500" cy="5150"/>
            </a:xfrm>
            <a:custGeom>
              <a:avLst/>
              <a:gdLst/>
              <a:ahLst/>
              <a:cxnLst/>
              <a:rect l="l" t="t" r="r" b="b"/>
              <a:pathLst>
                <a:path w="620" h="206" extrusionOk="0">
                  <a:moveTo>
                    <a:pt x="78" y="1"/>
                  </a:moveTo>
                  <a:cubicBezTo>
                    <a:pt x="47" y="1"/>
                    <a:pt x="16" y="18"/>
                    <a:pt x="9" y="51"/>
                  </a:cubicBezTo>
                  <a:cubicBezTo>
                    <a:pt x="0" y="85"/>
                    <a:pt x="19" y="129"/>
                    <a:pt x="57" y="136"/>
                  </a:cubicBezTo>
                  <a:cubicBezTo>
                    <a:pt x="142" y="153"/>
                    <a:pt x="226" y="169"/>
                    <a:pt x="311" y="183"/>
                  </a:cubicBezTo>
                  <a:cubicBezTo>
                    <a:pt x="357" y="191"/>
                    <a:pt x="402" y="196"/>
                    <a:pt x="448" y="201"/>
                  </a:cubicBezTo>
                  <a:cubicBezTo>
                    <a:pt x="470" y="203"/>
                    <a:pt x="491" y="203"/>
                    <a:pt x="512" y="204"/>
                  </a:cubicBezTo>
                  <a:cubicBezTo>
                    <a:pt x="520" y="205"/>
                    <a:pt x="529" y="206"/>
                    <a:pt x="538" y="206"/>
                  </a:cubicBezTo>
                  <a:cubicBezTo>
                    <a:pt x="552" y="206"/>
                    <a:pt x="566" y="204"/>
                    <a:pt x="580" y="201"/>
                  </a:cubicBezTo>
                  <a:cubicBezTo>
                    <a:pt x="605" y="194"/>
                    <a:pt x="619" y="157"/>
                    <a:pt x="596" y="140"/>
                  </a:cubicBezTo>
                  <a:cubicBezTo>
                    <a:pt x="587" y="130"/>
                    <a:pt x="575" y="124"/>
                    <a:pt x="562" y="118"/>
                  </a:cubicBezTo>
                  <a:cubicBezTo>
                    <a:pt x="553" y="114"/>
                    <a:pt x="542" y="111"/>
                    <a:pt x="532" y="108"/>
                  </a:cubicBezTo>
                  <a:cubicBezTo>
                    <a:pt x="512" y="101"/>
                    <a:pt x="491" y="93"/>
                    <a:pt x="470" y="87"/>
                  </a:cubicBezTo>
                  <a:cubicBezTo>
                    <a:pt x="431" y="73"/>
                    <a:pt x="388" y="63"/>
                    <a:pt x="347" y="54"/>
                  </a:cubicBezTo>
                  <a:cubicBezTo>
                    <a:pt x="263" y="35"/>
                    <a:pt x="179" y="18"/>
                    <a:pt x="94" y="2"/>
                  </a:cubicBezTo>
                  <a:cubicBezTo>
                    <a:pt x="89" y="1"/>
                    <a:pt x="83" y="1"/>
                    <a:pt x="7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35" name="Google Shape;535;p41"/>
            <p:cNvSpPr/>
            <p:nvPr/>
          </p:nvSpPr>
          <p:spPr>
            <a:xfrm>
              <a:off x="4338700" y="2367800"/>
              <a:ext cx="13650" cy="4175"/>
            </a:xfrm>
            <a:custGeom>
              <a:avLst/>
              <a:gdLst/>
              <a:ahLst/>
              <a:cxnLst/>
              <a:rect l="l" t="t" r="r" b="b"/>
              <a:pathLst>
                <a:path w="546" h="167" extrusionOk="0">
                  <a:moveTo>
                    <a:pt x="85" y="0"/>
                  </a:moveTo>
                  <a:cubicBezTo>
                    <a:pt x="80" y="0"/>
                    <a:pt x="74" y="0"/>
                    <a:pt x="68" y="0"/>
                  </a:cubicBezTo>
                  <a:cubicBezTo>
                    <a:pt x="31" y="1"/>
                    <a:pt x="1" y="31"/>
                    <a:pt x="1" y="69"/>
                  </a:cubicBezTo>
                  <a:cubicBezTo>
                    <a:pt x="2" y="106"/>
                    <a:pt x="31" y="135"/>
                    <a:pt x="68" y="136"/>
                  </a:cubicBezTo>
                  <a:cubicBezTo>
                    <a:pt x="142" y="139"/>
                    <a:pt x="215" y="146"/>
                    <a:pt x="287" y="155"/>
                  </a:cubicBezTo>
                  <a:cubicBezTo>
                    <a:pt x="322" y="159"/>
                    <a:pt x="357" y="158"/>
                    <a:pt x="393" y="162"/>
                  </a:cubicBezTo>
                  <a:cubicBezTo>
                    <a:pt x="420" y="165"/>
                    <a:pt x="448" y="166"/>
                    <a:pt x="476" y="166"/>
                  </a:cubicBezTo>
                  <a:cubicBezTo>
                    <a:pt x="484" y="166"/>
                    <a:pt x="493" y="166"/>
                    <a:pt x="501" y="166"/>
                  </a:cubicBezTo>
                  <a:cubicBezTo>
                    <a:pt x="534" y="165"/>
                    <a:pt x="546" y="123"/>
                    <a:pt x="518" y="106"/>
                  </a:cubicBezTo>
                  <a:cubicBezTo>
                    <a:pt x="486" y="84"/>
                    <a:pt x="450" y="66"/>
                    <a:pt x="413" y="53"/>
                  </a:cubicBezTo>
                  <a:cubicBezTo>
                    <a:pt x="378" y="38"/>
                    <a:pt x="342" y="27"/>
                    <a:pt x="305" y="19"/>
                  </a:cubicBezTo>
                  <a:cubicBezTo>
                    <a:pt x="233" y="7"/>
                    <a:pt x="160" y="0"/>
                    <a:pt x="8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6">
  <p:cSld name="CUSTOM_29">
    <p:spTree>
      <p:nvGrpSpPr>
        <p:cNvPr id="1" name="Shape 5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7" name="Google Shape;537;p42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538" name="Google Shape;538;p42"/>
          <p:cNvGrpSpPr/>
          <p:nvPr/>
        </p:nvGrpSpPr>
        <p:grpSpPr>
          <a:xfrm>
            <a:off x="-2064233" y="-1194495"/>
            <a:ext cx="6048480" cy="3219365"/>
            <a:chOff x="4613325" y="3911725"/>
            <a:chExt cx="927150" cy="493475"/>
          </a:xfrm>
        </p:grpSpPr>
        <p:sp>
          <p:nvSpPr>
            <p:cNvPr id="539" name="Google Shape;539;p42"/>
            <p:cNvSpPr/>
            <p:nvPr/>
          </p:nvSpPr>
          <p:spPr>
            <a:xfrm>
              <a:off x="4613325" y="3911725"/>
              <a:ext cx="927150" cy="493475"/>
            </a:xfrm>
            <a:custGeom>
              <a:avLst/>
              <a:gdLst/>
              <a:ahLst/>
              <a:cxnLst/>
              <a:rect l="l" t="t" r="r" b="b"/>
              <a:pathLst>
                <a:path w="37086" h="19739" extrusionOk="0">
                  <a:moveTo>
                    <a:pt x="33368" y="1"/>
                  </a:moveTo>
                  <a:cubicBezTo>
                    <a:pt x="33174" y="1"/>
                    <a:pt x="33001" y="15"/>
                    <a:pt x="32862" y="43"/>
                  </a:cubicBezTo>
                  <a:cubicBezTo>
                    <a:pt x="30668" y="489"/>
                    <a:pt x="28549" y="1397"/>
                    <a:pt x="26691" y="2639"/>
                  </a:cubicBezTo>
                  <a:cubicBezTo>
                    <a:pt x="25723" y="3284"/>
                    <a:pt x="24822" y="4025"/>
                    <a:pt x="23874" y="4697"/>
                  </a:cubicBezTo>
                  <a:cubicBezTo>
                    <a:pt x="23435" y="5008"/>
                    <a:pt x="22988" y="5306"/>
                    <a:pt x="22534" y="5587"/>
                  </a:cubicBezTo>
                  <a:cubicBezTo>
                    <a:pt x="19728" y="7333"/>
                    <a:pt x="16636" y="8576"/>
                    <a:pt x="13562" y="9771"/>
                  </a:cubicBezTo>
                  <a:cubicBezTo>
                    <a:pt x="11763" y="10470"/>
                    <a:pt x="9957" y="11155"/>
                    <a:pt x="8184" y="11925"/>
                  </a:cubicBezTo>
                  <a:cubicBezTo>
                    <a:pt x="6450" y="12679"/>
                    <a:pt x="4551" y="13118"/>
                    <a:pt x="2924" y="14105"/>
                  </a:cubicBezTo>
                  <a:cubicBezTo>
                    <a:pt x="1530" y="14951"/>
                    <a:pt x="331" y="16277"/>
                    <a:pt x="64" y="17886"/>
                  </a:cubicBezTo>
                  <a:cubicBezTo>
                    <a:pt x="4" y="18246"/>
                    <a:pt x="1" y="18647"/>
                    <a:pt x="215" y="18944"/>
                  </a:cubicBezTo>
                  <a:cubicBezTo>
                    <a:pt x="370" y="19160"/>
                    <a:pt x="617" y="19289"/>
                    <a:pt x="864" y="19388"/>
                  </a:cubicBezTo>
                  <a:cubicBezTo>
                    <a:pt x="1472" y="19632"/>
                    <a:pt x="2115" y="19739"/>
                    <a:pt x="2766" y="19739"/>
                  </a:cubicBezTo>
                  <a:cubicBezTo>
                    <a:pt x="3828" y="19739"/>
                    <a:pt x="4910" y="19455"/>
                    <a:pt x="5890" y="19024"/>
                  </a:cubicBezTo>
                  <a:cubicBezTo>
                    <a:pt x="7469" y="18331"/>
                    <a:pt x="8864" y="17285"/>
                    <a:pt x="10342" y="16395"/>
                  </a:cubicBezTo>
                  <a:cubicBezTo>
                    <a:pt x="15608" y="13231"/>
                    <a:pt x="21722" y="12189"/>
                    <a:pt x="27284" y="9762"/>
                  </a:cubicBezTo>
                  <a:cubicBezTo>
                    <a:pt x="28571" y="9200"/>
                    <a:pt x="29821" y="8452"/>
                    <a:pt x="30667" y="7330"/>
                  </a:cubicBezTo>
                  <a:cubicBezTo>
                    <a:pt x="31051" y="6818"/>
                    <a:pt x="31344" y="6239"/>
                    <a:pt x="31755" y="5746"/>
                  </a:cubicBezTo>
                  <a:cubicBezTo>
                    <a:pt x="32075" y="5364"/>
                    <a:pt x="32460" y="5041"/>
                    <a:pt x="32847" y="4726"/>
                  </a:cubicBezTo>
                  <a:cubicBezTo>
                    <a:pt x="33521" y="4180"/>
                    <a:pt x="34208" y="3650"/>
                    <a:pt x="34908" y="3138"/>
                  </a:cubicBezTo>
                  <a:cubicBezTo>
                    <a:pt x="35278" y="2867"/>
                    <a:pt x="35658" y="2595"/>
                    <a:pt x="35934" y="2229"/>
                  </a:cubicBezTo>
                  <a:cubicBezTo>
                    <a:pt x="37085" y="703"/>
                    <a:pt x="34724" y="1"/>
                    <a:pt x="33368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40" name="Google Shape;540;p42"/>
            <p:cNvSpPr/>
            <p:nvPr/>
          </p:nvSpPr>
          <p:spPr>
            <a:xfrm>
              <a:off x="5382700" y="4006100"/>
              <a:ext cx="26725" cy="6250"/>
            </a:xfrm>
            <a:custGeom>
              <a:avLst/>
              <a:gdLst/>
              <a:ahLst/>
              <a:cxnLst/>
              <a:rect l="l" t="t" r="r" b="b"/>
              <a:pathLst>
                <a:path w="1069" h="250" extrusionOk="0">
                  <a:moveTo>
                    <a:pt x="972" y="1"/>
                  </a:moveTo>
                  <a:cubicBezTo>
                    <a:pt x="970" y="1"/>
                    <a:pt x="969" y="1"/>
                    <a:pt x="967" y="1"/>
                  </a:cubicBezTo>
                  <a:lnTo>
                    <a:pt x="295" y="41"/>
                  </a:lnTo>
                  <a:lnTo>
                    <a:pt x="101" y="51"/>
                  </a:lnTo>
                  <a:cubicBezTo>
                    <a:pt x="50" y="55"/>
                    <a:pt x="0" y="95"/>
                    <a:pt x="2" y="151"/>
                  </a:cubicBezTo>
                  <a:cubicBezTo>
                    <a:pt x="4" y="200"/>
                    <a:pt x="44" y="250"/>
                    <a:pt x="97" y="250"/>
                  </a:cubicBezTo>
                  <a:cubicBezTo>
                    <a:pt x="98" y="250"/>
                    <a:pt x="100" y="250"/>
                    <a:pt x="101" y="250"/>
                  </a:cubicBezTo>
                  <a:lnTo>
                    <a:pt x="774" y="210"/>
                  </a:lnTo>
                  <a:lnTo>
                    <a:pt x="967" y="199"/>
                  </a:lnTo>
                  <a:cubicBezTo>
                    <a:pt x="1019" y="196"/>
                    <a:pt x="1068" y="155"/>
                    <a:pt x="1066" y="100"/>
                  </a:cubicBezTo>
                  <a:cubicBezTo>
                    <a:pt x="1064" y="50"/>
                    <a:pt x="1025" y="1"/>
                    <a:pt x="97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41" name="Google Shape;541;p42"/>
            <p:cNvSpPr/>
            <p:nvPr/>
          </p:nvSpPr>
          <p:spPr>
            <a:xfrm>
              <a:off x="5404325" y="3992575"/>
              <a:ext cx="21600" cy="4975"/>
            </a:xfrm>
            <a:custGeom>
              <a:avLst/>
              <a:gdLst/>
              <a:ahLst/>
              <a:cxnLst/>
              <a:rect l="l" t="t" r="r" b="b"/>
              <a:pathLst>
                <a:path w="864" h="199" extrusionOk="0">
                  <a:moveTo>
                    <a:pt x="102" y="1"/>
                  </a:moveTo>
                  <a:cubicBezTo>
                    <a:pt x="50" y="1"/>
                    <a:pt x="1" y="46"/>
                    <a:pt x="4" y="99"/>
                  </a:cubicBezTo>
                  <a:cubicBezTo>
                    <a:pt x="4" y="154"/>
                    <a:pt x="48" y="197"/>
                    <a:pt x="102" y="198"/>
                  </a:cubicBezTo>
                  <a:lnTo>
                    <a:pt x="762" y="198"/>
                  </a:lnTo>
                  <a:cubicBezTo>
                    <a:pt x="814" y="198"/>
                    <a:pt x="863" y="153"/>
                    <a:pt x="861" y="99"/>
                  </a:cubicBezTo>
                  <a:cubicBezTo>
                    <a:pt x="860" y="45"/>
                    <a:pt x="817" y="1"/>
                    <a:pt x="76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42" name="Google Shape;542;p42"/>
            <p:cNvSpPr/>
            <p:nvPr/>
          </p:nvSpPr>
          <p:spPr>
            <a:xfrm>
              <a:off x="5226200" y="4069525"/>
              <a:ext cx="32050" cy="6175"/>
            </a:xfrm>
            <a:custGeom>
              <a:avLst/>
              <a:gdLst/>
              <a:ahLst/>
              <a:cxnLst/>
              <a:rect l="l" t="t" r="r" b="b"/>
              <a:pathLst>
                <a:path w="1282" h="247" extrusionOk="0">
                  <a:moveTo>
                    <a:pt x="633" y="0"/>
                  </a:moveTo>
                  <a:cubicBezTo>
                    <a:pt x="534" y="0"/>
                    <a:pt x="435" y="5"/>
                    <a:pt x="336" y="14"/>
                  </a:cubicBezTo>
                  <a:cubicBezTo>
                    <a:pt x="249" y="24"/>
                    <a:pt x="162" y="35"/>
                    <a:pt x="77" y="50"/>
                  </a:cubicBezTo>
                  <a:cubicBezTo>
                    <a:pt x="51" y="57"/>
                    <a:pt x="30" y="73"/>
                    <a:pt x="16" y="95"/>
                  </a:cubicBezTo>
                  <a:cubicBezTo>
                    <a:pt x="4" y="119"/>
                    <a:pt x="1" y="146"/>
                    <a:pt x="7" y="171"/>
                  </a:cubicBezTo>
                  <a:cubicBezTo>
                    <a:pt x="14" y="197"/>
                    <a:pt x="30" y="218"/>
                    <a:pt x="52" y="230"/>
                  </a:cubicBezTo>
                  <a:cubicBezTo>
                    <a:pt x="68" y="239"/>
                    <a:pt x="86" y="243"/>
                    <a:pt x="105" y="243"/>
                  </a:cubicBezTo>
                  <a:cubicBezTo>
                    <a:pt x="112" y="243"/>
                    <a:pt x="120" y="243"/>
                    <a:pt x="128" y="241"/>
                  </a:cubicBezTo>
                  <a:lnTo>
                    <a:pt x="129" y="241"/>
                  </a:lnTo>
                  <a:cubicBezTo>
                    <a:pt x="170" y="234"/>
                    <a:pt x="213" y="227"/>
                    <a:pt x="255" y="221"/>
                  </a:cubicBezTo>
                  <a:lnTo>
                    <a:pt x="255" y="221"/>
                  </a:lnTo>
                  <a:lnTo>
                    <a:pt x="228" y="225"/>
                  </a:lnTo>
                  <a:cubicBezTo>
                    <a:pt x="362" y="207"/>
                    <a:pt x="497" y="198"/>
                    <a:pt x="632" y="198"/>
                  </a:cubicBezTo>
                  <a:cubicBezTo>
                    <a:pt x="767" y="198"/>
                    <a:pt x="902" y="207"/>
                    <a:pt x="1036" y="225"/>
                  </a:cubicBezTo>
                  <a:lnTo>
                    <a:pt x="1010" y="221"/>
                  </a:lnTo>
                  <a:lnTo>
                    <a:pt x="1010" y="221"/>
                  </a:lnTo>
                  <a:cubicBezTo>
                    <a:pt x="1057" y="227"/>
                    <a:pt x="1102" y="235"/>
                    <a:pt x="1149" y="243"/>
                  </a:cubicBezTo>
                  <a:cubicBezTo>
                    <a:pt x="1157" y="245"/>
                    <a:pt x="1166" y="246"/>
                    <a:pt x="1175" y="246"/>
                  </a:cubicBezTo>
                  <a:cubicBezTo>
                    <a:pt x="1192" y="246"/>
                    <a:pt x="1209" y="242"/>
                    <a:pt x="1225" y="234"/>
                  </a:cubicBezTo>
                  <a:cubicBezTo>
                    <a:pt x="1247" y="220"/>
                    <a:pt x="1264" y="199"/>
                    <a:pt x="1270" y="173"/>
                  </a:cubicBezTo>
                  <a:cubicBezTo>
                    <a:pt x="1282" y="126"/>
                    <a:pt x="1255" y="62"/>
                    <a:pt x="1202" y="52"/>
                  </a:cubicBezTo>
                  <a:cubicBezTo>
                    <a:pt x="1014" y="17"/>
                    <a:pt x="823" y="0"/>
                    <a:pt x="63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43" name="Google Shape;543;p42"/>
            <p:cNvSpPr/>
            <p:nvPr/>
          </p:nvSpPr>
          <p:spPr>
            <a:xfrm>
              <a:off x="5239675" y="4079825"/>
              <a:ext cx="19425" cy="6050"/>
            </a:xfrm>
            <a:custGeom>
              <a:avLst/>
              <a:gdLst/>
              <a:ahLst/>
              <a:cxnLst/>
              <a:rect l="l" t="t" r="r" b="b"/>
              <a:pathLst>
                <a:path w="777" h="242" extrusionOk="0">
                  <a:moveTo>
                    <a:pt x="683" y="1"/>
                  </a:moveTo>
                  <a:cubicBezTo>
                    <a:pt x="681" y="1"/>
                    <a:pt x="679" y="1"/>
                    <a:pt x="677" y="1"/>
                  </a:cubicBezTo>
                  <a:lnTo>
                    <a:pt x="99" y="44"/>
                  </a:lnTo>
                  <a:cubicBezTo>
                    <a:pt x="74" y="44"/>
                    <a:pt x="49" y="55"/>
                    <a:pt x="30" y="72"/>
                  </a:cubicBezTo>
                  <a:cubicBezTo>
                    <a:pt x="12" y="91"/>
                    <a:pt x="1" y="117"/>
                    <a:pt x="0" y="143"/>
                  </a:cubicBezTo>
                  <a:cubicBezTo>
                    <a:pt x="3" y="191"/>
                    <a:pt x="42" y="241"/>
                    <a:pt x="93" y="241"/>
                  </a:cubicBezTo>
                  <a:cubicBezTo>
                    <a:pt x="95" y="241"/>
                    <a:pt x="97" y="241"/>
                    <a:pt x="99" y="241"/>
                  </a:cubicBezTo>
                  <a:lnTo>
                    <a:pt x="677" y="198"/>
                  </a:lnTo>
                  <a:cubicBezTo>
                    <a:pt x="704" y="197"/>
                    <a:pt x="728" y="187"/>
                    <a:pt x="747" y="169"/>
                  </a:cubicBezTo>
                  <a:cubicBezTo>
                    <a:pt x="766" y="150"/>
                    <a:pt x="776" y="125"/>
                    <a:pt x="776" y="99"/>
                  </a:cubicBezTo>
                  <a:cubicBezTo>
                    <a:pt x="774" y="51"/>
                    <a:pt x="735" y="1"/>
                    <a:pt x="68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44" name="Google Shape;544;p42"/>
            <p:cNvSpPr/>
            <p:nvPr/>
          </p:nvSpPr>
          <p:spPr>
            <a:xfrm>
              <a:off x="4894125" y="4269875"/>
              <a:ext cx="29100" cy="6075"/>
            </a:xfrm>
            <a:custGeom>
              <a:avLst/>
              <a:gdLst/>
              <a:ahLst/>
              <a:cxnLst/>
              <a:rect l="l" t="t" r="r" b="b"/>
              <a:pathLst>
                <a:path w="1164" h="243" extrusionOk="0">
                  <a:moveTo>
                    <a:pt x="1049" y="1"/>
                  </a:moveTo>
                  <a:cubicBezTo>
                    <a:pt x="1041" y="1"/>
                    <a:pt x="1032" y="2"/>
                    <a:pt x="1024" y="4"/>
                  </a:cubicBezTo>
                  <a:lnTo>
                    <a:pt x="999" y="7"/>
                  </a:lnTo>
                  <a:lnTo>
                    <a:pt x="1025" y="4"/>
                  </a:lnTo>
                  <a:lnTo>
                    <a:pt x="1025" y="4"/>
                  </a:lnTo>
                  <a:cubicBezTo>
                    <a:pt x="815" y="31"/>
                    <a:pt x="603" y="45"/>
                    <a:pt x="390" y="45"/>
                  </a:cubicBezTo>
                  <a:cubicBezTo>
                    <a:pt x="362" y="45"/>
                    <a:pt x="333" y="45"/>
                    <a:pt x="305" y="45"/>
                  </a:cubicBezTo>
                  <a:cubicBezTo>
                    <a:pt x="237" y="44"/>
                    <a:pt x="169" y="40"/>
                    <a:pt x="101" y="36"/>
                  </a:cubicBezTo>
                  <a:cubicBezTo>
                    <a:pt x="100" y="36"/>
                    <a:pt x="98" y="36"/>
                    <a:pt x="97" y="36"/>
                  </a:cubicBezTo>
                  <a:cubicBezTo>
                    <a:pt x="47" y="36"/>
                    <a:pt x="0" y="85"/>
                    <a:pt x="2" y="135"/>
                  </a:cubicBezTo>
                  <a:cubicBezTo>
                    <a:pt x="3" y="189"/>
                    <a:pt x="48" y="232"/>
                    <a:pt x="101" y="233"/>
                  </a:cubicBezTo>
                  <a:cubicBezTo>
                    <a:pt x="200" y="240"/>
                    <a:pt x="299" y="243"/>
                    <a:pt x="398" y="243"/>
                  </a:cubicBezTo>
                  <a:cubicBezTo>
                    <a:pt x="547" y="243"/>
                    <a:pt x="696" y="236"/>
                    <a:pt x="845" y="222"/>
                  </a:cubicBezTo>
                  <a:cubicBezTo>
                    <a:pt x="923" y="214"/>
                    <a:pt x="1000" y="205"/>
                    <a:pt x="1077" y="193"/>
                  </a:cubicBezTo>
                  <a:cubicBezTo>
                    <a:pt x="1100" y="190"/>
                    <a:pt x="1125" y="167"/>
                    <a:pt x="1136" y="148"/>
                  </a:cubicBezTo>
                  <a:cubicBezTo>
                    <a:pt x="1163" y="102"/>
                    <a:pt x="1147" y="40"/>
                    <a:pt x="1101" y="13"/>
                  </a:cubicBezTo>
                  <a:cubicBezTo>
                    <a:pt x="1084" y="5"/>
                    <a:pt x="1067" y="1"/>
                    <a:pt x="104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45" name="Google Shape;545;p42"/>
            <p:cNvSpPr/>
            <p:nvPr/>
          </p:nvSpPr>
          <p:spPr>
            <a:xfrm>
              <a:off x="4916825" y="4254600"/>
              <a:ext cx="27050" cy="5900"/>
            </a:xfrm>
            <a:custGeom>
              <a:avLst/>
              <a:gdLst/>
              <a:ahLst/>
              <a:cxnLst/>
              <a:rect l="l" t="t" r="r" b="b"/>
              <a:pathLst>
                <a:path w="1082" h="236" extrusionOk="0">
                  <a:moveTo>
                    <a:pt x="965" y="1"/>
                  </a:moveTo>
                  <a:cubicBezTo>
                    <a:pt x="958" y="1"/>
                    <a:pt x="950" y="2"/>
                    <a:pt x="943" y="3"/>
                  </a:cubicBezTo>
                  <a:lnTo>
                    <a:pt x="924" y="6"/>
                  </a:lnTo>
                  <a:lnTo>
                    <a:pt x="924" y="6"/>
                  </a:lnTo>
                  <a:lnTo>
                    <a:pt x="950" y="3"/>
                  </a:lnTo>
                  <a:lnTo>
                    <a:pt x="950" y="3"/>
                  </a:lnTo>
                  <a:cubicBezTo>
                    <a:pt x="770" y="26"/>
                    <a:pt x="588" y="38"/>
                    <a:pt x="407" y="38"/>
                  </a:cubicBezTo>
                  <a:cubicBezTo>
                    <a:pt x="367" y="38"/>
                    <a:pt x="328" y="38"/>
                    <a:pt x="289" y="37"/>
                  </a:cubicBezTo>
                  <a:cubicBezTo>
                    <a:pt x="227" y="35"/>
                    <a:pt x="163" y="32"/>
                    <a:pt x="101" y="26"/>
                  </a:cubicBezTo>
                  <a:cubicBezTo>
                    <a:pt x="99" y="26"/>
                    <a:pt x="97" y="26"/>
                    <a:pt x="95" y="26"/>
                  </a:cubicBezTo>
                  <a:cubicBezTo>
                    <a:pt x="46" y="26"/>
                    <a:pt x="0" y="77"/>
                    <a:pt x="2" y="125"/>
                  </a:cubicBezTo>
                  <a:cubicBezTo>
                    <a:pt x="4" y="179"/>
                    <a:pt x="47" y="222"/>
                    <a:pt x="101" y="224"/>
                  </a:cubicBezTo>
                  <a:cubicBezTo>
                    <a:pt x="203" y="232"/>
                    <a:pt x="305" y="236"/>
                    <a:pt x="408" y="236"/>
                  </a:cubicBezTo>
                  <a:cubicBezTo>
                    <a:pt x="533" y="236"/>
                    <a:pt x="658" y="230"/>
                    <a:pt x="782" y="219"/>
                  </a:cubicBezTo>
                  <a:cubicBezTo>
                    <a:pt x="853" y="213"/>
                    <a:pt x="925" y="203"/>
                    <a:pt x="995" y="194"/>
                  </a:cubicBezTo>
                  <a:cubicBezTo>
                    <a:pt x="1017" y="191"/>
                    <a:pt x="1044" y="168"/>
                    <a:pt x="1054" y="149"/>
                  </a:cubicBezTo>
                  <a:cubicBezTo>
                    <a:pt x="1082" y="101"/>
                    <a:pt x="1066" y="41"/>
                    <a:pt x="1018" y="14"/>
                  </a:cubicBezTo>
                  <a:cubicBezTo>
                    <a:pt x="1002" y="5"/>
                    <a:pt x="984" y="1"/>
                    <a:pt x="96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46" name="Google Shape;546;p42"/>
            <p:cNvSpPr/>
            <p:nvPr/>
          </p:nvSpPr>
          <p:spPr>
            <a:xfrm>
              <a:off x="5038325" y="4155300"/>
              <a:ext cx="18675" cy="6475"/>
            </a:xfrm>
            <a:custGeom>
              <a:avLst/>
              <a:gdLst/>
              <a:ahLst/>
              <a:cxnLst/>
              <a:rect l="l" t="t" r="r" b="b"/>
              <a:pathLst>
                <a:path w="747" h="259" extrusionOk="0">
                  <a:moveTo>
                    <a:pt x="109" y="0"/>
                  </a:moveTo>
                  <a:cubicBezTo>
                    <a:pt x="83" y="0"/>
                    <a:pt x="57" y="11"/>
                    <a:pt x="39" y="30"/>
                  </a:cubicBezTo>
                  <a:cubicBezTo>
                    <a:pt x="0" y="68"/>
                    <a:pt x="0" y="131"/>
                    <a:pt x="39" y="169"/>
                  </a:cubicBezTo>
                  <a:cubicBezTo>
                    <a:pt x="58" y="187"/>
                    <a:pt x="84" y="196"/>
                    <a:pt x="109" y="198"/>
                  </a:cubicBezTo>
                  <a:lnTo>
                    <a:pt x="648" y="259"/>
                  </a:lnTo>
                  <a:cubicBezTo>
                    <a:pt x="674" y="259"/>
                    <a:pt x="699" y="248"/>
                    <a:pt x="717" y="230"/>
                  </a:cubicBezTo>
                  <a:cubicBezTo>
                    <a:pt x="736" y="211"/>
                    <a:pt x="747" y="186"/>
                    <a:pt x="747" y="159"/>
                  </a:cubicBezTo>
                  <a:cubicBezTo>
                    <a:pt x="747" y="133"/>
                    <a:pt x="736" y="108"/>
                    <a:pt x="717" y="90"/>
                  </a:cubicBezTo>
                  <a:cubicBezTo>
                    <a:pt x="698" y="72"/>
                    <a:pt x="674" y="62"/>
                    <a:pt x="648" y="60"/>
                  </a:cubicBezTo>
                  <a:lnTo>
                    <a:pt x="109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7">
  <p:cSld name="CUSTOM_29_1">
    <p:spTree>
      <p:nvGrpSpPr>
        <p:cNvPr id="1" name="Shape 5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8" name="Google Shape;548;p43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549" name="Google Shape;549;p43"/>
          <p:cNvGrpSpPr/>
          <p:nvPr/>
        </p:nvGrpSpPr>
        <p:grpSpPr>
          <a:xfrm flipH="1">
            <a:off x="7691249" y="-889695"/>
            <a:ext cx="6048480" cy="3219365"/>
            <a:chOff x="4613325" y="3911725"/>
            <a:chExt cx="927150" cy="493475"/>
          </a:xfrm>
        </p:grpSpPr>
        <p:sp>
          <p:nvSpPr>
            <p:cNvPr id="550" name="Google Shape;550;p43"/>
            <p:cNvSpPr/>
            <p:nvPr/>
          </p:nvSpPr>
          <p:spPr>
            <a:xfrm>
              <a:off x="4613325" y="3911725"/>
              <a:ext cx="927150" cy="493475"/>
            </a:xfrm>
            <a:custGeom>
              <a:avLst/>
              <a:gdLst/>
              <a:ahLst/>
              <a:cxnLst/>
              <a:rect l="l" t="t" r="r" b="b"/>
              <a:pathLst>
                <a:path w="37086" h="19739" extrusionOk="0">
                  <a:moveTo>
                    <a:pt x="33368" y="1"/>
                  </a:moveTo>
                  <a:cubicBezTo>
                    <a:pt x="33174" y="1"/>
                    <a:pt x="33001" y="15"/>
                    <a:pt x="32862" y="43"/>
                  </a:cubicBezTo>
                  <a:cubicBezTo>
                    <a:pt x="30668" y="489"/>
                    <a:pt x="28549" y="1397"/>
                    <a:pt x="26691" y="2639"/>
                  </a:cubicBezTo>
                  <a:cubicBezTo>
                    <a:pt x="25723" y="3284"/>
                    <a:pt x="24822" y="4025"/>
                    <a:pt x="23874" y="4697"/>
                  </a:cubicBezTo>
                  <a:cubicBezTo>
                    <a:pt x="23435" y="5008"/>
                    <a:pt x="22988" y="5306"/>
                    <a:pt x="22534" y="5587"/>
                  </a:cubicBezTo>
                  <a:cubicBezTo>
                    <a:pt x="19728" y="7333"/>
                    <a:pt x="16636" y="8576"/>
                    <a:pt x="13562" y="9771"/>
                  </a:cubicBezTo>
                  <a:cubicBezTo>
                    <a:pt x="11763" y="10470"/>
                    <a:pt x="9957" y="11155"/>
                    <a:pt x="8184" y="11925"/>
                  </a:cubicBezTo>
                  <a:cubicBezTo>
                    <a:pt x="6450" y="12679"/>
                    <a:pt x="4551" y="13118"/>
                    <a:pt x="2924" y="14105"/>
                  </a:cubicBezTo>
                  <a:cubicBezTo>
                    <a:pt x="1530" y="14951"/>
                    <a:pt x="331" y="16277"/>
                    <a:pt x="64" y="17886"/>
                  </a:cubicBezTo>
                  <a:cubicBezTo>
                    <a:pt x="4" y="18246"/>
                    <a:pt x="1" y="18647"/>
                    <a:pt x="215" y="18944"/>
                  </a:cubicBezTo>
                  <a:cubicBezTo>
                    <a:pt x="370" y="19160"/>
                    <a:pt x="617" y="19289"/>
                    <a:pt x="864" y="19388"/>
                  </a:cubicBezTo>
                  <a:cubicBezTo>
                    <a:pt x="1472" y="19632"/>
                    <a:pt x="2115" y="19739"/>
                    <a:pt x="2766" y="19739"/>
                  </a:cubicBezTo>
                  <a:cubicBezTo>
                    <a:pt x="3828" y="19739"/>
                    <a:pt x="4910" y="19455"/>
                    <a:pt x="5890" y="19024"/>
                  </a:cubicBezTo>
                  <a:cubicBezTo>
                    <a:pt x="7469" y="18331"/>
                    <a:pt x="8864" y="17285"/>
                    <a:pt x="10342" y="16395"/>
                  </a:cubicBezTo>
                  <a:cubicBezTo>
                    <a:pt x="15608" y="13231"/>
                    <a:pt x="21722" y="12189"/>
                    <a:pt x="27284" y="9762"/>
                  </a:cubicBezTo>
                  <a:cubicBezTo>
                    <a:pt x="28571" y="9200"/>
                    <a:pt x="29821" y="8452"/>
                    <a:pt x="30667" y="7330"/>
                  </a:cubicBezTo>
                  <a:cubicBezTo>
                    <a:pt x="31051" y="6818"/>
                    <a:pt x="31344" y="6239"/>
                    <a:pt x="31755" y="5746"/>
                  </a:cubicBezTo>
                  <a:cubicBezTo>
                    <a:pt x="32075" y="5364"/>
                    <a:pt x="32460" y="5041"/>
                    <a:pt x="32847" y="4726"/>
                  </a:cubicBezTo>
                  <a:cubicBezTo>
                    <a:pt x="33521" y="4180"/>
                    <a:pt x="34208" y="3650"/>
                    <a:pt x="34908" y="3138"/>
                  </a:cubicBezTo>
                  <a:cubicBezTo>
                    <a:pt x="35278" y="2867"/>
                    <a:pt x="35658" y="2595"/>
                    <a:pt x="35934" y="2229"/>
                  </a:cubicBezTo>
                  <a:cubicBezTo>
                    <a:pt x="37085" y="703"/>
                    <a:pt x="34724" y="1"/>
                    <a:pt x="33368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51" name="Google Shape;551;p43"/>
            <p:cNvSpPr/>
            <p:nvPr/>
          </p:nvSpPr>
          <p:spPr>
            <a:xfrm>
              <a:off x="5382700" y="4006100"/>
              <a:ext cx="26725" cy="6250"/>
            </a:xfrm>
            <a:custGeom>
              <a:avLst/>
              <a:gdLst/>
              <a:ahLst/>
              <a:cxnLst/>
              <a:rect l="l" t="t" r="r" b="b"/>
              <a:pathLst>
                <a:path w="1069" h="250" extrusionOk="0">
                  <a:moveTo>
                    <a:pt x="972" y="1"/>
                  </a:moveTo>
                  <a:cubicBezTo>
                    <a:pt x="970" y="1"/>
                    <a:pt x="969" y="1"/>
                    <a:pt x="967" y="1"/>
                  </a:cubicBezTo>
                  <a:lnTo>
                    <a:pt x="295" y="41"/>
                  </a:lnTo>
                  <a:lnTo>
                    <a:pt x="101" y="51"/>
                  </a:lnTo>
                  <a:cubicBezTo>
                    <a:pt x="50" y="55"/>
                    <a:pt x="0" y="95"/>
                    <a:pt x="2" y="151"/>
                  </a:cubicBezTo>
                  <a:cubicBezTo>
                    <a:pt x="4" y="200"/>
                    <a:pt x="44" y="250"/>
                    <a:pt x="97" y="250"/>
                  </a:cubicBezTo>
                  <a:cubicBezTo>
                    <a:pt x="98" y="250"/>
                    <a:pt x="100" y="250"/>
                    <a:pt x="101" y="250"/>
                  </a:cubicBezTo>
                  <a:lnTo>
                    <a:pt x="774" y="210"/>
                  </a:lnTo>
                  <a:lnTo>
                    <a:pt x="967" y="199"/>
                  </a:lnTo>
                  <a:cubicBezTo>
                    <a:pt x="1019" y="196"/>
                    <a:pt x="1068" y="155"/>
                    <a:pt x="1066" y="100"/>
                  </a:cubicBezTo>
                  <a:cubicBezTo>
                    <a:pt x="1064" y="50"/>
                    <a:pt x="1025" y="1"/>
                    <a:pt x="97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52" name="Google Shape;552;p43"/>
            <p:cNvSpPr/>
            <p:nvPr/>
          </p:nvSpPr>
          <p:spPr>
            <a:xfrm>
              <a:off x="5404325" y="3992575"/>
              <a:ext cx="21600" cy="4975"/>
            </a:xfrm>
            <a:custGeom>
              <a:avLst/>
              <a:gdLst/>
              <a:ahLst/>
              <a:cxnLst/>
              <a:rect l="l" t="t" r="r" b="b"/>
              <a:pathLst>
                <a:path w="864" h="199" extrusionOk="0">
                  <a:moveTo>
                    <a:pt x="102" y="1"/>
                  </a:moveTo>
                  <a:cubicBezTo>
                    <a:pt x="50" y="1"/>
                    <a:pt x="1" y="46"/>
                    <a:pt x="4" y="99"/>
                  </a:cubicBezTo>
                  <a:cubicBezTo>
                    <a:pt x="4" y="154"/>
                    <a:pt x="48" y="197"/>
                    <a:pt x="102" y="198"/>
                  </a:cubicBezTo>
                  <a:lnTo>
                    <a:pt x="762" y="198"/>
                  </a:lnTo>
                  <a:cubicBezTo>
                    <a:pt x="814" y="198"/>
                    <a:pt x="863" y="153"/>
                    <a:pt x="861" y="99"/>
                  </a:cubicBezTo>
                  <a:cubicBezTo>
                    <a:pt x="860" y="45"/>
                    <a:pt x="817" y="1"/>
                    <a:pt x="76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53" name="Google Shape;553;p43"/>
            <p:cNvSpPr/>
            <p:nvPr/>
          </p:nvSpPr>
          <p:spPr>
            <a:xfrm>
              <a:off x="5226200" y="4069525"/>
              <a:ext cx="32050" cy="6175"/>
            </a:xfrm>
            <a:custGeom>
              <a:avLst/>
              <a:gdLst/>
              <a:ahLst/>
              <a:cxnLst/>
              <a:rect l="l" t="t" r="r" b="b"/>
              <a:pathLst>
                <a:path w="1282" h="247" extrusionOk="0">
                  <a:moveTo>
                    <a:pt x="633" y="0"/>
                  </a:moveTo>
                  <a:cubicBezTo>
                    <a:pt x="534" y="0"/>
                    <a:pt x="435" y="5"/>
                    <a:pt x="336" y="14"/>
                  </a:cubicBezTo>
                  <a:cubicBezTo>
                    <a:pt x="249" y="24"/>
                    <a:pt x="162" y="35"/>
                    <a:pt x="77" y="50"/>
                  </a:cubicBezTo>
                  <a:cubicBezTo>
                    <a:pt x="51" y="57"/>
                    <a:pt x="30" y="73"/>
                    <a:pt x="16" y="95"/>
                  </a:cubicBezTo>
                  <a:cubicBezTo>
                    <a:pt x="4" y="119"/>
                    <a:pt x="1" y="146"/>
                    <a:pt x="7" y="171"/>
                  </a:cubicBezTo>
                  <a:cubicBezTo>
                    <a:pt x="14" y="197"/>
                    <a:pt x="30" y="218"/>
                    <a:pt x="52" y="230"/>
                  </a:cubicBezTo>
                  <a:cubicBezTo>
                    <a:pt x="68" y="239"/>
                    <a:pt x="86" y="243"/>
                    <a:pt x="105" y="243"/>
                  </a:cubicBezTo>
                  <a:cubicBezTo>
                    <a:pt x="112" y="243"/>
                    <a:pt x="120" y="243"/>
                    <a:pt x="128" y="241"/>
                  </a:cubicBezTo>
                  <a:lnTo>
                    <a:pt x="129" y="241"/>
                  </a:lnTo>
                  <a:cubicBezTo>
                    <a:pt x="170" y="234"/>
                    <a:pt x="213" y="227"/>
                    <a:pt x="255" y="221"/>
                  </a:cubicBezTo>
                  <a:lnTo>
                    <a:pt x="255" y="221"/>
                  </a:lnTo>
                  <a:lnTo>
                    <a:pt x="228" y="225"/>
                  </a:lnTo>
                  <a:cubicBezTo>
                    <a:pt x="362" y="207"/>
                    <a:pt x="497" y="198"/>
                    <a:pt x="632" y="198"/>
                  </a:cubicBezTo>
                  <a:cubicBezTo>
                    <a:pt x="767" y="198"/>
                    <a:pt x="902" y="207"/>
                    <a:pt x="1036" y="225"/>
                  </a:cubicBezTo>
                  <a:lnTo>
                    <a:pt x="1010" y="221"/>
                  </a:lnTo>
                  <a:lnTo>
                    <a:pt x="1010" y="221"/>
                  </a:lnTo>
                  <a:cubicBezTo>
                    <a:pt x="1057" y="227"/>
                    <a:pt x="1102" y="235"/>
                    <a:pt x="1149" y="243"/>
                  </a:cubicBezTo>
                  <a:cubicBezTo>
                    <a:pt x="1157" y="245"/>
                    <a:pt x="1166" y="246"/>
                    <a:pt x="1175" y="246"/>
                  </a:cubicBezTo>
                  <a:cubicBezTo>
                    <a:pt x="1192" y="246"/>
                    <a:pt x="1209" y="242"/>
                    <a:pt x="1225" y="234"/>
                  </a:cubicBezTo>
                  <a:cubicBezTo>
                    <a:pt x="1247" y="220"/>
                    <a:pt x="1264" y="199"/>
                    <a:pt x="1270" y="173"/>
                  </a:cubicBezTo>
                  <a:cubicBezTo>
                    <a:pt x="1282" y="126"/>
                    <a:pt x="1255" y="62"/>
                    <a:pt x="1202" y="52"/>
                  </a:cubicBezTo>
                  <a:cubicBezTo>
                    <a:pt x="1014" y="17"/>
                    <a:pt x="823" y="0"/>
                    <a:pt x="63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54" name="Google Shape;554;p43"/>
            <p:cNvSpPr/>
            <p:nvPr/>
          </p:nvSpPr>
          <p:spPr>
            <a:xfrm>
              <a:off x="5239675" y="4079825"/>
              <a:ext cx="19425" cy="6050"/>
            </a:xfrm>
            <a:custGeom>
              <a:avLst/>
              <a:gdLst/>
              <a:ahLst/>
              <a:cxnLst/>
              <a:rect l="l" t="t" r="r" b="b"/>
              <a:pathLst>
                <a:path w="777" h="242" extrusionOk="0">
                  <a:moveTo>
                    <a:pt x="683" y="1"/>
                  </a:moveTo>
                  <a:cubicBezTo>
                    <a:pt x="681" y="1"/>
                    <a:pt x="679" y="1"/>
                    <a:pt x="677" y="1"/>
                  </a:cubicBezTo>
                  <a:lnTo>
                    <a:pt x="99" y="44"/>
                  </a:lnTo>
                  <a:cubicBezTo>
                    <a:pt x="74" y="44"/>
                    <a:pt x="49" y="55"/>
                    <a:pt x="30" y="72"/>
                  </a:cubicBezTo>
                  <a:cubicBezTo>
                    <a:pt x="12" y="91"/>
                    <a:pt x="1" y="117"/>
                    <a:pt x="0" y="143"/>
                  </a:cubicBezTo>
                  <a:cubicBezTo>
                    <a:pt x="3" y="191"/>
                    <a:pt x="42" y="241"/>
                    <a:pt x="93" y="241"/>
                  </a:cubicBezTo>
                  <a:cubicBezTo>
                    <a:pt x="95" y="241"/>
                    <a:pt x="97" y="241"/>
                    <a:pt x="99" y="241"/>
                  </a:cubicBezTo>
                  <a:lnTo>
                    <a:pt x="677" y="198"/>
                  </a:lnTo>
                  <a:cubicBezTo>
                    <a:pt x="704" y="197"/>
                    <a:pt x="728" y="187"/>
                    <a:pt x="747" y="169"/>
                  </a:cubicBezTo>
                  <a:cubicBezTo>
                    <a:pt x="766" y="150"/>
                    <a:pt x="776" y="125"/>
                    <a:pt x="776" y="99"/>
                  </a:cubicBezTo>
                  <a:cubicBezTo>
                    <a:pt x="774" y="51"/>
                    <a:pt x="735" y="1"/>
                    <a:pt x="68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55" name="Google Shape;555;p43"/>
            <p:cNvSpPr/>
            <p:nvPr/>
          </p:nvSpPr>
          <p:spPr>
            <a:xfrm>
              <a:off x="4894125" y="4269875"/>
              <a:ext cx="29100" cy="6075"/>
            </a:xfrm>
            <a:custGeom>
              <a:avLst/>
              <a:gdLst/>
              <a:ahLst/>
              <a:cxnLst/>
              <a:rect l="l" t="t" r="r" b="b"/>
              <a:pathLst>
                <a:path w="1164" h="243" extrusionOk="0">
                  <a:moveTo>
                    <a:pt x="1049" y="1"/>
                  </a:moveTo>
                  <a:cubicBezTo>
                    <a:pt x="1041" y="1"/>
                    <a:pt x="1032" y="2"/>
                    <a:pt x="1024" y="4"/>
                  </a:cubicBezTo>
                  <a:lnTo>
                    <a:pt x="999" y="7"/>
                  </a:lnTo>
                  <a:lnTo>
                    <a:pt x="1025" y="4"/>
                  </a:lnTo>
                  <a:lnTo>
                    <a:pt x="1025" y="4"/>
                  </a:lnTo>
                  <a:cubicBezTo>
                    <a:pt x="815" y="31"/>
                    <a:pt x="603" y="45"/>
                    <a:pt x="390" y="45"/>
                  </a:cubicBezTo>
                  <a:cubicBezTo>
                    <a:pt x="362" y="45"/>
                    <a:pt x="333" y="45"/>
                    <a:pt x="305" y="45"/>
                  </a:cubicBezTo>
                  <a:cubicBezTo>
                    <a:pt x="237" y="44"/>
                    <a:pt x="169" y="40"/>
                    <a:pt x="101" y="36"/>
                  </a:cubicBezTo>
                  <a:cubicBezTo>
                    <a:pt x="100" y="36"/>
                    <a:pt x="98" y="36"/>
                    <a:pt x="97" y="36"/>
                  </a:cubicBezTo>
                  <a:cubicBezTo>
                    <a:pt x="47" y="36"/>
                    <a:pt x="0" y="85"/>
                    <a:pt x="2" y="135"/>
                  </a:cubicBezTo>
                  <a:cubicBezTo>
                    <a:pt x="3" y="189"/>
                    <a:pt x="48" y="232"/>
                    <a:pt x="101" y="233"/>
                  </a:cubicBezTo>
                  <a:cubicBezTo>
                    <a:pt x="200" y="240"/>
                    <a:pt x="299" y="243"/>
                    <a:pt x="398" y="243"/>
                  </a:cubicBezTo>
                  <a:cubicBezTo>
                    <a:pt x="547" y="243"/>
                    <a:pt x="696" y="236"/>
                    <a:pt x="845" y="222"/>
                  </a:cubicBezTo>
                  <a:cubicBezTo>
                    <a:pt x="923" y="214"/>
                    <a:pt x="1000" y="205"/>
                    <a:pt x="1077" y="193"/>
                  </a:cubicBezTo>
                  <a:cubicBezTo>
                    <a:pt x="1100" y="190"/>
                    <a:pt x="1125" y="167"/>
                    <a:pt x="1136" y="148"/>
                  </a:cubicBezTo>
                  <a:cubicBezTo>
                    <a:pt x="1163" y="102"/>
                    <a:pt x="1147" y="40"/>
                    <a:pt x="1101" y="13"/>
                  </a:cubicBezTo>
                  <a:cubicBezTo>
                    <a:pt x="1084" y="5"/>
                    <a:pt x="1067" y="1"/>
                    <a:pt x="104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56" name="Google Shape;556;p43"/>
            <p:cNvSpPr/>
            <p:nvPr/>
          </p:nvSpPr>
          <p:spPr>
            <a:xfrm>
              <a:off x="4916825" y="4254600"/>
              <a:ext cx="27050" cy="5900"/>
            </a:xfrm>
            <a:custGeom>
              <a:avLst/>
              <a:gdLst/>
              <a:ahLst/>
              <a:cxnLst/>
              <a:rect l="l" t="t" r="r" b="b"/>
              <a:pathLst>
                <a:path w="1082" h="236" extrusionOk="0">
                  <a:moveTo>
                    <a:pt x="965" y="1"/>
                  </a:moveTo>
                  <a:cubicBezTo>
                    <a:pt x="958" y="1"/>
                    <a:pt x="950" y="2"/>
                    <a:pt x="943" y="3"/>
                  </a:cubicBezTo>
                  <a:lnTo>
                    <a:pt x="924" y="6"/>
                  </a:lnTo>
                  <a:lnTo>
                    <a:pt x="924" y="6"/>
                  </a:lnTo>
                  <a:lnTo>
                    <a:pt x="950" y="3"/>
                  </a:lnTo>
                  <a:lnTo>
                    <a:pt x="950" y="3"/>
                  </a:lnTo>
                  <a:cubicBezTo>
                    <a:pt x="770" y="26"/>
                    <a:pt x="588" y="38"/>
                    <a:pt x="407" y="38"/>
                  </a:cubicBezTo>
                  <a:cubicBezTo>
                    <a:pt x="367" y="38"/>
                    <a:pt x="328" y="38"/>
                    <a:pt x="289" y="37"/>
                  </a:cubicBezTo>
                  <a:cubicBezTo>
                    <a:pt x="227" y="35"/>
                    <a:pt x="163" y="32"/>
                    <a:pt x="101" y="26"/>
                  </a:cubicBezTo>
                  <a:cubicBezTo>
                    <a:pt x="99" y="26"/>
                    <a:pt x="97" y="26"/>
                    <a:pt x="95" y="26"/>
                  </a:cubicBezTo>
                  <a:cubicBezTo>
                    <a:pt x="46" y="26"/>
                    <a:pt x="0" y="77"/>
                    <a:pt x="2" y="125"/>
                  </a:cubicBezTo>
                  <a:cubicBezTo>
                    <a:pt x="4" y="179"/>
                    <a:pt x="47" y="222"/>
                    <a:pt x="101" y="224"/>
                  </a:cubicBezTo>
                  <a:cubicBezTo>
                    <a:pt x="203" y="232"/>
                    <a:pt x="305" y="236"/>
                    <a:pt x="408" y="236"/>
                  </a:cubicBezTo>
                  <a:cubicBezTo>
                    <a:pt x="533" y="236"/>
                    <a:pt x="658" y="230"/>
                    <a:pt x="782" y="219"/>
                  </a:cubicBezTo>
                  <a:cubicBezTo>
                    <a:pt x="853" y="213"/>
                    <a:pt x="925" y="203"/>
                    <a:pt x="995" y="194"/>
                  </a:cubicBezTo>
                  <a:cubicBezTo>
                    <a:pt x="1017" y="191"/>
                    <a:pt x="1044" y="168"/>
                    <a:pt x="1054" y="149"/>
                  </a:cubicBezTo>
                  <a:cubicBezTo>
                    <a:pt x="1082" y="101"/>
                    <a:pt x="1066" y="41"/>
                    <a:pt x="1018" y="14"/>
                  </a:cubicBezTo>
                  <a:cubicBezTo>
                    <a:pt x="1002" y="5"/>
                    <a:pt x="984" y="1"/>
                    <a:pt x="96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57" name="Google Shape;557;p43"/>
            <p:cNvSpPr/>
            <p:nvPr/>
          </p:nvSpPr>
          <p:spPr>
            <a:xfrm>
              <a:off x="5038325" y="4155300"/>
              <a:ext cx="18675" cy="6475"/>
            </a:xfrm>
            <a:custGeom>
              <a:avLst/>
              <a:gdLst/>
              <a:ahLst/>
              <a:cxnLst/>
              <a:rect l="l" t="t" r="r" b="b"/>
              <a:pathLst>
                <a:path w="747" h="259" extrusionOk="0">
                  <a:moveTo>
                    <a:pt x="109" y="0"/>
                  </a:moveTo>
                  <a:cubicBezTo>
                    <a:pt x="83" y="0"/>
                    <a:pt x="57" y="11"/>
                    <a:pt x="39" y="30"/>
                  </a:cubicBezTo>
                  <a:cubicBezTo>
                    <a:pt x="0" y="68"/>
                    <a:pt x="0" y="131"/>
                    <a:pt x="39" y="169"/>
                  </a:cubicBezTo>
                  <a:cubicBezTo>
                    <a:pt x="58" y="187"/>
                    <a:pt x="84" y="196"/>
                    <a:pt x="109" y="198"/>
                  </a:cubicBezTo>
                  <a:lnTo>
                    <a:pt x="648" y="259"/>
                  </a:lnTo>
                  <a:cubicBezTo>
                    <a:pt x="674" y="259"/>
                    <a:pt x="699" y="248"/>
                    <a:pt x="717" y="230"/>
                  </a:cubicBezTo>
                  <a:cubicBezTo>
                    <a:pt x="736" y="211"/>
                    <a:pt x="747" y="186"/>
                    <a:pt x="747" y="159"/>
                  </a:cubicBezTo>
                  <a:cubicBezTo>
                    <a:pt x="747" y="133"/>
                    <a:pt x="736" y="108"/>
                    <a:pt x="717" y="90"/>
                  </a:cubicBezTo>
                  <a:cubicBezTo>
                    <a:pt x="698" y="72"/>
                    <a:pt x="674" y="62"/>
                    <a:pt x="648" y="60"/>
                  </a:cubicBezTo>
                  <a:lnTo>
                    <a:pt x="109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 1">
  <p:cSld name="CUSTOM_8"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" name="Google Shape;559;p44"/>
          <p:cNvSpPr/>
          <p:nvPr/>
        </p:nvSpPr>
        <p:spPr>
          <a:xfrm>
            <a:off x="619519" y="2010646"/>
            <a:ext cx="235" cy="229"/>
          </a:xfrm>
          <a:custGeom>
            <a:avLst/>
            <a:gdLst/>
            <a:ahLst/>
            <a:cxnLst/>
            <a:rect l="l" t="t" r="r" b="b"/>
            <a:pathLst>
              <a:path w="1" h="1" extrusionOk="0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hlink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60" name="Google Shape;560;p44"/>
          <p:cNvSpPr/>
          <p:nvPr/>
        </p:nvSpPr>
        <p:spPr>
          <a:xfrm>
            <a:off x="619519" y="3225478"/>
            <a:ext cx="235" cy="229"/>
          </a:xfrm>
          <a:custGeom>
            <a:avLst/>
            <a:gdLst/>
            <a:ahLst/>
            <a:cxnLst/>
            <a:rect l="l" t="t" r="r" b="b"/>
            <a:pathLst>
              <a:path w="1" h="1" extrusionOk="0">
                <a:moveTo>
                  <a:pt x="0" y="0"/>
                </a:moveTo>
                <a:lnTo>
                  <a:pt x="0" y="0"/>
                </a:lnTo>
                <a:close/>
              </a:path>
            </a:pathLst>
          </a:custGeom>
          <a:solidFill>
            <a:schemeClr val="hlink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61" name="Google Shape;561;p44"/>
          <p:cNvSpPr txBox="1">
            <a:spLocks noGrp="1"/>
          </p:cNvSpPr>
          <p:nvPr>
            <p:ph type="subTitle" idx="1"/>
          </p:nvPr>
        </p:nvSpPr>
        <p:spPr>
          <a:xfrm>
            <a:off x="1569600" y="1872051"/>
            <a:ext cx="3580400" cy="89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2" name="Google Shape;562;p44"/>
          <p:cNvSpPr txBox="1">
            <a:spLocks noGrp="1"/>
          </p:cNvSpPr>
          <p:nvPr>
            <p:ph type="title" hasCustomPrompt="1"/>
          </p:nvPr>
        </p:nvSpPr>
        <p:spPr>
          <a:xfrm>
            <a:off x="1569600" y="1182200"/>
            <a:ext cx="36920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563" name="Google Shape;563;p44"/>
          <p:cNvSpPr txBox="1">
            <a:spLocks noGrp="1"/>
          </p:cNvSpPr>
          <p:nvPr>
            <p:ph type="subTitle" idx="2"/>
          </p:nvPr>
        </p:nvSpPr>
        <p:spPr>
          <a:xfrm>
            <a:off x="1569600" y="5243984"/>
            <a:ext cx="3580400" cy="89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4" name="Google Shape;564;p44"/>
          <p:cNvSpPr txBox="1">
            <a:spLocks noGrp="1"/>
          </p:cNvSpPr>
          <p:nvPr>
            <p:ph type="title" idx="3" hasCustomPrompt="1"/>
          </p:nvPr>
        </p:nvSpPr>
        <p:spPr>
          <a:xfrm>
            <a:off x="1569600" y="4554133"/>
            <a:ext cx="36920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565" name="Google Shape;565;p44"/>
          <p:cNvSpPr txBox="1">
            <a:spLocks noGrp="1"/>
          </p:cNvSpPr>
          <p:nvPr>
            <p:ph type="subTitle" idx="4"/>
          </p:nvPr>
        </p:nvSpPr>
        <p:spPr>
          <a:xfrm>
            <a:off x="3513467" y="3496217"/>
            <a:ext cx="3580400" cy="89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6" name="Google Shape;566;p44"/>
          <p:cNvSpPr txBox="1">
            <a:spLocks noGrp="1"/>
          </p:cNvSpPr>
          <p:nvPr>
            <p:ph type="title" idx="5" hasCustomPrompt="1"/>
          </p:nvPr>
        </p:nvSpPr>
        <p:spPr>
          <a:xfrm>
            <a:off x="3402067" y="2806367"/>
            <a:ext cx="36920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grpSp>
        <p:nvGrpSpPr>
          <p:cNvPr id="567" name="Google Shape;567;p44"/>
          <p:cNvGrpSpPr/>
          <p:nvPr/>
        </p:nvGrpSpPr>
        <p:grpSpPr>
          <a:xfrm>
            <a:off x="5149995" y="-432294"/>
            <a:ext cx="5039704" cy="7620963"/>
            <a:chOff x="5520025" y="2962325"/>
            <a:chExt cx="629900" cy="952525"/>
          </a:xfrm>
        </p:grpSpPr>
        <p:sp>
          <p:nvSpPr>
            <p:cNvPr id="568" name="Google Shape;568;p44"/>
            <p:cNvSpPr/>
            <p:nvPr/>
          </p:nvSpPr>
          <p:spPr>
            <a:xfrm>
              <a:off x="5520025" y="2962325"/>
              <a:ext cx="629900" cy="952525"/>
            </a:xfrm>
            <a:custGeom>
              <a:avLst/>
              <a:gdLst/>
              <a:ahLst/>
              <a:cxnLst/>
              <a:rect l="l" t="t" r="r" b="b"/>
              <a:pathLst>
                <a:path w="25196" h="38101" extrusionOk="0">
                  <a:moveTo>
                    <a:pt x="5812" y="0"/>
                  </a:moveTo>
                  <a:cubicBezTo>
                    <a:pt x="5344" y="0"/>
                    <a:pt x="4892" y="201"/>
                    <a:pt x="4483" y="705"/>
                  </a:cubicBezTo>
                  <a:cubicBezTo>
                    <a:pt x="3787" y="1563"/>
                    <a:pt x="4286" y="2585"/>
                    <a:pt x="4828" y="3371"/>
                  </a:cubicBezTo>
                  <a:cubicBezTo>
                    <a:pt x="5386" y="4183"/>
                    <a:pt x="5945" y="5036"/>
                    <a:pt x="6574" y="5809"/>
                  </a:cubicBezTo>
                  <a:cubicBezTo>
                    <a:pt x="7955" y="7509"/>
                    <a:pt x="9626" y="8948"/>
                    <a:pt x="11347" y="10292"/>
                  </a:cubicBezTo>
                  <a:cubicBezTo>
                    <a:pt x="13363" y="11867"/>
                    <a:pt x="15431" y="13351"/>
                    <a:pt x="17346" y="15048"/>
                  </a:cubicBezTo>
                  <a:cubicBezTo>
                    <a:pt x="17988" y="15616"/>
                    <a:pt x="18591" y="16258"/>
                    <a:pt x="18944" y="17040"/>
                  </a:cubicBezTo>
                  <a:cubicBezTo>
                    <a:pt x="20022" y="19419"/>
                    <a:pt x="17645" y="21228"/>
                    <a:pt x="15802" y="22191"/>
                  </a:cubicBezTo>
                  <a:cubicBezTo>
                    <a:pt x="13859" y="23206"/>
                    <a:pt x="11673" y="23812"/>
                    <a:pt x="9948" y="25213"/>
                  </a:cubicBezTo>
                  <a:cubicBezTo>
                    <a:pt x="8232" y="26605"/>
                    <a:pt x="7306" y="28698"/>
                    <a:pt x="5668" y="30165"/>
                  </a:cubicBezTo>
                  <a:cubicBezTo>
                    <a:pt x="4509" y="31202"/>
                    <a:pt x="3221" y="32113"/>
                    <a:pt x="2271" y="33358"/>
                  </a:cubicBezTo>
                  <a:cubicBezTo>
                    <a:pt x="1538" y="34318"/>
                    <a:pt x="946" y="35376"/>
                    <a:pt x="510" y="36501"/>
                  </a:cubicBezTo>
                  <a:cubicBezTo>
                    <a:pt x="237" y="37208"/>
                    <a:pt x="0" y="37469"/>
                    <a:pt x="756" y="37764"/>
                  </a:cubicBezTo>
                  <a:cubicBezTo>
                    <a:pt x="1265" y="37962"/>
                    <a:pt x="1847" y="38051"/>
                    <a:pt x="2389" y="38087"/>
                  </a:cubicBezTo>
                  <a:cubicBezTo>
                    <a:pt x="2525" y="38096"/>
                    <a:pt x="2660" y="38101"/>
                    <a:pt x="2795" y="38101"/>
                  </a:cubicBezTo>
                  <a:cubicBezTo>
                    <a:pt x="4845" y="38101"/>
                    <a:pt x="6742" y="37061"/>
                    <a:pt x="8009" y="35453"/>
                  </a:cubicBezTo>
                  <a:cubicBezTo>
                    <a:pt x="9470" y="33600"/>
                    <a:pt x="10444" y="31431"/>
                    <a:pt x="12016" y="29660"/>
                  </a:cubicBezTo>
                  <a:cubicBezTo>
                    <a:pt x="13514" y="27972"/>
                    <a:pt x="15404" y="26592"/>
                    <a:pt x="17588" y="25956"/>
                  </a:cubicBezTo>
                  <a:cubicBezTo>
                    <a:pt x="19093" y="25519"/>
                    <a:pt x="20733" y="25422"/>
                    <a:pt x="22064" y="24596"/>
                  </a:cubicBezTo>
                  <a:cubicBezTo>
                    <a:pt x="23832" y="23496"/>
                    <a:pt x="25195" y="20833"/>
                    <a:pt x="24924" y="18739"/>
                  </a:cubicBezTo>
                  <a:cubicBezTo>
                    <a:pt x="24895" y="18519"/>
                    <a:pt x="24843" y="18303"/>
                    <a:pt x="24770" y="18093"/>
                  </a:cubicBezTo>
                  <a:cubicBezTo>
                    <a:pt x="24369" y="16934"/>
                    <a:pt x="23381" y="16034"/>
                    <a:pt x="22715" y="15024"/>
                  </a:cubicBezTo>
                  <a:cubicBezTo>
                    <a:pt x="21793" y="13625"/>
                    <a:pt x="21507" y="12047"/>
                    <a:pt x="20093" y="10952"/>
                  </a:cubicBezTo>
                  <a:cubicBezTo>
                    <a:pt x="18196" y="9483"/>
                    <a:pt x="15835" y="8737"/>
                    <a:pt x="14018" y="7149"/>
                  </a:cubicBezTo>
                  <a:cubicBezTo>
                    <a:pt x="12485" y="5809"/>
                    <a:pt x="11302" y="4107"/>
                    <a:pt x="9779" y="2751"/>
                  </a:cubicBezTo>
                  <a:cubicBezTo>
                    <a:pt x="8876" y="1948"/>
                    <a:pt x="7269" y="0"/>
                    <a:pt x="581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69" name="Google Shape;569;p44"/>
            <p:cNvSpPr/>
            <p:nvPr/>
          </p:nvSpPr>
          <p:spPr>
            <a:xfrm>
              <a:off x="5963400" y="3223675"/>
              <a:ext cx="15725" cy="3900"/>
            </a:xfrm>
            <a:custGeom>
              <a:avLst/>
              <a:gdLst/>
              <a:ahLst/>
              <a:cxnLst/>
              <a:rect l="l" t="t" r="r" b="b"/>
              <a:pathLst>
                <a:path w="629" h="156" extrusionOk="0">
                  <a:moveTo>
                    <a:pt x="430" y="9"/>
                  </a:moveTo>
                  <a:cubicBezTo>
                    <a:pt x="430" y="9"/>
                    <a:pt x="431" y="9"/>
                    <a:pt x="433" y="9"/>
                  </a:cubicBezTo>
                  <a:lnTo>
                    <a:pt x="433" y="9"/>
                  </a:lnTo>
                  <a:cubicBezTo>
                    <a:pt x="431" y="9"/>
                    <a:pt x="430" y="9"/>
                    <a:pt x="430" y="9"/>
                  </a:cubicBezTo>
                  <a:close/>
                  <a:moveTo>
                    <a:pt x="435" y="146"/>
                  </a:moveTo>
                  <a:cubicBezTo>
                    <a:pt x="435" y="146"/>
                    <a:pt x="434" y="146"/>
                    <a:pt x="433" y="147"/>
                  </a:cubicBezTo>
                  <a:lnTo>
                    <a:pt x="433" y="147"/>
                  </a:lnTo>
                  <a:cubicBezTo>
                    <a:pt x="434" y="146"/>
                    <a:pt x="434" y="146"/>
                    <a:pt x="435" y="146"/>
                  </a:cubicBezTo>
                  <a:close/>
                  <a:moveTo>
                    <a:pt x="78" y="0"/>
                  </a:moveTo>
                  <a:cubicBezTo>
                    <a:pt x="35" y="0"/>
                    <a:pt x="1" y="35"/>
                    <a:pt x="1" y="78"/>
                  </a:cubicBezTo>
                  <a:cubicBezTo>
                    <a:pt x="1" y="120"/>
                    <a:pt x="35" y="155"/>
                    <a:pt x="78" y="155"/>
                  </a:cubicBezTo>
                  <a:lnTo>
                    <a:pt x="328" y="155"/>
                  </a:lnTo>
                  <a:cubicBezTo>
                    <a:pt x="332" y="155"/>
                    <a:pt x="337" y="155"/>
                    <a:pt x="341" y="155"/>
                  </a:cubicBezTo>
                  <a:cubicBezTo>
                    <a:pt x="362" y="155"/>
                    <a:pt x="383" y="154"/>
                    <a:pt x="404" y="151"/>
                  </a:cubicBezTo>
                  <a:lnTo>
                    <a:pt x="432" y="147"/>
                  </a:lnTo>
                  <a:lnTo>
                    <a:pt x="435" y="147"/>
                  </a:lnTo>
                  <a:cubicBezTo>
                    <a:pt x="441" y="147"/>
                    <a:pt x="447" y="146"/>
                    <a:pt x="452" y="146"/>
                  </a:cubicBezTo>
                  <a:cubicBezTo>
                    <a:pt x="475" y="145"/>
                    <a:pt x="500" y="143"/>
                    <a:pt x="524" y="137"/>
                  </a:cubicBezTo>
                  <a:cubicBezTo>
                    <a:pt x="544" y="133"/>
                    <a:pt x="564" y="128"/>
                    <a:pt x="585" y="122"/>
                  </a:cubicBezTo>
                  <a:cubicBezTo>
                    <a:pt x="628" y="109"/>
                    <a:pt x="628" y="48"/>
                    <a:pt x="585" y="34"/>
                  </a:cubicBezTo>
                  <a:lnTo>
                    <a:pt x="527" y="19"/>
                  </a:lnTo>
                  <a:cubicBezTo>
                    <a:pt x="503" y="14"/>
                    <a:pt x="480" y="12"/>
                    <a:pt x="455" y="11"/>
                  </a:cubicBezTo>
                  <a:lnTo>
                    <a:pt x="438" y="10"/>
                  </a:lnTo>
                  <a:cubicBezTo>
                    <a:pt x="437" y="10"/>
                    <a:pt x="435" y="10"/>
                    <a:pt x="433" y="9"/>
                  </a:cubicBezTo>
                  <a:lnTo>
                    <a:pt x="433" y="9"/>
                  </a:lnTo>
                  <a:cubicBezTo>
                    <a:pt x="423" y="8"/>
                    <a:pt x="414" y="6"/>
                    <a:pt x="404" y="4"/>
                  </a:cubicBezTo>
                  <a:cubicBezTo>
                    <a:pt x="378" y="1"/>
                    <a:pt x="353" y="0"/>
                    <a:pt x="32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0" name="Google Shape;570;p44"/>
            <p:cNvSpPr/>
            <p:nvPr/>
          </p:nvSpPr>
          <p:spPr>
            <a:xfrm>
              <a:off x="5975900" y="3236475"/>
              <a:ext cx="20525" cy="4525"/>
            </a:xfrm>
            <a:custGeom>
              <a:avLst/>
              <a:gdLst/>
              <a:ahLst/>
              <a:cxnLst/>
              <a:rect l="l" t="t" r="r" b="b"/>
              <a:pathLst>
                <a:path w="821" h="181" extrusionOk="0">
                  <a:moveTo>
                    <a:pt x="531" y="0"/>
                  </a:moveTo>
                  <a:cubicBezTo>
                    <a:pt x="526" y="0"/>
                    <a:pt x="522" y="0"/>
                    <a:pt x="517" y="1"/>
                  </a:cubicBezTo>
                  <a:cubicBezTo>
                    <a:pt x="487" y="2"/>
                    <a:pt x="458" y="6"/>
                    <a:pt x="429" y="8"/>
                  </a:cubicBezTo>
                  <a:cubicBezTo>
                    <a:pt x="311" y="17"/>
                    <a:pt x="191" y="28"/>
                    <a:pt x="72" y="42"/>
                  </a:cubicBezTo>
                  <a:cubicBezTo>
                    <a:pt x="37" y="46"/>
                    <a:pt x="1" y="71"/>
                    <a:pt x="3" y="111"/>
                  </a:cubicBezTo>
                  <a:cubicBezTo>
                    <a:pt x="3" y="149"/>
                    <a:pt x="34" y="181"/>
                    <a:pt x="72" y="181"/>
                  </a:cubicBezTo>
                  <a:lnTo>
                    <a:pt x="73" y="181"/>
                  </a:lnTo>
                  <a:cubicBezTo>
                    <a:pt x="135" y="179"/>
                    <a:pt x="196" y="179"/>
                    <a:pt x="257" y="175"/>
                  </a:cubicBezTo>
                  <a:lnTo>
                    <a:pt x="434" y="164"/>
                  </a:lnTo>
                  <a:cubicBezTo>
                    <a:pt x="462" y="162"/>
                    <a:pt x="493" y="161"/>
                    <a:pt x="521" y="158"/>
                  </a:cubicBezTo>
                  <a:cubicBezTo>
                    <a:pt x="555" y="155"/>
                    <a:pt x="589" y="147"/>
                    <a:pt x="623" y="142"/>
                  </a:cubicBezTo>
                  <a:lnTo>
                    <a:pt x="712" y="126"/>
                  </a:lnTo>
                  <a:cubicBezTo>
                    <a:pt x="727" y="124"/>
                    <a:pt x="742" y="121"/>
                    <a:pt x="756" y="118"/>
                  </a:cubicBezTo>
                  <a:cubicBezTo>
                    <a:pt x="773" y="111"/>
                    <a:pt x="788" y="101"/>
                    <a:pt x="802" y="89"/>
                  </a:cubicBezTo>
                  <a:cubicBezTo>
                    <a:pt x="821" y="72"/>
                    <a:pt x="812" y="40"/>
                    <a:pt x="794" y="28"/>
                  </a:cubicBezTo>
                  <a:cubicBezTo>
                    <a:pt x="778" y="17"/>
                    <a:pt x="760" y="10"/>
                    <a:pt x="741" y="8"/>
                  </a:cubicBezTo>
                  <a:cubicBezTo>
                    <a:pt x="726" y="6"/>
                    <a:pt x="710" y="6"/>
                    <a:pt x="695" y="5"/>
                  </a:cubicBezTo>
                  <a:lnTo>
                    <a:pt x="610" y="3"/>
                  </a:lnTo>
                  <a:cubicBezTo>
                    <a:pt x="584" y="3"/>
                    <a:pt x="558" y="0"/>
                    <a:pt x="53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1" name="Google Shape;571;p44"/>
            <p:cNvSpPr/>
            <p:nvPr/>
          </p:nvSpPr>
          <p:spPr>
            <a:xfrm>
              <a:off x="5710550" y="3111200"/>
              <a:ext cx="14425" cy="4025"/>
            </a:xfrm>
            <a:custGeom>
              <a:avLst/>
              <a:gdLst/>
              <a:ahLst/>
              <a:cxnLst/>
              <a:rect l="l" t="t" r="r" b="b"/>
              <a:pathLst>
                <a:path w="577" h="161" extrusionOk="0">
                  <a:moveTo>
                    <a:pt x="80" y="0"/>
                  </a:moveTo>
                  <a:cubicBezTo>
                    <a:pt x="37" y="0"/>
                    <a:pt x="1" y="36"/>
                    <a:pt x="1" y="81"/>
                  </a:cubicBezTo>
                  <a:cubicBezTo>
                    <a:pt x="1" y="126"/>
                    <a:pt x="37" y="161"/>
                    <a:pt x="80" y="161"/>
                  </a:cubicBezTo>
                  <a:cubicBezTo>
                    <a:pt x="82" y="161"/>
                    <a:pt x="83" y="161"/>
                    <a:pt x="84" y="161"/>
                  </a:cubicBezTo>
                  <a:lnTo>
                    <a:pt x="294" y="159"/>
                  </a:lnTo>
                  <a:lnTo>
                    <a:pt x="399" y="157"/>
                  </a:lnTo>
                  <a:lnTo>
                    <a:pt x="478" y="157"/>
                  </a:lnTo>
                  <a:cubicBezTo>
                    <a:pt x="495" y="156"/>
                    <a:pt x="512" y="152"/>
                    <a:pt x="528" y="145"/>
                  </a:cubicBezTo>
                  <a:cubicBezTo>
                    <a:pt x="576" y="124"/>
                    <a:pt x="576" y="37"/>
                    <a:pt x="528" y="16"/>
                  </a:cubicBezTo>
                  <a:cubicBezTo>
                    <a:pt x="512" y="9"/>
                    <a:pt x="495" y="5"/>
                    <a:pt x="478" y="4"/>
                  </a:cubicBezTo>
                  <a:lnTo>
                    <a:pt x="399" y="4"/>
                  </a:lnTo>
                  <a:lnTo>
                    <a:pt x="294" y="3"/>
                  </a:lnTo>
                  <a:lnTo>
                    <a:pt x="84" y="0"/>
                  </a:lnTo>
                  <a:cubicBezTo>
                    <a:pt x="83" y="0"/>
                    <a:pt x="82" y="0"/>
                    <a:pt x="8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2" name="Google Shape;572;p44"/>
            <p:cNvSpPr/>
            <p:nvPr/>
          </p:nvSpPr>
          <p:spPr>
            <a:xfrm>
              <a:off x="5721125" y="3120225"/>
              <a:ext cx="20800" cy="4550"/>
            </a:xfrm>
            <a:custGeom>
              <a:avLst/>
              <a:gdLst/>
              <a:ahLst/>
              <a:cxnLst/>
              <a:rect l="l" t="t" r="r" b="b"/>
              <a:pathLst>
                <a:path w="832" h="182" extrusionOk="0">
                  <a:moveTo>
                    <a:pt x="554" y="0"/>
                  </a:moveTo>
                  <a:cubicBezTo>
                    <a:pt x="542" y="0"/>
                    <a:pt x="531" y="0"/>
                    <a:pt x="519" y="1"/>
                  </a:cubicBezTo>
                  <a:lnTo>
                    <a:pt x="431" y="2"/>
                  </a:lnTo>
                  <a:cubicBezTo>
                    <a:pt x="371" y="3"/>
                    <a:pt x="311" y="3"/>
                    <a:pt x="250" y="6"/>
                  </a:cubicBezTo>
                  <a:cubicBezTo>
                    <a:pt x="185" y="6"/>
                    <a:pt x="120" y="12"/>
                    <a:pt x="54" y="21"/>
                  </a:cubicBezTo>
                  <a:cubicBezTo>
                    <a:pt x="23" y="29"/>
                    <a:pt x="1" y="58"/>
                    <a:pt x="1" y="91"/>
                  </a:cubicBezTo>
                  <a:cubicBezTo>
                    <a:pt x="3" y="120"/>
                    <a:pt x="23" y="155"/>
                    <a:pt x="54" y="160"/>
                  </a:cubicBezTo>
                  <a:cubicBezTo>
                    <a:pt x="119" y="172"/>
                    <a:pt x="185" y="173"/>
                    <a:pt x="250" y="175"/>
                  </a:cubicBezTo>
                  <a:cubicBezTo>
                    <a:pt x="311" y="178"/>
                    <a:pt x="371" y="178"/>
                    <a:pt x="431" y="178"/>
                  </a:cubicBezTo>
                  <a:lnTo>
                    <a:pt x="519" y="180"/>
                  </a:lnTo>
                  <a:cubicBezTo>
                    <a:pt x="529" y="181"/>
                    <a:pt x="538" y="181"/>
                    <a:pt x="547" y="181"/>
                  </a:cubicBezTo>
                  <a:cubicBezTo>
                    <a:pt x="574" y="181"/>
                    <a:pt x="601" y="179"/>
                    <a:pt x="628" y="175"/>
                  </a:cubicBezTo>
                  <a:cubicBezTo>
                    <a:pt x="657" y="170"/>
                    <a:pt x="686" y="166"/>
                    <a:pt x="715" y="161"/>
                  </a:cubicBezTo>
                  <a:cubicBezTo>
                    <a:pt x="751" y="156"/>
                    <a:pt x="785" y="154"/>
                    <a:pt x="811" y="128"/>
                  </a:cubicBezTo>
                  <a:cubicBezTo>
                    <a:pt x="831" y="106"/>
                    <a:pt x="831" y="74"/>
                    <a:pt x="811" y="54"/>
                  </a:cubicBezTo>
                  <a:cubicBezTo>
                    <a:pt x="785" y="27"/>
                    <a:pt x="751" y="25"/>
                    <a:pt x="715" y="20"/>
                  </a:cubicBezTo>
                  <a:cubicBezTo>
                    <a:pt x="686" y="16"/>
                    <a:pt x="657" y="11"/>
                    <a:pt x="628" y="5"/>
                  </a:cubicBezTo>
                  <a:cubicBezTo>
                    <a:pt x="603" y="2"/>
                    <a:pt x="578" y="0"/>
                    <a:pt x="55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3" name="Google Shape;573;p44"/>
            <p:cNvSpPr/>
            <p:nvPr/>
          </p:nvSpPr>
          <p:spPr>
            <a:xfrm>
              <a:off x="6027825" y="3548775"/>
              <a:ext cx="29450" cy="6600"/>
            </a:xfrm>
            <a:custGeom>
              <a:avLst/>
              <a:gdLst/>
              <a:ahLst/>
              <a:cxnLst/>
              <a:rect l="l" t="t" r="r" b="b"/>
              <a:pathLst>
                <a:path w="1178" h="264" extrusionOk="0">
                  <a:moveTo>
                    <a:pt x="57" y="0"/>
                  </a:moveTo>
                  <a:cubicBezTo>
                    <a:pt x="29" y="0"/>
                    <a:pt x="7" y="20"/>
                    <a:pt x="4" y="47"/>
                  </a:cubicBezTo>
                  <a:cubicBezTo>
                    <a:pt x="1" y="71"/>
                    <a:pt x="15" y="100"/>
                    <a:pt x="42" y="106"/>
                  </a:cubicBezTo>
                  <a:lnTo>
                    <a:pt x="43" y="106"/>
                  </a:lnTo>
                  <a:cubicBezTo>
                    <a:pt x="113" y="118"/>
                    <a:pt x="183" y="134"/>
                    <a:pt x="254" y="144"/>
                  </a:cubicBezTo>
                  <a:cubicBezTo>
                    <a:pt x="324" y="153"/>
                    <a:pt x="396" y="165"/>
                    <a:pt x="468" y="175"/>
                  </a:cubicBezTo>
                  <a:cubicBezTo>
                    <a:pt x="610" y="198"/>
                    <a:pt x="753" y="218"/>
                    <a:pt x="896" y="244"/>
                  </a:cubicBezTo>
                  <a:cubicBezTo>
                    <a:pt x="940" y="252"/>
                    <a:pt x="984" y="255"/>
                    <a:pt x="1029" y="260"/>
                  </a:cubicBezTo>
                  <a:cubicBezTo>
                    <a:pt x="1049" y="262"/>
                    <a:pt x="1067" y="263"/>
                    <a:pt x="1087" y="263"/>
                  </a:cubicBezTo>
                  <a:cubicBezTo>
                    <a:pt x="1094" y="263"/>
                    <a:pt x="1101" y="263"/>
                    <a:pt x="1108" y="263"/>
                  </a:cubicBezTo>
                  <a:cubicBezTo>
                    <a:pt x="1111" y="263"/>
                    <a:pt x="1115" y="263"/>
                    <a:pt x="1118" y="263"/>
                  </a:cubicBezTo>
                  <a:cubicBezTo>
                    <a:pt x="1134" y="262"/>
                    <a:pt x="1149" y="254"/>
                    <a:pt x="1160" y="244"/>
                  </a:cubicBezTo>
                  <a:cubicBezTo>
                    <a:pt x="1174" y="230"/>
                    <a:pt x="1177" y="209"/>
                    <a:pt x="1168" y="192"/>
                  </a:cubicBezTo>
                  <a:cubicBezTo>
                    <a:pt x="1156" y="171"/>
                    <a:pt x="1135" y="164"/>
                    <a:pt x="1114" y="155"/>
                  </a:cubicBezTo>
                  <a:cubicBezTo>
                    <a:pt x="1095" y="148"/>
                    <a:pt x="1077" y="140"/>
                    <a:pt x="1059" y="135"/>
                  </a:cubicBezTo>
                  <a:cubicBezTo>
                    <a:pt x="1025" y="125"/>
                    <a:pt x="991" y="115"/>
                    <a:pt x="956" y="108"/>
                  </a:cubicBezTo>
                  <a:cubicBezTo>
                    <a:pt x="885" y="95"/>
                    <a:pt x="814" y="82"/>
                    <a:pt x="743" y="71"/>
                  </a:cubicBezTo>
                  <a:cubicBezTo>
                    <a:pt x="595" y="48"/>
                    <a:pt x="449" y="29"/>
                    <a:pt x="301" y="13"/>
                  </a:cubicBezTo>
                  <a:cubicBezTo>
                    <a:pt x="220" y="4"/>
                    <a:pt x="138" y="2"/>
                    <a:pt x="5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4" name="Google Shape;574;p44"/>
            <p:cNvSpPr/>
            <p:nvPr/>
          </p:nvSpPr>
          <p:spPr>
            <a:xfrm>
              <a:off x="6046975" y="3546550"/>
              <a:ext cx="19900" cy="4600"/>
            </a:xfrm>
            <a:custGeom>
              <a:avLst/>
              <a:gdLst/>
              <a:ahLst/>
              <a:cxnLst/>
              <a:rect l="l" t="t" r="r" b="b"/>
              <a:pathLst>
                <a:path w="796" h="184" extrusionOk="0">
                  <a:moveTo>
                    <a:pt x="74" y="1"/>
                  </a:moveTo>
                  <a:cubicBezTo>
                    <a:pt x="33" y="1"/>
                    <a:pt x="0" y="33"/>
                    <a:pt x="0" y="73"/>
                  </a:cubicBezTo>
                  <a:cubicBezTo>
                    <a:pt x="1" y="113"/>
                    <a:pt x="34" y="146"/>
                    <a:pt x="74" y="147"/>
                  </a:cubicBezTo>
                  <a:lnTo>
                    <a:pt x="407" y="169"/>
                  </a:lnTo>
                  <a:cubicBezTo>
                    <a:pt x="462" y="173"/>
                    <a:pt x="516" y="178"/>
                    <a:pt x="570" y="179"/>
                  </a:cubicBezTo>
                  <a:lnTo>
                    <a:pt x="655" y="182"/>
                  </a:lnTo>
                  <a:lnTo>
                    <a:pt x="695" y="183"/>
                  </a:lnTo>
                  <a:cubicBezTo>
                    <a:pt x="714" y="183"/>
                    <a:pt x="733" y="179"/>
                    <a:pt x="750" y="171"/>
                  </a:cubicBezTo>
                  <a:cubicBezTo>
                    <a:pt x="772" y="165"/>
                    <a:pt x="789" y="146"/>
                    <a:pt x="792" y="123"/>
                  </a:cubicBezTo>
                  <a:cubicBezTo>
                    <a:pt x="795" y="100"/>
                    <a:pt x="783" y="77"/>
                    <a:pt x="763" y="65"/>
                  </a:cubicBezTo>
                  <a:cubicBezTo>
                    <a:pt x="757" y="62"/>
                    <a:pt x="752" y="59"/>
                    <a:pt x="746" y="55"/>
                  </a:cubicBezTo>
                  <a:cubicBezTo>
                    <a:pt x="732" y="48"/>
                    <a:pt x="717" y="45"/>
                    <a:pt x="701" y="44"/>
                  </a:cubicBezTo>
                  <a:lnTo>
                    <a:pt x="662" y="40"/>
                  </a:lnTo>
                  <a:lnTo>
                    <a:pt x="577" y="31"/>
                  </a:lnTo>
                  <a:cubicBezTo>
                    <a:pt x="521" y="26"/>
                    <a:pt x="466" y="24"/>
                    <a:pt x="410" y="21"/>
                  </a:cubicBezTo>
                  <a:lnTo>
                    <a:pt x="74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5" name="Google Shape;575;p44"/>
            <p:cNvSpPr/>
            <p:nvPr/>
          </p:nvSpPr>
          <p:spPr>
            <a:xfrm>
              <a:off x="6001675" y="3472425"/>
              <a:ext cx="18425" cy="5800"/>
            </a:xfrm>
            <a:custGeom>
              <a:avLst/>
              <a:gdLst/>
              <a:ahLst/>
              <a:cxnLst/>
              <a:rect l="l" t="t" r="r" b="b"/>
              <a:pathLst>
                <a:path w="737" h="232" extrusionOk="0">
                  <a:moveTo>
                    <a:pt x="76" y="1"/>
                  </a:moveTo>
                  <a:cubicBezTo>
                    <a:pt x="46" y="1"/>
                    <a:pt x="15" y="17"/>
                    <a:pt x="8" y="49"/>
                  </a:cubicBezTo>
                  <a:cubicBezTo>
                    <a:pt x="1" y="83"/>
                    <a:pt x="19" y="124"/>
                    <a:pt x="56" y="133"/>
                  </a:cubicBezTo>
                  <a:lnTo>
                    <a:pt x="56" y="132"/>
                  </a:lnTo>
                  <a:cubicBezTo>
                    <a:pt x="161" y="154"/>
                    <a:pt x="265" y="177"/>
                    <a:pt x="370" y="198"/>
                  </a:cubicBezTo>
                  <a:cubicBezTo>
                    <a:pt x="421" y="208"/>
                    <a:pt x="474" y="214"/>
                    <a:pt x="527" y="222"/>
                  </a:cubicBezTo>
                  <a:cubicBezTo>
                    <a:pt x="552" y="226"/>
                    <a:pt x="578" y="231"/>
                    <a:pt x="603" y="231"/>
                  </a:cubicBezTo>
                  <a:cubicBezTo>
                    <a:pt x="610" y="231"/>
                    <a:pt x="618" y="231"/>
                    <a:pt x="625" y="230"/>
                  </a:cubicBezTo>
                  <a:cubicBezTo>
                    <a:pt x="629" y="229"/>
                    <a:pt x="631" y="229"/>
                    <a:pt x="631" y="229"/>
                  </a:cubicBezTo>
                  <a:lnTo>
                    <a:pt x="631" y="229"/>
                  </a:lnTo>
                  <a:cubicBezTo>
                    <a:pt x="632" y="229"/>
                    <a:pt x="631" y="229"/>
                    <a:pt x="628" y="230"/>
                  </a:cubicBezTo>
                  <a:lnTo>
                    <a:pt x="638" y="231"/>
                  </a:lnTo>
                  <a:lnTo>
                    <a:pt x="658" y="232"/>
                  </a:lnTo>
                  <a:cubicBezTo>
                    <a:pt x="673" y="232"/>
                    <a:pt x="688" y="231"/>
                    <a:pt x="704" y="228"/>
                  </a:cubicBezTo>
                  <a:cubicBezTo>
                    <a:pt x="721" y="223"/>
                    <a:pt x="732" y="209"/>
                    <a:pt x="735" y="193"/>
                  </a:cubicBezTo>
                  <a:cubicBezTo>
                    <a:pt x="737" y="175"/>
                    <a:pt x="728" y="159"/>
                    <a:pt x="715" y="150"/>
                  </a:cubicBezTo>
                  <a:cubicBezTo>
                    <a:pt x="702" y="142"/>
                    <a:pt x="688" y="136"/>
                    <a:pt x="674" y="131"/>
                  </a:cubicBezTo>
                  <a:cubicBezTo>
                    <a:pt x="665" y="127"/>
                    <a:pt x="656" y="124"/>
                    <a:pt x="646" y="120"/>
                  </a:cubicBezTo>
                  <a:cubicBezTo>
                    <a:pt x="620" y="107"/>
                    <a:pt x="591" y="98"/>
                    <a:pt x="563" y="94"/>
                  </a:cubicBezTo>
                  <a:cubicBezTo>
                    <a:pt x="510" y="81"/>
                    <a:pt x="458" y="67"/>
                    <a:pt x="406" y="58"/>
                  </a:cubicBezTo>
                  <a:cubicBezTo>
                    <a:pt x="301" y="39"/>
                    <a:pt x="197" y="20"/>
                    <a:pt x="91" y="2"/>
                  </a:cubicBezTo>
                  <a:cubicBezTo>
                    <a:pt x="86" y="1"/>
                    <a:pt x="81" y="1"/>
                    <a:pt x="7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6" name="Google Shape;576;p44"/>
            <p:cNvSpPr/>
            <p:nvPr/>
          </p:nvSpPr>
          <p:spPr>
            <a:xfrm>
              <a:off x="6012225" y="3459975"/>
              <a:ext cx="13225" cy="4700"/>
            </a:xfrm>
            <a:custGeom>
              <a:avLst/>
              <a:gdLst/>
              <a:ahLst/>
              <a:cxnLst/>
              <a:rect l="l" t="t" r="r" b="b"/>
              <a:pathLst>
                <a:path w="529" h="188" extrusionOk="0">
                  <a:moveTo>
                    <a:pt x="173" y="0"/>
                  </a:moveTo>
                  <a:cubicBezTo>
                    <a:pt x="131" y="0"/>
                    <a:pt x="89" y="4"/>
                    <a:pt x="48" y="14"/>
                  </a:cubicBezTo>
                  <a:cubicBezTo>
                    <a:pt x="17" y="19"/>
                    <a:pt x="1" y="53"/>
                    <a:pt x="4" y="80"/>
                  </a:cubicBezTo>
                  <a:cubicBezTo>
                    <a:pt x="8" y="106"/>
                    <a:pt x="31" y="133"/>
                    <a:pt x="59" y="133"/>
                  </a:cubicBezTo>
                  <a:cubicBezTo>
                    <a:pt x="61" y="133"/>
                    <a:pt x="62" y="133"/>
                    <a:pt x="64" y="133"/>
                  </a:cubicBezTo>
                  <a:cubicBezTo>
                    <a:pt x="90" y="131"/>
                    <a:pt x="116" y="129"/>
                    <a:pt x="142" y="129"/>
                  </a:cubicBezTo>
                  <a:cubicBezTo>
                    <a:pt x="151" y="129"/>
                    <a:pt x="159" y="130"/>
                    <a:pt x="168" y="130"/>
                  </a:cubicBezTo>
                  <a:cubicBezTo>
                    <a:pt x="203" y="130"/>
                    <a:pt x="239" y="134"/>
                    <a:pt x="275" y="134"/>
                  </a:cubicBezTo>
                  <a:cubicBezTo>
                    <a:pt x="275" y="134"/>
                    <a:pt x="275" y="134"/>
                    <a:pt x="276" y="134"/>
                  </a:cubicBezTo>
                  <a:lnTo>
                    <a:pt x="276" y="134"/>
                  </a:lnTo>
                  <a:cubicBezTo>
                    <a:pt x="276" y="134"/>
                    <a:pt x="276" y="134"/>
                    <a:pt x="276" y="134"/>
                  </a:cubicBezTo>
                  <a:lnTo>
                    <a:pt x="290" y="136"/>
                  </a:lnTo>
                  <a:cubicBezTo>
                    <a:pt x="299" y="138"/>
                    <a:pt x="306" y="139"/>
                    <a:pt x="315" y="141"/>
                  </a:cubicBezTo>
                  <a:cubicBezTo>
                    <a:pt x="333" y="145"/>
                    <a:pt x="349" y="150"/>
                    <a:pt x="367" y="154"/>
                  </a:cubicBezTo>
                  <a:cubicBezTo>
                    <a:pt x="401" y="165"/>
                    <a:pt x="433" y="181"/>
                    <a:pt x="468" y="187"/>
                  </a:cubicBezTo>
                  <a:cubicBezTo>
                    <a:pt x="471" y="188"/>
                    <a:pt x="474" y="188"/>
                    <a:pt x="477" y="188"/>
                  </a:cubicBezTo>
                  <a:cubicBezTo>
                    <a:pt x="509" y="188"/>
                    <a:pt x="529" y="149"/>
                    <a:pt x="504" y="124"/>
                  </a:cubicBezTo>
                  <a:cubicBezTo>
                    <a:pt x="477" y="95"/>
                    <a:pt x="443" y="74"/>
                    <a:pt x="407" y="60"/>
                  </a:cubicBezTo>
                  <a:cubicBezTo>
                    <a:pt x="371" y="43"/>
                    <a:pt x="332" y="30"/>
                    <a:pt x="294" y="19"/>
                  </a:cubicBezTo>
                  <a:cubicBezTo>
                    <a:pt x="255" y="8"/>
                    <a:pt x="215" y="1"/>
                    <a:pt x="17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7" name="Google Shape;577;p44"/>
            <p:cNvSpPr/>
            <p:nvPr/>
          </p:nvSpPr>
          <p:spPr>
            <a:xfrm>
              <a:off x="5783525" y="3676650"/>
              <a:ext cx="22225" cy="3550"/>
            </a:xfrm>
            <a:custGeom>
              <a:avLst/>
              <a:gdLst/>
              <a:ahLst/>
              <a:cxnLst/>
              <a:rect l="l" t="t" r="r" b="b"/>
              <a:pathLst>
                <a:path w="889" h="142" extrusionOk="0">
                  <a:moveTo>
                    <a:pt x="555" y="1"/>
                  </a:moveTo>
                  <a:cubicBezTo>
                    <a:pt x="524" y="1"/>
                    <a:pt x="493" y="1"/>
                    <a:pt x="462" y="1"/>
                  </a:cubicBezTo>
                  <a:lnTo>
                    <a:pt x="94" y="1"/>
                  </a:lnTo>
                  <a:cubicBezTo>
                    <a:pt x="94" y="1"/>
                    <a:pt x="93" y="1"/>
                    <a:pt x="93" y="1"/>
                  </a:cubicBezTo>
                  <a:cubicBezTo>
                    <a:pt x="0" y="1"/>
                    <a:pt x="1" y="141"/>
                    <a:pt x="94" y="141"/>
                  </a:cubicBezTo>
                  <a:lnTo>
                    <a:pt x="462" y="141"/>
                  </a:lnTo>
                  <a:cubicBezTo>
                    <a:pt x="523" y="141"/>
                    <a:pt x="584" y="141"/>
                    <a:pt x="646" y="139"/>
                  </a:cubicBezTo>
                  <a:cubicBezTo>
                    <a:pt x="677" y="138"/>
                    <a:pt x="709" y="139"/>
                    <a:pt x="739" y="136"/>
                  </a:cubicBezTo>
                  <a:lnTo>
                    <a:pt x="781" y="130"/>
                  </a:lnTo>
                  <a:cubicBezTo>
                    <a:pt x="800" y="130"/>
                    <a:pt x="820" y="127"/>
                    <a:pt x="838" y="122"/>
                  </a:cubicBezTo>
                  <a:cubicBezTo>
                    <a:pt x="889" y="106"/>
                    <a:pt x="889" y="35"/>
                    <a:pt x="838" y="19"/>
                  </a:cubicBezTo>
                  <a:cubicBezTo>
                    <a:pt x="821" y="13"/>
                    <a:pt x="803" y="11"/>
                    <a:pt x="785" y="10"/>
                  </a:cubicBezTo>
                  <a:cubicBezTo>
                    <a:pt x="770" y="9"/>
                    <a:pt x="754" y="7"/>
                    <a:pt x="739" y="6"/>
                  </a:cubicBezTo>
                  <a:cubicBezTo>
                    <a:pt x="709" y="2"/>
                    <a:pt x="677" y="3"/>
                    <a:pt x="646" y="2"/>
                  </a:cubicBezTo>
                  <a:cubicBezTo>
                    <a:pt x="616" y="1"/>
                    <a:pt x="585" y="1"/>
                    <a:pt x="55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8" name="Google Shape;578;p44"/>
            <p:cNvSpPr/>
            <p:nvPr/>
          </p:nvSpPr>
          <p:spPr>
            <a:xfrm>
              <a:off x="5914000" y="3591500"/>
              <a:ext cx="22475" cy="5075"/>
            </a:xfrm>
            <a:custGeom>
              <a:avLst/>
              <a:gdLst/>
              <a:ahLst/>
              <a:cxnLst/>
              <a:rect l="l" t="t" r="r" b="b"/>
              <a:pathLst>
                <a:path w="899" h="203" extrusionOk="0">
                  <a:moveTo>
                    <a:pt x="779" y="0"/>
                  </a:moveTo>
                  <a:cubicBezTo>
                    <a:pt x="768" y="1"/>
                    <a:pt x="756" y="3"/>
                    <a:pt x="745" y="6"/>
                  </a:cubicBezTo>
                  <a:cubicBezTo>
                    <a:pt x="692" y="16"/>
                    <a:pt x="638" y="25"/>
                    <a:pt x="584" y="33"/>
                  </a:cubicBezTo>
                  <a:lnTo>
                    <a:pt x="547" y="39"/>
                  </a:lnTo>
                  <a:lnTo>
                    <a:pt x="528" y="41"/>
                  </a:lnTo>
                  <a:lnTo>
                    <a:pt x="519" y="42"/>
                  </a:lnTo>
                  <a:cubicBezTo>
                    <a:pt x="492" y="47"/>
                    <a:pt x="466" y="50"/>
                    <a:pt x="440" y="52"/>
                  </a:cubicBezTo>
                  <a:cubicBezTo>
                    <a:pt x="318" y="66"/>
                    <a:pt x="196" y="74"/>
                    <a:pt x="74" y="78"/>
                  </a:cubicBezTo>
                  <a:cubicBezTo>
                    <a:pt x="0" y="83"/>
                    <a:pt x="0" y="191"/>
                    <a:pt x="74" y="194"/>
                  </a:cubicBezTo>
                  <a:cubicBezTo>
                    <a:pt x="139" y="200"/>
                    <a:pt x="204" y="203"/>
                    <a:pt x="270" y="203"/>
                  </a:cubicBezTo>
                  <a:cubicBezTo>
                    <a:pt x="424" y="203"/>
                    <a:pt x="578" y="187"/>
                    <a:pt x="730" y="154"/>
                  </a:cubicBezTo>
                  <a:cubicBezTo>
                    <a:pt x="759" y="148"/>
                    <a:pt x="792" y="144"/>
                    <a:pt x="818" y="130"/>
                  </a:cubicBezTo>
                  <a:cubicBezTo>
                    <a:pt x="829" y="125"/>
                    <a:pt x="838" y="117"/>
                    <a:pt x="849" y="111"/>
                  </a:cubicBezTo>
                  <a:cubicBezTo>
                    <a:pt x="864" y="103"/>
                    <a:pt x="877" y="92"/>
                    <a:pt x="888" y="78"/>
                  </a:cubicBezTo>
                  <a:cubicBezTo>
                    <a:pt x="898" y="62"/>
                    <a:pt x="897" y="40"/>
                    <a:pt x="884" y="27"/>
                  </a:cubicBezTo>
                  <a:cubicBezTo>
                    <a:pt x="871" y="14"/>
                    <a:pt x="853" y="7"/>
                    <a:pt x="835" y="7"/>
                  </a:cubicBezTo>
                  <a:lnTo>
                    <a:pt x="817" y="6"/>
                  </a:lnTo>
                  <a:cubicBezTo>
                    <a:pt x="814" y="6"/>
                    <a:pt x="811" y="6"/>
                    <a:pt x="808" y="5"/>
                  </a:cubicBezTo>
                  <a:lnTo>
                    <a:pt x="808" y="5"/>
                  </a:lnTo>
                  <a:cubicBezTo>
                    <a:pt x="808" y="5"/>
                    <a:pt x="812" y="5"/>
                    <a:pt x="813" y="5"/>
                  </a:cubicBezTo>
                  <a:cubicBezTo>
                    <a:pt x="813" y="5"/>
                    <a:pt x="812" y="5"/>
                    <a:pt x="810" y="5"/>
                  </a:cubicBezTo>
                  <a:cubicBezTo>
                    <a:pt x="799" y="2"/>
                    <a:pt x="790" y="1"/>
                    <a:pt x="77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9" name="Google Shape;579;p44"/>
            <p:cNvSpPr/>
            <p:nvPr/>
          </p:nvSpPr>
          <p:spPr>
            <a:xfrm>
              <a:off x="5897375" y="3603275"/>
              <a:ext cx="13725" cy="5200"/>
            </a:xfrm>
            <a:custGeom>
              <a:avLst/>
              <a:gdLst/>
              <a:ahLst/>
              <a:cxnLst/>
              <a:rect l="l" t="t" r="r" b="b"/>
              <a:pathLst>
                <a:path w="549" h="208" extrusionOk="0">
                  <a:moveTo>
                    <a:pt x="448" y="1"/>
                  </a:moveTo>
                  <a:cubicBezTo>
                    <a:pt x="425" y="2"/>
                    <a:pt x="403" y="5"/>
                    <a:pt x="380" y="9"/>
                  </a:cubicBezTo>
                  <a:cubicBezTo>
                    <a:pt x="345" y="15"/>
                    <a:pt x="309" y="23"/>
                    <a:pt x="274" y="30"/>
                  </a:cubicBezTo>
                  <a:lnTo>
                    <a:pt x="61" y="70"/>
                  </a:lnTo>
                  <a:cubicBezTo>
                    <a:pt x="24" y="78"/>
                    <a:pt x="1" y="123"/>
                    <a:pt x="11" y="157"/>
                  </a:cubicBezTo>
                  <a:cubicBezTo>
                    <a:pt x="23" y="191"/>
                    <a:pt x="50" y="208"/>
                    <a:pt x="82" y="208"/>
                  </a:cubicBezTo>
                  <a:cubicBezTo>
                    <a:pt x="87" y="208"/>
                    <a:pt x="92" y="207"/>
                    <a:pt x="98" y="206"/>
                  </a:cubicBezTo>
                  <a:lnTo>
                    <a:pt x="309" y="170"/>
                  </a:lnTo>
                  <a:cubicBezTo>
                    <a:pt x="343" y="164"/>
                    <a:pt x="378" y="159"/>
                    <a:pt x="413" y="152"/>
                  </a:cubicBezTo>
                  <a:cubicBezTo>
                    <a:pt x="430" y="149"/>
                    <a:pt x="447" y="145"/>
                    <a:pt x="464" y="141"/>
                  </a:cubicBezTo>
                  <a:cubicBezTo>
                    <a:pt x="473" y="138"/>
                    <a:pt x="483" y="133"/>
                    <a:pt x="491" y="127"/>
                  </a:cubicBezTo>
                  <a:lnTo>
                    <a:pt x="491" y="127"/>
                  </a:lnTo>
                  <a:cubicBezTo>
                    <a:pt x="491" y="127"/>
                    <a:pt x="491" y="127"/>
                    <a:pt x="491" y="127"/>
                  </a:cubicBezTo>
                  <a:cubicBezTo>
                    <a:pt x="491" y="127"/>
                    <a:pt x="497" y="123"/>
                    <a:pt x="500" y="120"/>
                  </a:cubicBezTo>
                  <a:lnTo>
                    <a:pt x="500" y="120"/>
                  </a:lnTo>
                  <a:cubicBezTo>
                    <a:pt x="502" y="119"/>
                    <a:pt x="506" y="117"/>
                    <a:pt x="507" y="117"/>
                  </a:cubicBezTo>
                  <a:lnTo>
                    <a:pt x="520" y="109"/>
                  </a:lnTo>
                  <a:cubicBezTo>
                    <a:pt x="537" y="98"/>
                    <a:pt x="548" y="76"/>
                    <a:pt x="545" y="56"/>
                  </a:cubicBezTo>
                  <a:cubicBezTo>
                    <a:pt x="543" y="35"/>
                    <a:pt x="527" y="17"/>
                    <a:pt x="507" y="12"/>
                  </a:cubicBezTo>
                  <a:cubicBezTo>
                    <a:pt x="500" y="11"/>
                    <a:pt x="491" y="10"/>
                    <a:pt x="484" y="8"/>
                  </a:cubicBezTo>
                  <a:cubicBezTo>
                    <a:pt x="472" y="5"/>
                    <a:pt x="461" y="2"/>
                    <a:pt x="44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 2">
  <p:cSld name="CUSTOM_8_1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" name="Google Shape;581;p45"/>
          <p:cNvSpPr/>
          <p:nvPr/>
        </p:nvSpPr>
        <p:spPr>
          <a:xfrm>
            <a:off x="619519" y="2010646"/>
            <a:ext cx="235" cy="229"/>
          </a:xfrm>
          <a:custGeom>
            <a:avLst/>
            <a:gdLst/>
            <a:ahLst/>
            <a:cxnLst/>
            <a:rect l="l" t="t" r="r" b="b"/>
            <a:pathLst>
              <a:path w="1" h="1" extrusionOk="0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hlink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82" name="Google Shape;582;p45"/>
          <p:cNvSpPr/>
          <p:nvPr/>
        </p:nvSpPr>
        <p:spPr>
          <a:xfrm>
            <a:off x="619519" y="3225478"/>
            <a:ext cx="235" cy="229"/>
          </a:xfrm>
          <a:custGeom>
            <a:avLst/>
            <a:gdLst/>
            <a:ahLst/>
            <a:cxnLst/>
            <a:rect l="l" t="t" r="r" b="b"/>
            <a:pathLst>
              <a:path w="1" h="1" extrusionOk="0">
                <a:moveTo>
                  <a:pt x="0" y="0"/>
                </a:moveTo>
                <a:lnTo>
                  <a:pt x="0" y="0"/>
                </a:lnTo>
                <a:close/>
              </a:path>
            </a:pathLst>
          </a:custGeom>
          <a:solidFill>
            <a:schemeClr val="hlink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83" name="Google Shape;583;p45"/>
          <p:cNvSpPr txBox="1">
            <a:spLocks noGrp="1"/>
          </p:cNvSpPr>
          <p:nvPr>
            <p:ph type="subTitle" idx="1"/>
          </p:nvPr>
        </p:nvSpPr>
        <p:spPr>
          <a:xfrm>
            <a:off x="4305800" y="1770451"/>
            <a:ext cx="3580400" cy="89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4" name="Google Shape;584;p45"/>
          <p:cNvSpPr txBox="1">
            <a:spLocks noGrp="1"/>
          </p:cNvSpPr>
          <p:nvPr>
            <p:ph type="title" hasCustomPrompt="1"/>
          </p:nvPr>
        </p:nvSpPr>
        <p:spPr>
          <a:xfrm>
            <a:off x="4250000" y="1080600"/>
            <a:ext cx="36920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585" name="Google Shape;585;p45"/>
          <p:cNvSpPr txBox="1">
            <a:spLocks noGrp="1"/>
          </p:cNvSpPr>
          <p:nvPr>
            <p:ph type="subTitle" idx="2"/>
          </p:nvPr>
        </p:nvSpPr>
        <p:spPr>
          <a:xfrm>
            <a:off x="4305800" y="5243984"/>
            <a:ext cx="3580400" cy="89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6" name="Google Shape;586;p45"/>
          <p:cNvSpPr txBox="1">
            <a:spLocks noGrp="1"/>
          </p:cNvSpPr>
          <p:nvPr>
            <p:ph type="title" idx="3" hasCustomPrompt="1"/>
          </p:nvPr>
        </p:nvSpPr>
        <p:spPr>
          <a:xfrm>
            <a:off x="4250000" y="4554133"/>
            <a:ext cx="36920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587" name="Google Shape;587;p45"/>
          <p:cNvSpPr txBox="1">
            <a:spLocks noGrp="1"/>
          </p:cNvSpPr>
          <p:nvPr>
            <p:ph type="subTitle" idx="4"/>
          </p:nvPr>
        </p:nvSpPr>
        <p:spPr>
          <a:xfrm>
            <a:off x="4305800" y="3326917"/>
            <a:ext cx="3580400" cy="89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8" name="Google Shape;588;p45"/>
          <p:cNvSpPr txBox="1">
            <a:spLocks noGrp="1"/>
          </p:cNvSpPr>
          <p:nvPr>
            <p:ph type="title" idx="5" hasCustomPrompt="1"/>
          </p:nvPr>
        </p:nvSpPr>
        <p:spPr>
          <a:xfrm>
            <a:off x="4250000" y="2637067"/>
            <a:ext cx="36920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grpSp>
        <p:nvGrpSpPr>
          <p:cNvPr id="589" name="Google Shape;589;p45"/>
          <p:cNvGrpSpPr/>
          <p:nvPr/>
        </p:nvGrpSpPr>
        <p:grpSpPr>
          <a:xfrm flipH="1">
            <a:off x="-599672" y="-432294"/>
            <a:ext cx="5039704" cy="7620963"/>
            <a:chOff x="5520025" y="2962325"/>
            <a:chExt cx="629900" cy="952525"/>
          </a:xfrm>
        </p:grpSpPr>
        <p:sp>
          <p:nvSpPr>
            <p:cNvPr id="590" name="Google Shape;590;p45"/>
            <p:cNvSpPr/>
            <p:nvPr/>
          </p:nvSpPr>
          <p:spPr>
            <a:xfrm>
              <a:off x="5520025" y="2962325"/>
              <a:ext cx="629900" cy="952525"/>
            </a:xfrm>
            <a:custGeom>
              <a:avLst/>
              <a:gdLst/>
              <a:ahLst/>
              <a:cxnLst/>
              <a:rect l="l" t="t" r="r" b="b"/>
              <a:pathLst>
                <a:path w="25196" h="38101" extrusionOk="0">
                  <a:moveTo>
                    <a:pt x="5812" y="0"/>
                  </a:moveTo>
                  <a:cubicBezTo>
                    <a:pt x="5344" y="0"/>
                    <a:pt x="4892" y="201"/>
                    <a:pt x="4483" y="705"/>
                  </a:cubicBezTo>
                  <a:cubicBezTo>
                    <a:pt x="3787" y="1563"/>
                    <a:pt x="4286" y="2585"/>
                    <a:pt x="4828" y="3371"/>
                  </a:cubicBezTo>
                  <a:cubicBezTo>
                    <a:pt x="5386" y="4183"/>
                    <a:pt x="5945" y="5036"/>
                    <a:pt x="6574" y="5809"/>
                  </a:cubicBezTo>
                  <a:cubicBezTo>
                    <a:pt x="7955" y="7509"/>
                    <a:pt x="9626" y="8948"/>
                    <a:pt x="11347" y="10292"/>
                  </a:cubicBezTo>
                  <a:cubicBezTo>
                    <a:pt x="13363" y="11867"/>
                    <a:pt x="15431" y="13351"/>
                    <a:pt x="17346" y="15048"/>
                  </a:cubicBezTo>
                  <a:cubicBezTo>
                    <a:pt x="17988" y="15616"/>
                    <a:pt x="18591" y="16258"/>
                    <a:pt x="18944" y="17040"/>
                  </a:cubicBezTo>
                  <a:cubicBezTo>
                    <a:pt x="20022" y="19419"/>
                    <a:pt x="17645" y="21228"/>
                    <a:pt x="15802" y="22191"/>
                  </a:cubicBezTo>
                  <a:cubicBezTo>
                    <a:pt x="13859" y="23206"/>
                    <a:pt x="11673" y="23812"/>
                    <a:pt x="9948" y="25213"/>
                  </a:cubicBezTo>
                  <a:cubicBezTo>
                    <a:pt x="8232" y="26605"/>
                    <a:pt x="7306" y="28698"/>
                    <a:pt x="5668" y="30165"/>
                  </a:cubicBezTo>
                  <a:cubicBezTo>
                    <a:pt x="4509" y="31202"/>
                    <a:pt x="3221" y="32113"/>
                    <a:pt x="2271" y="33358"/>
                  </a:cubicBezTo>
                  <a:cubicBezTo>
                    <a:pt x="1538" y="34318"/>
                    <a:pt x="946" y="35376"/>
                    <a:pt x="510" y="36501"/>
                  </a:cubicBezTo>
                  <a:cubicBezTo>
                    <a:pt x="237" y="37208"/>
                    <a:pt x="0" y="37469"/>
                    <a:pt x="756" y="37764"/>
                  </a:cubicBezTo>
                  <a:cubicBezTo>
                    <a:pt x="1265" y="37962"/>
                    <a:pt x="1847" y="38051"/>
                    <a:pt x="2389" y="38087"/>
                  </a:cubicBezTo>
                  <a:cubicBezTo>
                    <a:pt x="2525" y="38096"/>
                    <a:pt x="2660" y="38101"/>
                    <a:pt x="2795" y="38101"/>
                  </a:cubicBezTo>
                  <a:cubicBezTo>
                    <a:pt x="4845" y="38101"/>
                    <a:pt x="6742" y="37061"/>
                    <a:pt x="8009" y="35453"/>
                  </a:cubicBezTo>
                  <a:cubicBezTo>
                    <a:pt x="9470" y="33600"/>
                    <a:pt x="10444" y="31431"/>
                    <a:pt x="12016" y="29660"/>
                  </a:cubicBezTo>
                  <a:cubicBezTo>
                    <a:pt x="13514" y="27972"/>
                    <a:pt x="15404" y="26592"/>
                    <a:pt x="17588" y="25956"/>
                  </a:cubicBezTo>
                  <a:cubicBezTo>
                    <a:pt x="19093" y="25519"/>
                    <a:pt x="20733" y="25422"/>
                    <a:pt x="22064" y="24596"/>
                  </a:cubicBezTo>
                  <a:cubicBezTo>
                    <a:pt x="23832" y="23496"/>
                    <a:pt x="25195" y="20833"/>
                    <a:pt x="24924" y="18739"/>
                  </a:cubicBezTo>
                  <a:cubicBezTo>
                    <a:pt x="24895" y="18519"/>
                    <a:pt x="24843" y="18303"/>
                    <a:pt x="24770" y="18093"/>
                  </a:cubicBezTo>
                  <a:cubicBezTo>
                    <a:pt x="24369" y="16934"/>
                    <a:pt x="23381" y="16034"/>
                    <a:pt x="22715" y="15024"/>
                  </a:cubicBezTo>
                  <a:cubicBezTo>
                    <a:pt x="21793" y="13625"/>
                    <a:pt x="21507" y="12047"/>
                    <a:pt x="20093" y="10952"/>
                  </a:cubicBezTo>
                  <a:cubicBezTo>
                    <a:pt x="18196" y="9483"/>
                    <a:pt x="15835" y="8737"/>
                    <a:pt x="14018" y="7149"/>
                  </a:cubicBezTo>
                  <a:cubicBezTo>
                    <a:pt x="12485" y="5809"/>
                    <a:pt x="11302" y="4107"/>
                    <a:pt x="9779" y="2751"/>
                  </a:cubicBezTo>
                  <a:cubicBezTo>
                    <a:pt x="8876" y="1948"/>
                    <a:pt x="7269" y="0"/>
                    <a:pt x="581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91" name="Google Shape;591;p45"/>
            <p:cNvSpPr/>
            <p:nvPr/>
          </p:nvSpPr>
          <p:spPr>
            <a:xfrm>
              <a:off x="5963400" y="3223675"/>
              <a:ext cx="15725" cy="3900"/>
            </a:xfrm>
            <a:custGeom>
              <a:avLst/>
              <a:gdLst/>
              <a:ahLst/>
              <a:cxnLst/>
              <a:rect l="l" t="t" r="r" b="b"/>
              <a:pathLst>
                <a:path w="629" h="156" extrusionOk="0">
                  <a:moveTo>
                    <a:pt x="430" y="9"/>
                  </a:moveTo>
                  <a:cubicBezTo>
                    <a:pt x="430" y="9"/>
                    <a:pt x="431" y="9"/>
                    <a:pt x="433" y="9"/>
                  </a:cubicBezTo>
                  <a:lnTo>
                    <a:pt x="433" y="9"/>
                  </a:lnTo>
                  <a:cubicBezTo>
                    <a:pt x="431" y="9"/>
                    <a:pt x="430" y="9"/>
                    <a:pt x="430" y="9"/>
                  </a:cubicBezTo>
                  <a:close/>
                  <a:moveTo>
                    <a:pt x="435" y="146"/>
                  </a:moveTo>
                  <a:cubicBezTo>
                    <a:pt x="435" y="146"/>
                    <a:pt x="434" y="146"/>
                    <a:pt x="433" y="147"/>
                  </a:cubicBezTo>
                  <a:lnTo>
                    <a:pt x="433" y="147"/>
                  </a:lnTo>
                  <a:cubicBezTo>
                    <a:pt x="434" y="146"/>
                    <a:pt x="434" y="146"/>
                    <a:pt x="435" y="146"/>
                  </a:cubicBezTo>
                  <a:close/>
                  <a:moveTo>
                    <a:pt x="78" y="0"/>
                  </a:moveTo>
                  <a:cubicBezTo>
                    <a:pt x="35" y="0"/>
                    <a:pt x="1" y="35"/>
                    <a:pt x="1" y="78"/>
                  </a:cubicBezTo>
                  <a:cubicBezTo>
                    <a:pt x="1" y="120"/>
                    <a:pt x="35" y="155"/>
                    <a:pt x="78" y="155"/>
                  </a:cubicBezTo>
                  <a:lnTo>
                    <a:pt x="328" y="155"/>
                  </a:lnTo>
                  <a:cubicBezTo>
                    <a:pt x="332" y="155"/>
                    <a:pt x="337" y="155"/>
                    <a:pt x="341" y="155"/>
                  </a:cubicBezTo>
                  <a:cubicBezTo>
                    <a:pt x="362" y="155"/>
                    <a:pt x="383" y="154"/>
                    <a:pt x="404" y="151"/>
                  </a:cubicBezTo>
                  <a:lnTo>
                    <a:pt x="432" y="147"/>
                  </a:lnTo>
                  <a:lnTo>
                    <a:pt x="435" y="147"/>
                  </a:lnTo>
                  <a:cubicBezTo>
                    <a:pt x="441" y="147"/>
                    <a:pt x="447" y="146"/>
                    <a:pt x="452" y="146"/>
                  </a:cubicBezTo>
                  <a:cubicBezTo>
                    <a:pt x="475" y="145"/>
                    <a:pt x="500" y="143"/>
                    <a:pt x="524" y="137"/>
                  </a:cubicBezTo>
                  <a:cubicBezTo>
                    <a:pt x="544" y="133"/>
                    <a:pt x="564" y="128"/>
                    <a:pt x="585" y="122"/>
                  </a:cubicBezTo>
                  <a:cubicBezTo>
                    <a:pt x="628" y="109"/>
                    <a:pt x="628" y="48"/>
                    <a:pt x="585" y="34"/>
                  </a:cubicBezTo>
                  <a:lnTo>
                    <a:pt x="527" y="19"/>
                  </a:lnTo>
                  <a:cubicBezTo>
                    <a:pt x="503" y="14"/>
                    <a:pt x="480" y="12"/>
                    <a:pt x="455" y="11"/>
                  </a:cubicBezTo>
                  <a:lnTo>
                    <a:pt x="438" y="10"/>
                  </a:lnTo>
                  <a:cubicBezTo>
                    <a:pt x="437" y="10"/>
                    <a:pt x="435" y="10"/>
                    <a:pt x="433" y="9"/>
                  </a:cubicBezTo>
                  <a:lnTo>
                    <a:pt x="433" y="9"/>
                  </a:lnTo>
                  <a:cubicBezTo>
                    <a:pt x="423" y="8"/>
                    <a:pt x="414" y="6"/>
                    <a:pt x="404" y="4"/>
                  </a:cubicBezTo>
                  <a:cubicBezTo>
                    <a:pt x="378" y="1"/>
                    <a:pt x="353" y="0"/>
                    <a:pt x="32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92" name="Google Shape;592;p45"/>
            <p:cNvSpPr/>
            <p:nvPr/>
          </p:nvSpPr>
          <p:spPr>
            <a:xfrm>
              <a:off x="5975900" y="3236475"/>
              <a:ext cx="20525" cy="4525"/>
            </a:xfrm>
            <a:custGeom>
              <a:avLst/>
              <a:gdLst/>
              <a:ahLst/>
              <a:cxnLst/>
              <a:rect l="l" t="t" r="r" b="b"/>
              <a:pathLst>
                <a:path w="821" h="181" extrusionOk="0">
                  <a:moveTo>
                    <a:pt x="531" y="0"/>
                  </a:moveTo>
                  <a:cubicBezTo>
                    <a:pt x="526" y="0"/>
                    <a:pt x="522" y="0"/>
                    <a:pt x="517" y="1"/>
                  </a:cubicBezTo>
                  <a:cubicBezTo>
                    <a:pt x="487" y="2"/>
                    <a:pt x="458" y="6"/>
                    <a:pt x="429" y="8"/>
                  </a:cubicBezTo>
                  <a:cubicBezTo>
                    <a:pt x="311" y="17"/>
                    <a:pt x="191" y="28"/>
                    <a:pt x="72" y="42"/>
                  </a:cubicBezTo>
                  <a:cubicBezTo>
                    <a:pt x="37" y="46"/>
                    <a:pt x="1" y="71"/>
                    <a:pt x="3" y="111"/>
                  </a:cubicBezTo>
                  <a:cubicBezTo>
                    <a:pt x="3" y="149"/>
                    <a:pt x="34" y="181"/>
                    <a:pt x="72" y="181"/>
                  </a:cubicBezTo>
                  <a:lnTo>
                    <a:pt x="73" y="181"/>
                  </a:lnTo>
                  <a:cubicBezTo>
                    <a:pt x="135" y="179"/>
                    <a:pt x="196" y="179"/>
                    <a:pt x="257" y="175"/>
                  </a:cubicBezTo>
                  <a:lnTo>
                    <a:pt x="434" y="164"/>
                  </a:lnTo>
                  <a:cubicBezTo>
                    <a:pt x="462" y="162"/>
                    <a:pt x="493" y="161"/>
                    <a:pt x="521" y="158"/>
                  </a:cubicBezTo>
                  <a:cubicBezTo>
                    <a:pt x="555" y="155"/>
                    <a:pt x="589" y="147"/>
                    <a:pt x="623" y="142"/>
                  </a:cubicBezTo>
                  <a:lnTo>
                    <a:pt x="712" y="126"/>
                  </a:lnTo>
                  <a:cubicBezTo>
                    <a:pt x="727" y="124"/>
                    <a:pt x="742" y="121"/>
                    <a:pt x="756" y="118"/>
                  </a:cubicBezTo>
                  <a:cubicBezTo>
                    <a:pt x="773" y="111"/>
                    <a:pt x="788" y="101"/>
                    <a:pt x="802" y="89"/>
                  </a:cubicBezTo>
                  <a:cubicBezTo>
                    <a:pt x="821" y="72"/>
                    <a:pt x="812" y="40"/>
                    <a:pt x="794" y="28"/>
                  </a:cubicBezTo>
                  <a:cubicBezTo>
                    <a:pt x="778" y="17"/>
                    <a:pt x="760" y="10"/>
                    <a:pt x="741" y="8"/>
                  </a:cubicBezTo>
                  <a:cubicBezTo>
                    <a:pt x="726" y="6"/>
                    <a:pt x="710" y="6"/>
                    <a:pt x="695" y="5"/>
                  </a:cubicBezTo>
                  <a:lnTo>
                    <a:pt x="610" y="3"/>
                  </a:lnTo>
                  <a:cubicBezTo>
                    <a:pt x="584" y="3"/>
                    <a:pt x="558" y="0"/>
                    <a:pt x="53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93" name="Google Shape;593;p45"/>
            <p:cNvSpPr/>
            <p:nvPr/>
          </p:nvSpPr>
          <p:spPr>
            <a:xfrm>
              <a:off x="5710550" y="3111200"/>
              <a:ext cx="14425" cy="4025"/>
            </a:xfrm>
            <a:custGeom>
              <a:avLst/>
              <a:gdLst/>
              <a:ahLst/>
              <a:cxnLst/>
              <a:rect l="l" t="t" r="r" b="b"/>
              <a:pathLst>
                <a:path w="577" h="161" extrusionOk="0">
                  <a:moveTo>
                    <a:pt x="80" y="0"/>
                  </a:moveTo>
                  <a:cubicBezTo>
                    <a:pt x="37" y="0"/>
                    <a:pt x="1" y="36"/>
                    <a:pt x="1" y="81"/>
                  </a:cubicBezTo>
                  <a:cubicBezTo>
                    <a:pt x="1" y="126"/>
                    <a:pt x="37" y="161"/>
                    <a:pt x="80" y="161"/>
                  </a:cubicBezTo>
                  <a:cubicBezTo>
                    <a:pt x="82" y="161"/>
                    <a:pt x="83" y="161"/>
                    <a:pt x="84" y="161"/>
                  </a:cubicBezTo>
                  <a:lnTo>
                    <a:pt x="294" y="159"/>
                  </a:lnTo>
                  <a:lnTo>
                    <a:pt x="399" y="157"/>
                  </a:lnTo>
                  <a:lnTo>
                    <a:pt x="478" y="157"/>
                  </a:lnTo>
                  <a:cubicBezTo>
                    <a:pt x="495" y="156"/>
                    <a:pt x="512" y="152"/>
                    <a:pt x="528" y="145"/>
                  </a:cubicBezTo>
                  <a:cubicBezTo>
                    <a:pt x="576" y="124"/>
                    <a:pt x="576" y="37"/>
                    <a:pt x="528" y="16"/>
                  </a:cubicBezTo>
                  <a:cubicBezTo>
                    <a:pt x="512" y="9"/>
                    <a:pt x="495" y="5"/>
                    <a:pt x="478" y="4"/>
                  </a:cubicBezTo>
                  <a:lnTo>
                    <a:pt x="399" y="4"/>
                  </a:lnTo>
                  <a:lnTo>
                    <a:pt x="294" y="3"/>
                  </a:lnTo>
                  <a:lnTo>
                    <a:pt x="84" y="0"/>
                  </a:lnTo>
                  <a:cubicBezTo>
                    <a:pt x="83" y="0"/>
                    <a:pt x="82" y="0"/>
                    <a:pt x="8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94" name="Google Shape;594;p45"/>
            <p:cNvSpPr/>
            <p:nvPr/>
          </p:nvSpPr>
          <p:spPr>
            <a:xfrm>
              <a:off x="5721125" y="3120225"/>
              <a:ext cx="20800" cy="4550"/>
            </a:xfrm>
            <a:custGeom>
              <a:avLst/>
              <a:gdLst/>
              <a:ahLst/>
              <a:cxnLst/>
              <a:rect l="l" t="t" r="r" b="b"/>
              <a:pathLst>
                <a:path w="832" h="182" extrusionOk="0">
                  <a:moveTo>
                    <a:pt x="554" y="0"/>
                  </a:moveTo>
                  <a:cubicBezTo>
                    <a:pt x="542" y="0"/>
                    <a:pt x="531" y="0"/>
                    <a:pt x="519" y="1"/>
                  </a:cubicBezTo>
                  <a:lnTo>
                    <a:pt x="431" y="2"/>
                  </a:lnTo>
                  <a:cubicBezTo>
                    <a:pt x="371" y="3"/>
                    <a:pt x="311" y="3"/>
                    <a:pt x="250" y="6"/>
                  </a:cubicBezTo>
                  <a:cubicBezTo>
                    <a:pt x="185" y="6"/>
                    <a:pt x="120" y="12"/>
                    <a:pt x="54" y="21"/>
                  </a:cubicBezTo>
                  <a:cubicBezTo>
                    <a:pt x="23" y="29"/>
                    <a:pt x="1" y="58"/>
                    <a:pt x="1" y="91"/>
                  </a:cubicBezTo>
                  <a:cubicBezTo>
                    <a:pt x="3" y="120"/>
                    <a:pt x="23" y="155"/>
                    <a:pt x="54" y="160"/>
                  </a:cubicBezTo>
                  <a:cubicBezTo>
                    <a:pt x="119" y="172"/>
                    <a:pt x="185" y="173"/>
                    <a:pt x="250" y="175"/>
                  </a:cubicBezTo>
                  <a:cubicBezTo>
                    <a:pt x="311" y="178"/>
                    <a:pt x="371" y="178"/>
                    <a:pt x="431" y="178"/>
                  </a:cubicBezTo>
                  <a:lnTo>
                    <a:pt x="519" y="180"/>
                  </a:lnTo>
                  <a:cubicBezTo>
                    <a:pt x="529" y="181"/>
                    <a:pt x="538" y="181"/>
                    <a:pt x="547" y="181"/>
                  </a:cubicBezTo>
                  <a:cubicBezTo>
                    <a:pt x="574" y="181"/>
                    <a:pt x="601" y="179"/>
                    <a:pt x="628" y="175"/>
                  </a:cubicBezTo>
                  <a:cubicBezTo>
                    <a:pt x="657" y="170"/>
                    <a:pt x="686" y="166"/>
                    <a:pt x="715" y="161"/>
                  </a:cubicBezTo>
                  <a:cubicBezTo>
                    <a:pt x="751" y="156"/>
                    <a:pt x="785" y="154"/>
                    <a:pt x="811" y="128"/>
                  </a:cubicBezTo>
                  <a:cubicBezTo>
                    <a:pt x="831" y="106"/>
                    <a:pt x="831" y="74"/>
                    <a:pt x="811" y="54"/>
                  </a:cubicBezTo>
                  <a:cubicBezTo>
                    <a:pt x="785" y="27"/>
                    <a:pt x="751" y="25"/>
                    <a:pt x="715" y="20"/>
                  </a:cubicBezTo>
                  <a:cubicBezTo>
                    <a:pt x="686" y="16"/>
                    <a:pt x="657" y="11"/>
                    <a:pt x="628" y="5"/>
                  </a:cubicBezTo>
                  <a:cubicBezTo>
                    <a:pt x="603" y="2"/>
                    <a:pt x="578" y="0"/>
                    <a:pt x="55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95" name="Google Shape;595;p45"/>
            <p:cNvSpPr/>
            <p:nvPr/>
          </p:nvSpPr>
          <p:spPr>
            <a:xfrm>
              <a:off x="6027825" y="3548775"/>
              <a:ext cx="29450" cy="6600"/>
            </a:xfrm>
            <a:custGeom>
              <a:avLst/>
              <a:gdLst/>
              <a:ahLst/>
              <a:cxnLst/>
              <a:rect l="l" t="t" r="r" b="b"/>
              <a:pathLst>
                <a:path w="1178" h="264" extrusionOk="0">
                  <a:moveTo>
                    <a:pt x="57" y="0"/>
                  </a:moveTo>
                  <a:cubicBezTo>
                    <a:pt x="29" y="0"/>
                    <a:pt x="7" y="20"/>
                    <a:pt x="4" y="47"/>
                  </a:cubicBezTo>
                  <a:cubicBezTo>
                    <a:pt x="1" y="71"/>
                    <a:pt x="15" y="100"/>
                    <a:pt x="42" y="106"/>
                  </a:cubicBezTo>
                  <a:lnTo>
                    <a:pt x="43" y="106"/>
                  </a:lnTo>
                  <a:cubicBezTo>
                    <a:pt x="113" y="118"/>
                    <a:pt x="183" y="134"/>
                    <a:pt x="254" y="144"/>
                  </a:cubicBezTo>
                  <a:cubicBezTo>
                    <a:pt x="324" y="153"/>
                    <a:pt x="396" y="165"/>
                    <a:pt x="468" y="175"/>
                  </a:cubicBezTo>
                  <a:cubicBezTo>
                    <a:pt x="610" y="198"/>
                    <a:pt x="753" y="218"/>
                    <a:pt x="896" y="244"/>
                  </a:cubicBezTo>
                  <a:cubicBezTo>
                    <a:pt x="940" y="252"/>
                    <a:pt x="984" y="255"/>
                    <a:pt x="1029" y="260"/>
                  </a:cubicBezTo>
                  <a:cubicBezTo>
                    <a:pt x="1049" y="262"/>
                    <a:pt x="1067" y="263"/>
                    <a:pt x="1087" y="263"/>
                  </a:cubicBezTo>
                  <a:cubicBezTo>
                    <a:pt x="1094" y="263"/>
                    <a:pt x="1101" y="263"/>
                    <a:pt x="1108" y="263"/>
                  </a:cubicBezTo>
                  <a:cubicBezTo>
                    <a:pt x="1111" y="263"/>
                    <a:pt x="1115" y="263"/>
                    <a:pt x="1118" y="263"/>
                  </a:cubicBezTo>
                  <a:cubicBezTo>
                    <a:pt x="1134" y="262"/>
                    <a:pt x="1149" y="254"/>
                    <a:pt x="1160" y="244"/>
                  </a:cubicBezTo>
                  <a:cubicBezTo>
                    <a:pt x="1174" y="230"/>
                    <a:pt x="1177" y="209"/>
                    <a:pt x="1168" y="192"/>
                  </a:cubicBezTo>
                  <a:cubicBezTo>
                    <a:pt x="1156" y="171"/>
                    <a:pt x="1135" y="164"/>
                    <a:pt x="1114" y="155"/>
                  </a:cubicBezTo>
                  <a:cubicBezTo>
                    <a:pt x="1095" y="148"/>
                    <a:pt x="1077" y="140"/>
                    <a:pt x="1059" y="135"/>
                  </a:cubicBezTo>
                  <a:cubicBezTo>
                    <a:pt x="1025" y="125"/>
                    <a:pt x="991" y="115"/>
                    <a:pt x="956" y="108"/>
                  </a:cubicBezTo>
                  <a:cubicBezTo>
                    <a:pt x="885" y="95"/>
                    <a:pt x="814" y="82"/>
                    <a:pt x="743" y="71"/>
                  </a:cubicBezTo>
                  <a:cubicBezTo>
                    <a:pt x="595" y="48"/>
                    <a:pt x="449" y="29"/>
                    <a:pt x="301" y="13"/>
                  </a:cubicBezTo>
                  <a:cubicBezTo>
                    <a:pt x="220" y="4"/>
                    <a:pt x="138" y="2"/>
                    <a:pt x="5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96" name="Google Shape;596;p45"/>
            <p:cNvSpPr/>
            <p:nvPr/>
          </p:nvSpPr>
          <p:spPr>
            <a:xfrm>
              <a:off x="6046975" y="3546550"/>
              <a:ext cx="19900" cy="4600"/>
            </a:xfrm>
            <a:custGeom>
              <a:avLst/>
              <a:gdLst/>
              <a:ahLst/>
              <a:cxnLst/>
              <a:rect l="l" t="t" r="r" b="b"/>
              <a:pathLst>
                <a:path w="796" h="184" extrusionOk="0">
                  <a:moveTo>
                    <a:pt x="74" y="1"/>
                  </a:moveTo>
                  <a:cubicBezTo>
                    <a:pt x="33" y="1"/>
                    <a:pt x="0" y="33"/>
                    <a:pt x="0" y="73"/>
                  </a:cubicBezTo>
                  <a:cubicBezTo>
                    <a:pt x="1" y="113"/>
                    <a:pt x="34" y="146"/>
                    <a:pt x="74" y="147"/>
                  </a:cubicBezTo>
                  <a:lnTo>
                    <a:pt x="407" y="169"/>
                  </a:lnTo>
                  <a:cubicBezTo>
                    <a:pt x="462" y="173"/>
                    <a:pt x="516" y="178"/>
                    <a:pt x="570" y="179"/>
                  </a:cubicBezTo>
                  <a:lnTo>
                    <a:pt x="655" y="182"/>
                  </a:lnTo>
                  <a:lnTo>
                    <a:pt x="695" y="183"/>
                  </a:lnTo>
                  <a:cubicBezTo>
                    <a:pt x="714" y="183"/>
                    <a:pt x="733" y="179"/>
                    <a:pt x="750" y="171"/>
                  </a:cubicBezTo>
                  <a:cubicBezTo>
                    <a:pt x="772" y="165"/>
                    <a:pt x="789" y="146"/>
                    <a:pt x="792" y="123"/>
                  </a:cubicBezTo>
                  <a:cubicBezTo>
                    <a:pt x="795" y="100"/>
                    <a:pt x="783" y="77"/>
                    <a:pt x="763" y="65"/>
                  </a:cubicBezTo>
                  <a:cubicBezTo>
                    <a:pt x="757" y="62"/>
                    <a:pt x="752" y="59"/>
                    <a:pt x="746" y="55"/>
                  </a:cubicBezTo>
                  <a:cubicBezTo>
                    <a:pt x="732" y="48"/>
                    <a:pt x="717" y="45"/>
                    <a:pt x="701" y="44"/>
                  </a:cubicBezTo>
                  <a:lnTo>
                    <a:pt x="662" y="40"/>
                  </a:lnTo>
                  <a:lnTo>
                    <a:pt x="577" y="31"/>
                  </a:lnTo>
                  <a:cubicBezTo>
                    <a:pt x="521" y="26"/>
                    <a:pt x="466" y="24"/>
                    <a:pt x="410" y="21"/>
                  </a:cubicBezTo>
                  <a:lnTo>
                    <a:pt x="74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97" name="Google Shape;597;p45"/>
            <p:cNvSpPr/>
            <p:nvPr/>
          </p:nvSpPr>
          <p:spPr>
            <a:xfrm>
              <a:off x="6001675" y="3472425"/>
              <a:ext cx="18425" cy="5800"/>
            </a:xfrm>
            <a:custGeom>
              <a:avLst/>
              <a:gdLst/>
              <a:ahLst/>
              <a:cxnLst/>
              <a:rect l="l" t="t" r="r" b="b"/>
              <a:pathLst>
                <a:path w="737" h="232" extrusionOk="0">
                  <a:moveTo>
                    <a:pt x="76" y="1"/>
                  </a:moveTo>
                  <a:cubicBezTo>
                    <a:pt x="46" y="1"/>
                    <a:pt x="15" y="17"/>
                    <a:pt x="8" y="49"/>
                  </a:cubicBezTo>
                  <a:cubicBezTo>
                    <a:pt x="1" y="83"/>
                    <a:pt x="19" y="124"/>
                    <a:pt x="56" y="133"/>
                  </a:cubicBezTo>
                  <a:lnTo>
                    <a:pt x="56" y="132"/>
                  </a:lnTo>
                  <a:cubicBezTo>
                    <a:pt x="161" y="154"/>
                    <a:pt x="265" y="177"/>
                    <a:pt x="370" y="198"/>
                  </a:cubicBezTo>
                  <a:cubicBezTo>
                    <a:pt x="421" y="208"/>
                    <a:pt x="474" y="214"/>
                    <a:pt x="527" y="222"/>
                  </a:cubicBezTo>
                  <a:cubicBezTo>
                    <a:pt x="552" y="226"/>
                    <a:pt x="578" y="231"/>
                    <a:pt x="603" y="231"/>
                  </a:cubicBezTo>
                  <a:cubicBezTo>
                    <a:pt x="610" y="231"/>
                    <a:pt x="618" y="231"/>
                    <a:pt x="625" y="230"/>
                  </a:cubicBezTo>
                  <a:cubicBezTo>
                    <a:pt x="629" y="229"/>
                    <a:pt x="631" y="229"/>
                    <a:pt x="631" y="229"/>
                  </a:cubicBezTo>
                  <a:lnTo>
                    <a:pt x="631" y="229"/>
                  </a:lnTo>
                  <a:cubicBezTo>
                    <a:pt x="632" y="229"/>
                    <a:pt x="631" y="229"/>
                    <a:pt x="628" y="230"/>
                  </a:cubicBezTo>
                  <a:lnTo>
                    <a:pt x="638" y="231"/>
                  </a:lnTo>
                  <a:lnTo>
                    <a:pt x="658" y="232"/>
                  </a:lnTo>
                  <a:cubicBezTo>
                    <a:pt x="673" y="232"/>
                    <a:pt x="688" y="231"/>
                    <a:pt x="704" y="228"/>
                  </a:cubicBezTo>
                  <a:cubicBezTo>
                    <a:pt x="721" y="223"/>
                    <a:pt x="732" y="209"/>
                    <a:pt x="735" y="193"/>
                  </a:cubicBezTo>
                  <a:cubicBezTo>
                    <a:pt x="737" y="175"/>
                    <a:pt x="728" y="159"/>
                    <a:pt x="715" y="150"/>
                  </a:cubicBezTo>
                  <a:cubicBezTo>
                    <a:pt x="702" y="142"/>
                    <a:pt x="688" y="136"/>
                    <a:pt x="674" y="131"/>
                  </a:cubicBezTo>
                  <a:cubicBezTo>
                    <a:pt x="665" y="127"/>
                    <a:pt x="656" y="124"/>
                    <a:pt x="646" y="120"/>
                  </a:cubicBezTo>
                  <a:cubicBezTo>
                    <a:pt x="620" y="107"/>
                    <a:pt x="591" y="98"/>
                    <a:pt x="563" y="94"/>
                  </a:cubicBezTo>
                  <a:cubicBezTo>
                    <a:pt x="510" y="81"/>
                    <a:pt x="458" y="67"/>
                    <a:pt x="406" y="58"/>
                  </a:cubicBezTo>
                  <a:cubicBezTo>
                    <a:pt x="301" y="39"/>
                    <a:pt x="197" y="20"/>
                    <a:pt x="91" y="2"/>
                  </a:cubicBezTo>
                  <a:cubicBezTo>
                    <a:pt x="86" y="1"/>
                    <a:pt x="81" y="1"/>
                    <a:pt x="7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98" name="Google Shape;598;p45"/>
            <p:cNvSpPr/>
            <p:nvPr/>
          </p:nvSpPr>
          <p:spPr>
            <a:xfrm>
              <a:off x="6012225" y="3459975"/>
              <a:ext cx="13225" cy="4700"/>
            </a:xfrm>
            <a:custGeom>
              <a:avLst/>
              <a:gdLst/>
              <a:ahLst/>
              <a:cxnLst/>
              <a:rect l="l" t="t" r="r" b="b"/>
              <a:pathLst>
                <a:path w="529" h="188" extrusionOk="0">
                  <a:moveTo>
                    <a:pt x="173" y="0"/>
                  </a:moveTo>
                  <a:cubicBezTo>
                    <a:pt x="131" y="0"/>
                    <a:pt x="89" y="4"/>
                    <a:pt x="48" y="14"/>
                  </a:cubicBezTo>
                  <a:cubicBezTo>
                    <a:pt x="17" y="19"/>
                    <a:pt x="1" y="53"/>
                    <a:pt x="4" y="80"/>
                  </a:cubicBezTo>
                  <a:cubicBezTo>
                    <a:pt x="8" y="106"/>
                    <a:pt x="31" y="133"/>
                    <a:pt x="59" y="133"/>
                  </a:cubicBezTo>
                  <a:cubicBezTo>
                    <a:pt x="61" y="133"/>
                    <a:pt x="62" y="133"/>
                    <a:pt x="64" y="133"/>
                  </a:cubicBezTo>
                  <a:cubicBezTo>
                    <a:pt x="90" y="131"/>
                    <a:pt x="116" y="129"/>
                    <a:pt x="142" y="129"/>
                  </a:cubicBezTo>
                  <a:cubicBezTo>
                    <a:pt x="151" y="129"/>
                    <a:pt x="159" y="130"/>
                    <a:pt x="168" y="130"/>
                  </a:cubicBezTo>
                  <a:cubicBezTo>
                    <a:pt x="203" y="130"/>
                    <a:pt x="239" y="134"/>
                    <a:pt x="275" y="134"/>
                  </a:cubicBezTo>
                  <a:cubicBezTo>
                    <a:pt x="275" y="134"/>
                    <a:pt x="275" y="134"/>
                    <a:pt x="276" y="134"/>
                  </a:cubicBezTo>
                  <a:lnTo>
                    <a:pt x="276" y="134"/>
                  </a:lnTo>
                  <a:cubicBezTo>
                    <a:pt x="276" y="134"/>
                    <a:pt x="276" y="134"/>
                    <a:pt x="276" y="134"/>
                  </a:cubicBezTo>
                  <a:lnTo>
                    <a:pt x="290" y="136"/>
                  </a:lnTo>
                  <a:cubicBezTo>
                    <a:pt x="299" y="138"/>
                    <a:pt x="306" y="139"/>
                    <a:pt x="315" y="141"/>
                  </a:cubicBezTo>
                  <a:cubicBezTo>
                    <a:pt x="333" y="145"/>
                    <a:pt x="349" y="150"/>
                    <a:pt x="367" y="154"/>
                  </a:cubicBezTo>
                  <a:cubicBezTo>
                    <a:pt x="401" y="165"/>
                    <a:pt x="433" y="181"/>
                    <a:pt x="468" y="187"/>
                  </a:cubicBezTo>
                  <a:cubicBezTo>
                    <a:pt x="471" y="188"/>
                    <a:pt x="474" y="188"/>
                    <a:pt x="477" y="188"/>
                  </a:cubicBezTo>
                  <a:cubicBezTo>
                    <a:pt x="509" y="188"/>
                    <a:pt x="529" y="149"/>
                    <a:pt x="504" y="124"/>
                  </a:cubicBezTo>
                  <a:cubicBezTo>
                    <a:pt x="477" y="95"/>
                    <a:pt x="443" y="74"/>
                    <a:pt x="407" y="60"/>
                  </a:cubicBezTo>
                  <a:cubicBezTo>
                    <a:pt x="371" y="43"/>
                    <a:pt x="332" y="30"/>
                    <a:pt x="294" y="19"/>
                  </a:cubicBezTo>
                  <a:cubicBezTo>
                    <a:pt x="255" y="8"/>
                    <a:pt x="215" y="1"/>
                    <a:pt x="17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99" name="Google Shape;599;p45"/>
            <p:cNvSpPr/>
            <p:nvPr/>
          </p:nvSpPr>
          <p:spPr>
            <a:xfrm>
              <a:off x="5783525" y="3676650"/>
              <a:ext cx="22225" cy="3550"/>
            </a:xfrm>
            <a:custGeom>
              <a:avLst/>
              <a:gdLst/>
              <a:ahLst/>
              <a:cxnLst/>
              <a:rect l="l" t="t" r="r" b="b"/>
              <a:pathLst>
                <a:path w="889" h="142" extrusionOk="0">
                  <a:moveTo>
                    <a:pt x="555" y="1"/>
                  </a:moveTo>
                  <a:cubicBezTo>
                    <a:pt x="524" y="1"/>
                    <a:pt x="493" y="1"/>
                    <a:pt x="462" y="1"/>
                  </a:cubicBezTo>
                  <a:lnTo>
                    <a:pt x="94" y="1"/>
                  </a:lnTo>
                  <a:cubicBezTo>
                    <a:pt x="94" y="1"/>
                    <a:pt x="93" y="1"/>
                    <a:pt x="93" y="1"/>
                  </a:cubicBezTo>
                  <a:cubicBezTo>
                    <a:pt x="0" y="1"/>
                    <a:pt x="1" y="141"/>
                    <a:pt x="94" y="141"/>
                  </a:cubicBezTo>
                  <a:lnTo>
                    <a:pt x="462" y="141"/>
                  </a:lnTo>
                  <a:cubicBezTo>
                    <a:pt x="523" y="141"/>
                    <a:pt x="584" y="141"/>
                    <a:pt x="646" y="139"/>
                  </a:cubicBezTo>
                  <a:cubicBezTo>
                    <a:pt x="677" y="138"/>
                    <a:pt x="709" y="139"/>
                    <a:pt x="739" y="136"/>
                  </a:cubicBezTo>
                  <a:lnTo>
                    <a:pt x="781" y="130"/>
                  </a:lnTo>
                  <a:cubicBezTo>
                    <a:pt x="800" y="130"/>
                    <a:pt x="820" y="127"/>
                    <a:pt x="838" y="122"/>
                  </a:cubicBezTo>
                  <a:cubicBezTo>
                    <a:pt x="889" y="106"/>
                    <a:pt x="889" y="35"/>
                    <a:pt x="838" y="19"/>
                  </a:cubicBezTo>
                  <a:cubicBezTo>
                    <a:pt x="821" y="13"/>
                    <a:pt x="803" y="11"/>
                    <a:pt x="785" y="10"/>
                  </a:cubicBezTo>
                  <a:cubicBezTo>
                    <a:pt x="770" y="9"/>
                    <a:pt x="754" y="7"/>
                    <a:pt x="739" y="6"/>
                  </a:cubicBezTo>
                  <a:cubicBezTo>
                    <a:pt x="709" y="2"/>
                    <a:pt x="677" y="3"/>
                    <a:pt x="646" y="2"/>
                  </a:cubicBezTo>
                  <a:cubicBezTo>
                    <a:pt x="616" y="1"/>
                    <a:pt x="585" y="1"/>
                    <a:pt x="55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00" name="Google Shape;600;p45"/>
            <p:cNvSpPr/>
            <p:nvPr/>
          </p:nvSpPr>
          <p:spPr>
            <a:xfrm>
              <a:off x="5914000" y="3591500"/>
              <a:ext cx="22475" cy="5075"/>
            </a:xfrm>
            <a:custGeom>
              <a:avLst/>
              <a:gdLst/>
              <a:ahLst/>
              <a:cxnLst/>
              <a:rect l="l" t="t" r="r" b="b"/>
              <a:pathLst>
                <a:path w="899" h="203" extrusionOk="0">
                  <a:moveTo>
                    <a:pt x="779" y="0"/>
                  </a:moveTo>
                  <a:cubicBezTo>
                    <a:pt x="768" y="1"/>
                    <a:pt x="756" y="3"/>
                    <a:pt x="745" y="6"/>
                  </a:cubicBezTo>
                  <a:cubicBezTo>
                    <a:pt x="692" y="16"/>
                    <a:pt x="638" y="25"/>
                    <a:pt x="584" y="33"/>
                  </a:cubicBezTo>
                  <a:lnTo>
                    <a:pt x="547" y="39"/>
                  </a:lnTo>
                  <a:lnTo>
                    <a:pt x="528" y="41"/>
                  </a:lnTo>
                  <a:lnTo>
                    <a:pt x="519" y="42"/>
                  </a:lnTo>
                  <a:cubicBezTo>
                    <a:pt x="492" y="47"/>
                    <a:pt x="466" y="50"/>
                    <a:pt x="440" y="52"/>
                  </a:cubicBezTo>
                  <a:cubicBezTo>
                    <a:pt x="318" y="66"/>
                    <a:pt x="196" y="74"/>
                    <a:pt x="74" y="78"/>
                  </a:cubicBezTo>
                  <a:cubicBezTo>
                    <a:pt x="0" y="83"/>
                    <a:pt x="0" y="191"/>
                    <a:pt x="74" y="194"/>
                  </a:cubicBezTo>
                  <a:cubicBezTo>
                    <a:pt x="139" y="200"/>
                    <a:pt x="204" y="203"/>
                    <a:pt x="270" y="203"/>
                  </a:cubicBezTo>
                  <a:cubicBezTo>
                    <a:pt x="424" y="203"/>
                    <a:pt x="578" y="187"/>
                    <a:pt x="730" y="154"/>
                  </a:cubicBezTo>
                  <a:cubicBezTo>
                    <a:pt x="759" y="148"/>
                    <a:pt x="792" y="144"/>
                    <a:pt x="818" y="130"/>
                  </a:cubicBezTo>
                  <a:cubicBezTo>
                    <a:pt x="829" y="125"/>
                    <a:pt x="838" y="117"/>
                    <a:pt x="849" y="111"/>
                  </a:cubicBezTo>
                  <a:cubicBezTo>
                    <a:pt x="864" y="103"/>
                    <a:pt x="877" y="92"/>
                    <a:pt x="888" y="78"/>
                  </a:cubicBezTo>
                  <a:cubicBezTo>
                    <a:pt x="898" y="62"/>
                    <a:pt x="897" y="40"/>
                    <a:pt x="884" y="27"/>
                  </a:cubicBezTo>
                  <a:cubicBezTo>
                    <a:pt x="871" y="14"/>
                    <a:pt x="853" y="7"/>
                    <a:pt x="835" y="7"/>
                  </a:cubicBezTo>
                  <a:lnTo>
                    <a:pt x="817" y="6"/>
                  </a:lnTo>
                  <a:cubicBezTo>
                    <a:pt x="814" y="6"/>
                    <a:pt x="811" y="6"/>
                    <a:pt x="808" y="5"/>
                  </a:cubicBezTo>
                  <a:lnTo>
                    <a:pt x="808" y="5"/>
                  </a:lnTo>
                  <a:cubicBezTo>
                    <a:pt x="808" y="5"/>
                    <a:pt x="812" y="5"/>
                    <a:pt x="813" y="5"/>
                  </a:cubicBezTo>
                  <a:cubicBezTo>
                    <a:pt x="813" y="5"/>
                    <a:pt x="812" y="5"/>
                    <a:pt x="810" y="5"/>
                  </a:cubicBezTo>
                  <a:cubicBezTo>
                    <a:pt x="799" y="2"/>
                    <a:pt x="790" y="1"/>
                    <a:pt x="77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01" name="Google Shape;601;p45"/>
            <p:cNvSpPr/>
            <p:nvPr/>
          </p:nvSpPr>
          <p:spPr>
            <a:xfrm>
              <a:off x="5897375" y="3603275"/>
              <a:ext cx="13725" cy="5200"/>
            </a:xfrm>
            <a:custGeom>
              <a:avLst/>
              <a:gdLst/>
              <a:ahLst/>
              <a:cxnLst/>
              <a:rect l="l" t="t" r="r" b="b"/>
              <a:pathLst>
                <a:path w="549" h="208" extrusionOk="0">
                  <a:moveTo>
                    <a:pt x="448" y="1"/>
                  </a:moveTo>
                  <a:cubicBezTo>
                    <a:pt x="425" y="2"/>
                    <a:pt x="403" y="5"/>
                    <a:pt x="380" y="9"/>
                  </a:cubicBezTo>
                  <a:cubicBezTo>
                    <a:pt x="345" y="15"/>
                    <a:pt x="309" y="23"/>
                    <a:pt x="274" y="30"/>
                  </a:cubicBezTo>
                  <a:lnTo>
                    <a:pt x="61" y="70"/>
                  </a:lnTo>
                  <a:cubicBezTo>
                    <a:pt x="24" y="78"/>
                    <a:pt x="1" y="123"/>
                    <a:pt x="11" y="157"/>
                  </a:cubicBezTo>
                  <a:cubicBezTo>
                    <a:pt x="23" y="191"/>
                    <a:pt x="50" y="208"/>
                    <a:pt x="82" y="208"/>
                  </a:cubicBezTo>
                  <a:cubicBezTo>
                    <a:pt x="87" y="208"/>
                    <a:pt x="92" y="207"/>
                    <a:pt x="98" y="206"/>
                  </a:cubicBezTo>
                  <a:lnTo>
                    <a:pt x="309" y="170"/>
                  </a:lnTo>
                  <a:cubicBezTo>
                    <a:pt x="343" y="164"/>
                    <a:pt x="378" y="159"/>
                    <a:pt x="413" y="152"/>
                  </a:cubicBezTo>
                  <a:cubicBezTo>
                    <a:pt x="430" y="149"/>
                    <a:pt x="447" y="145"/>
                    <a:pt x="464" y="141"/>
                  </a:cubicBezTo>
                  <a:cubicBezTo>
                    <a:pt x="473" y="138"/>
                    <a:pt x="483" y="133"/>
                    <a:pt x="491" y="127"/>
                  </a:cubicBezTo>
                  <a:lnTo>
                    <a:pt x="491" y="127"/>
                  </a:lnTo>
                  <a:cubicBezTo>
                    <a:pt x="491" y="127"/>
                    <a:pt x="491" y="127"/>
                    <a:pt x="491" y="127"/>
                  </a:cubicBezTo>
                  <a:cubicBezTo>
                    <a:pt x="491" y="127"/>
                    <a:pt x="497" y="123"/>
                    <a:pt x="500" y="120"/>
                  </a:cubicBezTo>
                  <a:lnTo>
                    <a:pt x="500" y="120"/>
                  </a:lnTo>
                  <a:cubicBezTo>
                    <a:pt x="502" y="119"/>
                    <a:pt x="506" y="117"/>
                    <a:pt x="507" y="117"/>
                  </a:cubicBezTo>
                  <a:lnTo>
                    <a:pt x="520" y="109"/>
                  </a:lnTo>
                  <a:cubicBezTo>
                    <a:pt x="537" y="98"/>
                    <a:pt x="548" y="76"/>
                    <a:pt x="545" y="56"/>
                  </a:cubicBezTo>
                  <a:cubicBezTo>
                    <a:pt x="543" y="35"/>
                    <a:pt x="527" y="17"/>
                    <a:pt x="507" y="12"/>
                  </a:cubicBezTo>
                  <a:cubicBezTo>
                    <a:pt x="500" y="11"/>
                    <a:pt x="491" y="10"/>
                    <a:pt x="484" y="8"/>
                  </a:cubicBezTo>
                  <a:cubicBezTo>
                    <a:pt x="472" y="5"/>
                    <a:pt x="461" y="2"/>
                    <a:pt x="44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 3">
  <p:cSld name="CUSTOM_9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46"/>
          <p:cNvSpPr txBox="1">
            <a:spLocks noGrp="1"/>
          </p:cNvSpPr>
          <p:nvPr>
            <p:ph type="ctrTitle"/>
          </p:nvPr>
        </p:nvSpPr>
        <p:spPr>
          <a:xfrm>
            <a:off x="2919300" y="720000"/>
            <a:ext cx="1458400" cy="1206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604" name="Google Shape;604;p46"/>
          <p:cNvSpPr txBox="1">
            <a:spLocks noGrp="1"/>
          </p:cNvSpPr>
          <p:nvPr>
            <p:ph type="subTitle" idx="1"/>
          </p:nvPr>
        </p:nvSpPr>
        <p:spPr>
          <a:xfrm>
            <a:off x="2919316" y="2106900"/>
            <a:ext cx="2667200" cy="77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605" name="Google Shape;605;p46"/>
          <p:cNvSpPr txBox="1">
            <a:spLocks noGrp="1"/>
          </p:cNvSpPr>
          <p:nvPr>
            <p:ph type="title" idx="2" hasCustomPrompt="1"/>
          </p:nvPr>
        </p:nvSpPr>
        <p:spPr>
          <a:xfrm>
            <a:off x="4040800" y="821767"/>
            <a:ext cx="1458400" cy="1206000"/>
          </a:xfrm>
          <a:prstGeom prst="rect">
            <a:avLst/>
          </a:prstGeom>
          <a:noFill/>
        </p:spPr>
        <p:txBody>
          <a:bodyPr spcFirstLastPara="1" wrap="square" lIns="0" tIns="91425" rIns="0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Fira Sans Extra Condensed Medium"/>
              <a:buNone/>
              <a:defRPr sz="6400">
                <a:solidFill>
                  <a:schemeClr val="accen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Fira Sans Extra Condensed Medium"/>
              <a:buNone/>
              <a:defRPr sz="6400">
                <a:solidFill>
                  <a:schemeClr val="accen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Fira Sans Extra Condensed Medium"/>
              <a:buNone/>
              <a:defRPr sz="6400">
                <a:solidFill>
                  <a:schemeClr val="accen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Fira Sans Extra Condensed Medium"/>
              <a:buNone/>
              <a:defRPr sz="6400">
                <a:solidFill>
                  <a:schemeClr val="accen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Fira Sans Extra Condensed Medium"/>
              <a:buNone/>
              <a:defRPr sz="6400">
                <a:solidFill>
                  <a:schemeClr val="accen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Fira Sans Extra Condensed Medium"/>
              <a:buNone/>
              <a:defRPr sz="6400">
                <a:solidFill>
                  <a:schemeClr val="accen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Fira Sans Extra Condensed Medium"/>
              <a:buNone/>
              <a:defRPr sz="6400">
                <a:solidFill>
                  <a:schemeClr val="accen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Fira Sans Extra Condensed Medium"/>
              <a:buNone/>
              <a:defRPr sz="6400">
                <a:solidFill>
                  <a:schemeClr val="accen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grpSp>
        <p:nvGrpSpPr>
          <p:cNvPr id="606" name="Google Shape;606;p46"/>
          <p:cNvGrpSpPr/>
          <p:nvPr/>
        </p:nvGrpSpPr>
        <p:grpSpPr>
          <a:xfrm>
            <a:off x="-849069" y="1589533"/>
            <a:ext cx="13783228" cy="5569656"/>
            <a:chOff x="1665675" y="1368325"/>
            <a:chExt cx="1708100" cy="690225"/>
          </a:xfrm>
        </p:grpSpPr>
        <p:sp>
          <p:nvSpPr>
            <p:cNvPr id="607" name="Google Shape;607;p46"/>
            <p:cNvSpPr/>
            <p:nvPr/>
          </p:nvSpPr>
          <p:spPr>
            <a:xfrm>
              <a:off x="1665675" y="1368325"/>
              <a:ext cx="1708100" cy="690225"/>
            </a:xfrm>
            <a:custGeom>
              <a:avLst/>
              <a:gdLst/>
              <a:ahLst/>
              <a:cxnLst/>
              <a:rect l="l" t="t" r="r" b="b"/>
              <a:pathLst>
                <a:path w="68324" h="27609" extrusionOk="0">
                  <a:moveTo>
                    <a:pt x="62687" y="1"/>
                  </a:moveTo>
                  <a:cubicBezTo>
                    <a:pt x="58218" y="1"/>
                    <a:pt x="53771" y="643"/>
                    <a:pt x="49713" y="2452"/>
                  </a:cubicBezTo>
                  <a:cubicBezTo>
                    <a:pt x="46147" y="4043"/>
                    <a:pt x="43027" y="6467"/>
                    <a:pt x="39662" y="8447"/>
                  </a:cubicBezTo>
                  <a:cubicBezTo>
                    <a:pt x="35140" y="11105"/>
                    <a:pt x="30189" y="12956"/>
                    <a:pt x="25033" y="13917"/>
                  </a:cubicBezTo>
                  <a:cubicBezTo>
                    <a:pt x="24209" y="14071"/>
                    <a:pt x="23299" y="14513"/>
                    <a:pt x="22452" y="14513"/>
                  </a:cubicBezTo>
                  <a:cubicBezTo>
                    <a:pt x="21983" y="14513"/>
                    <a:pt x="21534" y="14378"/>
                    <a:pt x="21129" y="13985"/>
                  </a:cubicBezTo>
                  <a:cubicBezTo>
                    <a:pt x="20985" y="13846"/>
                    <a:pt x="20840" y="13709"/>
                    <a:pt x="20694" y="13574"/>
                  </a:cubicBezTo>
                  <a:cubicBezTo>
                    <a:pt x="19330" y="12308"/>
                    <a:pt x="17876" y="11091"/>
                    <a:pt x="16180" y="10173"/>
                  </a:cubicBezTo>
                  <a:cubicBezTo>
                    <a:pt x="13982" y="8983"/>
                    <a:pt x="11442" y="8335"/>
                    <a:pt x="9261" y="7119"/>
                  </a:cubicBezTo>
                  <a:cubicBezTo>
                    <a:pt x="7586" y="6186"/>
                    <a:pt x="6152" y="4927"/>
                    <a:pt x="5101" y="3467"/>
                  </a:cubicBezTo>
                  <a:cubicBezTo>
                    <a:pt x="4726" y="2945"/>
                    <a:pt x="4393" y="2391"/>
                    <a:pt x="3896" y="1948"/>
                  </a:cubicBezTo>
                  <a:cubicBezTo>
                    <a:pt x="3403" y="1508"/>
                    <a:pt x="2857" y="1305"/>
                    <a:pt x="2340" y="1305"/>
                  </a:cubicBezTo>
                  <a:cubicBezTo>
                    <a:pt x="1589" y="1305"/>
                    <a:pt x="901" y="1735"/>
                    <a:pt x="528" y="2492"/>
                  </a:cubicBezTo>
                  <a:cubicBezTo>
                    <a:pt x="0" y="3564"/>
                    <a:pt x="401" y="4274"/>
                    <a:pt x="1107" y="5191"/>
                  </a:cubicBezTo>
                  <a:cubicBezTo>
                    <a:pt x="2905" y="7531"/>
                    <a:pt x="4560" y="9358"/>
                    <a:pt x="7259" y="11009"/>
                  </a:cubicBezTo>
                  <a:cubicBezTo>
                    <a:pt x="9990" y="12680"/>
                    <a:pt x="12998" y="14304"/>
                    <a:pt x="14497" y="16879"/>
                  </a:cubicBezTo>
                  <a:cubicBezTo>
                    <a:pt x="16043" y="19536"/>
                    <a:pt x="15631" y="22769"/>
                    <a:pt x="14115" y="25368"/>
                  </a:cubicBezTo>
                  <a:cubicBezTo>
                    <a:pt x="13832" y="25856"/>
                    <a:pt x="13505" y="26421"/>
                    <a:pt x="13774" y="26927"/>
                  </a:cubicBezTo>
                  <a:cubicBezTo>
                    <a:pt x="14064" y="27474"/>
                    <a:pt x="14851" y="27608"/>
                    <a:pt x="15567" y="27608"/>
                  </a:cubicBezTo>
                  <a:cubicBezTo>
                    <a:pt x="15658" y="27608"/>
                    <a:pt x="15747" y="27606"/>
                    <a:pt x="15834" y="27602"/>
                  </a:cubicBezTo>
                  <a:cubicBezTo>
                    <a:pt x="17380" y="27536"/>
                    <a:pt x="18917" y="27332"/>
                    <a:pt x="20426" y="26992"/>
                  </a:cubicBezTo>
                  <a:cubicBezTo>
                    <a:pt x="20763" y="26916"/>
                    <a:pt x="21109" y="26829"/>
                    <a:pt x="21373" y="26635"/>
                  </a:cubicBezTo>
                  <a:cubicBezTo>
                    <a:pt x="21918" y="26239"/>
                    <a:pt x="21959" y="25540"/>
                    <a:pt x="21986" y="24919"/>
                  </a:cubicBezTo>
                  <a:cubicBezTo>
                    <a:pt x="22049" y="23418"/>
                    <a:pt x="22253" y="21926"/>
                    <a:pt x="22594" y="20464"/>
                  </a:cubicBezTo>
                  <a:cubicBezTo>
                    <a:pt x="22997" y="18738"/>
                    <a:pt x="23686" y="18665"/>
                    <a:pt x="25312" y="18371"/>
                  </a:cubicBezTo>
                  <a:cubicBezTo>
                    <a:pt x="26982" y="18069"/>
                    <a:pt x="28651" y="17761"/>
                    <a:pt x="30319" y="17442"/>
                  </a:cubicBezTo>
                  <a:cubicBezTo>
                    <a:pt x="32630" y="17002"/>
                    <a:pt x="34957" y="16541"/>
                    <a:pt x="37122" y="15620"/>
                  </a:cubicBezTo>
                  <a:cubicBezTo>
                    <a:pt x="40390" y="14229"/>
                    <a:pt x="43138" y="11858"/>
                    <a:pt x="46267" y="10179"/>
                  </a:cubicBezTo>
                  <a:cubicBezTo>
                    <a:pt x="49566" y="8408"/>
                    <a:pt x="53189" y="7452"/>
                    <a:pt x="56896" y="6812"/>
                  </a:cubicBezTo>
                  <a:cubicBezTo>
                    <a:pt x="59162" y="6421"/>
                    <a:pt x="61460" y="6147"/>
                    <a:pt x="63732" y="5877"/>
                  </a:cubicBezTo>
                  <a:cubicBezTo>
                    <a:pt x="64722" y="5760"/>
                    <a:pt x="65760" y="5624"/>
                    <a:pt x="66568" y="5043"/>
                  </a:cubicBezTo>
                  <a:cubicBezTo>
                    <a:pt x="67983" y="4024"/>
                    <a:pt x="68215" y="2046"/>
                    <a:pt x="68323" y="304"/>
                  </a:cubicBezTo>
                  <a:cubicBezTo>
                    <a:pt x="66459" y="115"/>
                    <a:pt x="64571" y="1"/>
                    <a:pt x="62687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08" name="Google Shape;608;p46"/>
            <p:cNvSpPr/>
            <p:nvPr/>
          </p:nvSpPr>
          <p:spPr>
            <a:xfrm>
              <a:off x="3174475" y="1387325"/>
              <a:ext cx="17925" cy="4800"/>
            </a:xfrm>
            <a:custGeom>
              <a:avLst/>
              <a:gdLst/>
              <a:ahLst/>
              <a:cxnLst/>
              <a:rect l="l" t="t" r="r" b="b"/>
              <a:pathLst>
                <a:path w="717" h="192" extrusionOk="0">
                  <a:moveTo>
                    <a:pt x="106" y="0"/>
                  </a:moveTo>
                  <a:cubicBezTo>
                    <a:pt x="89" y="0"/>
                    <a:pt x="73" y="3"/>
                    <a:pt x="58" y="10"/>
                  </a:cubicBezTo>
                  <a:lnTo>
                    <a:pt x="58" y="10"/>
                  </a:lnTo>
                  <a:lnTo>
                    <a:pt x="49" y="12"/>
                  </a:lnTo>
                  <a:cubicBezTo>
                    <a:pt x="25" y="19"/>
                    <a:pt x="7" y="38"/>
                    <a:pt x="4" y="63"/>
                  </a:cubicBezTo>
                  <a:cubicBezTo>
                    <a:pt x="1" y="88"/>
                    <a:pt x="12" y="113"/>
                    <a:pt x="34" y="126"/>
                  </a:cubicBezTo>
                  <a:lnTo>
                    <a:pt x="35" y="126"/>
                  </a:lnTo>
                  <a:lnTo>
                    <a:pt x="35" y="126"/>
                  </a:lnTo>
                  <a:cubicBezTo>
                    <a:pt x="55" y="150"/>
                    <a:pt x="89" y="159"/>
                    <a:pt x="119" y="164"/>
                  </a:cubicBezTo>
                  <a:cubicBezTo>
                    <a:pt x="149" y="168"/>
                    <a:pt x="179" y="172"/>
                    <a:pt x="210" y="176"/>
                  </a:cubicBezTo>
                  <a:cubicBezTo>
                    <a:pt x="260" y="182"/>
                    <a:pt x="309" y="187"/>
                    <a:pt x="359" y="189"/>
                  </a:cubicBezTo>
                  <a:cubicBezTo>
                    <a:pt x="383" y="191"/>
                    <a:pt x="408" y="192"/>
                    <a:pt x="433" y="192"/>
                  </a:cubicBezTo>
                  <a:cubicBezTo>
                    <a:pt x="458" y="192"/>
                    <a:pt x="483" y="191"/>
                    <a:pt x="508" y="189"/>
                  </a:cubicBezTo>
                  <a:cubicBezTo>
                    <a:pt x="534" y="187"/>
                    <a:pt x="559" y="184"/>
                    <a:pt x="584" y="181"/>
                  </a:cubicBezTo>
                  <a:cubicBezTo>
                    <a:pt x="600" y="180"/>
                    <a:pt x="616" y="177"/>
                    <a:pt x="633" y="174"/>
                  </a:cubicBezTo>
                  <a:cubicBezTo>
                    <a:pt x="652" y="168"/>
                    <a:pt x="671" y="158"/>
                    <a:pt x="686" y="143"/>
                  </a:cubicBezTo>
                  <a:cubicBezTo>
                    <a:pt x="717" y="119"/>
                    <a:pt x="705" y="61"/>
                    <a:pt x="672" y="44"/>
                  </a:cubicBezTo>
                  <a:cubicBezTo>
                    <a:pt x="657" y="35"/>
                    <a:pt x="639" y="29"/>
                    <a:pt x="622" y="27"/>
                  </a:cubicBezTo>
                  <a:cubicBezTo>
                    <a:pt x="613" y="25"/>
                    <a:pt x="605" y="25"/>
                    <a:pt x="596" y="25"/>
                  </a:cubicBezTo>
                  <a:cubicBezTo>
                    <a:pt x="590" y="25"/>
                    <a:pt x="583" y="25"/>
                    <a:pt x="577" y="26"/>
                  </a:cubicBezTo>
                  <a:cubicBezTo>
                    <a:pt x="554" y="26"/>
                    <a:pt x="531" y="24"/>
                    <a:pt x="508" y="24"/>
                  </a:cubicBezTo>
                  <a:cubicBezTo>
                    <a:pt x="483" y="23"/>
                    <a:pt x="458" y="23"/>
                    <a:pt x="433" y="23"/>
                  </a:cubicBezTo>
                  <a:cubicBezTo>
                    <a:pt x="408" y="23"/>
                    <a:pt x="383" y="23"/>
                    <a:pt x="359" y="22"/>
                  </a:cubicBezTo>
                  <a:cubicBezTo>
                    <a:pt x="309" y="20"/>
                    <a:pt x="262" y="17"/>
                    <a:pt x="214" y="12"/>
                  </a:cubicBezTo>
                  <a:lnTo>
                    <a:pt x="176" y="7"/>
                  </a:lnTo>
                  <a:lnTo>
                    <a:pt x="163" y="6"/>
                  </a:lnTo>
                  <a:lnTo>
                    <a:pt x="163" y="6"/>
                  </a:lnTo>
                  <a:cubicBezTo>
                    <a:pt x="162" y="6"/>
                    <a:pt x="160" y="5"/>
                    <a:pt x="155" y="5"/>
                  </a:cubicBezTo>
                  <a:cubicBezTo>
                    <a:pt x="139" y="3"/>
                    <a:pt x="122" y="0"/>
                    <a:pt x="10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09" name="Google Shape;609;p46"/>
            <p:cNvSpPr/>
            <p:nvPr/>
          </p:nvSpPr>
          <p:spPr>
            <a:xfrm>
              <a:off x="2931050" y="1555750"/>
              <a:ext cx="20650" cy="4375"/>
            </a:xfrm>
            <a:custGeom>
              <a:avLst/>
              <a:gdLst/>
              <a:ahLst/>
              <a:cxnLst/>
              <a:rect l="l" t="t" r="r" b="b"/>
              <a:pathLst>
                <a:path w="826" h="175" extrusionOk="0">
                  <a:moveTo>
                    <a:pt x="551" y="1"/>
                  </a:moveTo>
                  <a:cubicBezTo>
                    <a:pt x="508" y="1"/>
                    <a:pt x="465" y="2"/>
                    <a:pt x="422" y="3"/>
                  </a:cubicBezTo>
                  <a:cubicBezTo>
                    <a:pt x="306" y="6"/>
                    <a:pt x="190" y="7"/>
                    <a:pt x="73" y="17"/>
                  </a:cubicBezTo>
                  <a:cubicBezTo>
                    <a:pt x="36" y="21"/>
                    <a:pt x="1" y="47"/>
                    <a:pt x="3" y="87"/>
                  </a:cubicBezTo>
                  <a:cubicBezTo>
                    <a:pt x="4" y="125"/>
                    <a:pt x="35" y="157"/>
                    <a:pt x="73" y="158"/>
                  </a:cubicBezTo>
                  <a:cubicBezTo>
                    <a:pt x="188" y="168"/>
                    <a:pt x="306" y="169"/>
                    <a:pt x="422" y="171"/>
                  </a:cubicBezTo>
                  <a:cubicBezTo>
                    <a:pt x="469" y="172"/>
                    <a:pt x="515" y="174"/>
                    <a:pt x="562" y="174"/>
                  </a:cubicBezTo>
                  <a:cubicBezTo>
                    <a:pt x="573" y="174"/>
                    <a:pt x="584" y="174"/>
                    <a:pt x="595" y="174"/>
                  </a:cubicBezTo>
                  <a:cubicBezTo>
                    <a:pt x="624" y="174"/>
                    <a:pt x="652" y="173"/>
                    <a:pt x="681" y="171"/>
                  </a:cubicBezTo>
                  <a:cubicBezTo>
                    <a:pt x="695" y="171"/>
                    <a:pt x="710" y="171"/>
                    <a:pt x="724" y="170"/>
                  </a:cubicBezTo>
                  <a:cubicBezTo>
                    <a:pt x="751" y="168"/>
                    <a:pt x="778" y="157"/>
                    <a:pt x="797" y="136"/>
                  </a:cubicBezTo>
                  <a:cubicBezTo>
                    <a:pt x="825" y="109"/>
                    <a:pt x="825" y="66"/>
                    <a:pt x="797" y="38"/>
                  </a:cubicBezTo>
                  <a:cubicBezTo>
                    <a:pt x="779" y="20"/>
                    <a:pt x="754" y="7"/>
                    <a:pt x="727" y="5"/>
                  </a:cubicBezTo>
                  <a:cubicBezTo>
                    <a:pt x="713" y="3"/>
                    <a:pt x="698" y="3"/>
                    <a:pt x="685" y="3"/>
                  </a:cubicBezTo>
                  <a:cubicBezTo>
                    <a:pt x="656" y="2"/>
                    <a:pt x="627" y="1"/>
                    <a:pt x="598" y="1"/>
                  </a:cubicBezTo>
                  <a:cubicBezTo>
                    <a:pt x="583" y="1"/>
                    <a:pt x="567" y="1"/>
                    <a:pt x="55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10" name="Google Shape;610;p46"/>
            <p:cNvSpPr/>
            <p:nvPr/>
          </p:nvSpPr>
          <p:spPr>
            <a:xfrm>
              <a:off x="2907175" y="1545000"/>
              <a:ext cx="17500" cy="5500"/>
            </a:xfrm>
            <a:custGeom>
              <a:avLst/>
              <a:gdLst/>
              <a:ahLst/>
              <a:cxnLst/>
              <a:rect l="l" t="t" r="r" b="b"/>
              <a:pathLst>
                <a:path w="700" h="220" extrusionOk="0">
                  <a:moveTo>
                    <a:pt x="584" y="1"/>
                  </a:moveTo>
                  <a:cubicBezTo>
                    <a:pt x="578" y="1"/>
                    <a:pt x="572" y="1"/>
                    <a:pt x="567" y="2"/>
                  </a:cubicBezTo>
                  <a:cubicBezTo>
                    <a:pt x="543" y="2"/>
                    <a:pt x="518" y="3"/>
                    <a:pt x="495" y="4"/>
                  </a:cubicBezTo>
                  <a:cubicBezTo>
                    <a:pt x="444" y="7"/>
                    <a:pt x="392" y="12"/>
                    <a:pt x="340" y="19"/>
                  </a:cubicBezTo>
                  <a:cubicBezTo>
                    <a:pt x="247" y="32"/>
                    <a:pt x="153" y="50"/>
                    <a:pt x="62" y="74"/>
                  </a:cubicBezTo>
                  <a:cubicBezTo>
                    <a:pt x="23" y="85"/>
                    <a:pt x="0" y="125"/>
                    <a:pt x="11" y="165"/>
                  </a:cubicBezTo>
                  <a:cubicBezTo>
                    <a:pt x="20" y="198"/>
                    <a:pt x="50" y="219"/>
                    <a:pt x="83" y="219"/>
                  </a:cubicBezTo>
                  <a:cubicBezTo>
                    <a:pt x="89" y="219"/>
                    <a:pt x="95" y="219"/>
                    <a:pt x="102" y="217"/>
                  </a:cubicBezTo>
                  <a:cubicBezTo>
                    <a:pt x="147" y="207"/>
                    <a:pt x="191" y="197"/>
                    <a:pt x="237" y="189"/>
                  </a:cubicBezTo>
                  <a:cubicBezTo>
                    <a:pt x="260" y="186"/>
                    <a:pt x="282" y="182"/>
                    <a:pt x="305" y="179"/>
                  </a:cubicBezTo>
                  <a:cubicBezTo>
                    <a:pt x="309" y="178"/>
                    <a:pt x="311" y="178"/>
                    <a:pt x="311" y="178"/>
                  </a:cubicBezTo>
                  <a:lnTo>
                    <a:pt x="311" y="178"/>
                  </a:lnTo>
                  <a:cubicBezTo>
                    <a:pt x="311" y="178"/>
                    <a:pt x="306" y="179"/>
                    <a:pt x="306" y="179"/>
                  </a:cubicBezTo>
                  <a:cubicBezTo>
                    <a:pt x="307" y="179"/>
                    <a:pt x="307" y="179"/>
                    <a:pt x="309" y="179"/>
                  </a:cubicBezTo>
                  <a:lnTo>
                    <a:pt x="326" y="177"/>
                  </a:lnTo>
                  <a:cubicBezTo>
                    <a:pt x="338" y="176"/>
                    <a:pt x="349" y="174"/>
                    <a:pt x="361" y="173"/>
                  </a:cubicBezTo>
                  <a:cubicBezTo>
                    <a:pt x="406" y="169"/>
                    <a:pt x="450" y="164"/>
                    <a:pt x="495" y="161"/>
                  </a:cubicBezTo>
                  <a:cubicBezTo>
                    <a:pt x="518" y="159"/>
                    <a:pt x="540" y="158"/>
                    <a:pt x="564" y="157"/>
                  </a:cubicBezTo>
                  <a:cubicBezTo>
                    <a:pt x="578" y="157"/>
                    <a:pt x="592" y="157"/>
                    <a:pt x="606" y="155"/>
                  </a:cubicBezTo>
                  <a:cubicBezTo>
                    <a:pt x="623" y="151"/>
                    <a:pt x="640" y="144"/>
                    <a:pt x="655" y="134"/>
                  </a:cubicBezTo>
                  <a:cubicBezTo>
                    <a:pt x="697" y="112"/>
                    <a:pt x="699" y="44"/>
                    <a:pt x="655" y="22"/>
                  </a:cubicBezTo>
                  <a:cubicBezTo>
                    <a:pt x="643" y="16"/>
                    <a:pt x="629" y="9"/>
                    <a:pt x="615" y="4"/>
                  </a:cubicBezTo>
                  <a:cubicBezTo>
                    <a:pt x="605" y="2"/>
                    <a:pt x="594" y="1"/>
                    <a:pt x="58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11" name="Google Shape;611;p46"/>
            <p:cNvSpPr/>
            <p:nvPr/>
          </p:nvSpPr>
          <p:spPr>
            <a:xfrm>
              <a:off x="2548750" y="1639825"/>
              <a:ext cx="19100" cy="5050"/>
            </a:xfrm>
            <a:custGeom>
              <a:avLst/>
              <a:gdLst/>
              <a:ahLst/>
              <a:cxnLst/>
              <a:rect l="l" t="t" r="r" b="b"/>
              <a:pathLst>
                <a:path w="764" h="202" extrusionOk="0">
                  <a:moveTo>
                    <a:pt x="673" y="1"/>
                  </a:moveTo>
                  <a:cubicBezTo>
                    <a:pt x="659" y="1"/>
                    <a:pt x="644" y="3"/>
                    <a:pt x="630" y="4"/>
                  </a:cubicBezTo>
                  <a:cubicBezTo>
                    <a:pt x="604" y="6"/>
                    <a:pt x="577" y="8"/>
                    <a:pt x="552" y="10"/>
                  </a:cubicBezTo>
                  <a:cubicBezTo>
                    <a:pt x="492" y="17"/>
                    <a:pt x="433" y="26"/>
                    <a:pt x="373" y="35"/>
                  </a:cubicBezTo>
                  <a:cubicBezTo>
                    <a:pt x="264" y="51"/>
                    <a:pt x="155" y="70"/>
                    <a:pt x="45" y="87"/>
                  </a:cubicBezTo>
                  <a:cubicBezTo>
                    <a:pt x="17" y="91"/>
                    <a:pt x="0" y="125"/>
                    <a:pt x="4" y="150"/>
                  </a:cubicBezTo>
                  <a:cubicBezTo>
                    <a:pt x="7" y="175"/>
                    <a:pt x="31" y="201"/>
                    <a:pt x="58" y="201"/>
                  </a:cubicBezTo>
                  <a:cubicBezTo>
                    <a:pt x="59" y="201"/>
                    <a:pt x="60" y="201"/>
                    <a:pt x="61" y="201"/>
                  </a:cubicBezTo>
                  <a:cubicBezTo>
                    <a:pt x="171" y="190"/>
                    <a:pt x="281" y="179"/>
                    <a:pt x="392" y="168"/>
                  </a:cubicBezTo>
                  <a:cubicBezTo>
                    <a:pt x="448" y="162"/>
                    <a:pt x="505" y="155"/>
                    <a:pt x="561" y="147"/>
                  </a:cubicBezTo>
                  <a:cubicBezTo>
                    <a:pt x="590" y="143"/>
                    <a:pt x="619" y="138"/>
                    <a:pt x="647" y="133"/>
                  </a:cubicBezTo>
                  <a:cubicBezTo>
                    <a:pt x="662" y="131"/>
                    <a:pt x="676" y="129"/>
                    <a:pt x="690" y="125"/>
                  </a:cubicBezTo>
                  <a:cubicBezTo>
                    <a:pt x="708" y="120"/>
                    <a:pt x="725" y="111"/>
                    <a:pt x="738" y="97"/>
                  </a:cubicBezTo>
                  <a:cubicBezTo>
                    <a:pt x="764" y="78"/>
                    <a:pt x="757" y="28"/>
                    <a:pt x="728" y="16"/>
                  </a:cubicBezTo>
                  <a:cubicBezTo>
                    <a:pt x="711" y="6"/>
                    <a:pt x="692" y="2"/>
                    <a:pt x="67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12" name="Google Shape;612;p46"/>
            <p:cNvSpPr/>
            <p:nvPr/>
          </p:nvSpPr>
          <p:spPr>
            <a:xfrm>
              <a:off x="2568500" y="1642625"/>
              <a:ext cx="17325" cy="6625"/>
            </a:xfrm>
            <a:custGeom>
              <a:avLst/>
              <a:gdLst/>
              <a:ahLst/>
              <a:cxnLst/>
              <a:rect l="l" t="t" r="r" b="b"/>
              <a:pathLst>
                <a:path w="693" h="265" extrusionOk="0">
                  <a:moveTo>
                    <a:pt x="590" y="0"/>
                  </a:moveTo>
                  <a:cubicBezTo>
                    <a:pt x="573" y="3"/>
                    <a:pt x="557" y="5"/>
                    <a:pt x="541" y="10"/>
                  </a:cubicBezTo>
                  <a:lnTo>
                    <a:pt x="471" y="23"/>
                  </a:lnTo>
                  <a:cubicBezTo>
                    <a:pt x="426" y="34"/>
                    <a:pt x="380" y="43"/>
                    <a:pt x="335" y="54"/>
                  </a:cubicBezTo>
                  <a:lnTo>
                    <a:pt x="62" y="121"/>
                  </a:lnTo>
                  <a:cubicBezTo>
                    <a:pt x="23" y="133"/>
                    <a:pt x="0" y="172"/>
                    <a:pt x="11" y="211"/>
                  </a:cubicBezTo>
                  <a:cubicBezTo>
                    <a:pt x="20" y="244"/>
                    <a:pt x="51" y="265"/>
                    <a:pt x="83" y="265"/>
                  </a:cubicBezTo>
                  <a:cubicBezTo>
                    <a:pt x="89" y="265"/>
                    <a:pt x="94" y="264"/>
                    <a:pt x="100" y="263"/>
                  </a:cubicBezTo>
                  <a:lnTo>
                    <a:pt x="100" y="264"/>
                  </a:lnTo>
                  <a:lnTo>
                    <a:pt x="377" y="204"/>
                  </a:lnTo>
                  <a:cubicBezTo>
                    <a:pt x="423" y="195"/>
                    <a:pt x="468" y="185"/>
                    <a:pt x="512" y="173"/>
                  </a:cubicBezTo>
                  <a:lnTo>
                    <a:pt x="581" y="156"/>
                  </a:lnTo>
                  <a:cubicBezTo>
                    <a:pt x="608" y="150"/>
                    <a:pt x="633" y="139"/>
                    <a:pt x="656" y="124"/>
                  </a:cubicBezTo>
                  <a:cubicBezTo>
                    <a:pt x="680" y="109"/>
                    <a:pt x="692" y="79"/>
                    <a:pt x="685" y="51"/>
                  </a:cubicBezTo>
                  <a:cubicBezTo>
                    <a:pt x="676" y="25"/>
                    <a:pt x="652" y="6"/>
                    <a:pt x="624" y="5"/>
                  </a:cubicBezTo>
                  <a:cubicBezTo>
                    <a:pt x="613" y="3"/>
                    <a:pt x="601" y="2"/>
                    <a:pt x="59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13" name="Google Shape;613;p46"/>
            <p:cNvSpPr/>
            <p:nvPr/>
          </p:nvSpPr>
          <p:spPr>
            <a:xfrm>
              <a:off x="2248375" y="1803450"/>
              <a:ext cx="22300" cy="6875"/>
            </a:xfrm>
            <a:custGeom>
              <a:avLst/>
              <a:gdLst/>
              <a:ahLst/>
              <a:cxnLst/>
              <a:rect l="l" t="t" r="r" b="b"/>
              <a:pathLst>
                <a:path w="892" h="275" extrusionOk="0">
                  <a:moveTo>
                    <a:pt x="798" y="0"/>
                  </a:moveTo>
                  <a:cubicBezTo>
                    <a:pt x="788" y="0"/>
                    <a:pt x="778" y="1"/>
                    <a:pt x="768" y="4"/>
                  </a:cubicBezTo>
                  <a:cubicBezTo>
                    <a:pt x="752" y="6"/>
                    <a:pt x="736" y="9"/>
                    <a:pt x="720" y="13"/>
                  </a:cubicBezTo>
                  <a:lnTo>
                    <a:pt x="706" y="15"/>
                  </a:lnTo>
                  <a:cubicBezTo>
                    <a:pt x="708" y="15"/>
                    <a:pt x="710" y="15"/>
                    <a:pt x="711" y="15"/>
                  </a:cubicBezTo>
                  <a:lnTo>
                    <a:pt x="711" y="15"/>
                  </a:lnTo>
                  <a:cubicBezTo>
                    <a:pt x="710" y="15"/>
                    <a:pt x="709" y="15"/>
                    <a:pt x="708" y="15"/>
                  </a:cubicBezTo>
                  <a:cubicBezTo>
                    <a:pt x="702" y="15"/>
                    <a:pt x="695" y="16"/>
                    <a:pt x="689" y="16"/>
                  </a:cubicBezTo>
                  <a:cubicBezTo>
                    <a:pt x="667" y="20"/>
                    <a:pt x="645" y="24"/>
                    <a:pt x="623" y="29"/>
                  </a:cubicBezTo>
                  <a:cubicBezTo>
                    <a:pt x="560" y="41"/>
                    <a:pt x="497" y="52"/>
                    <a:pt x="433" y="62"/>
                  </a:cubicBezTo>
                  <a:cubicBezTo>
                    <a:pt x="417" y="65"/>
                    <a:pt x="401" y="67"/>
                    <a:pt x="386" y="69"/>
                  </a:cubicBezTo>
                  <a:lnTo>
                    <a:pt x="383" y="70"/>
                  </a:lnTo>
                  <a:lnTo>
                    <a:pt x="383" y="70"/>
                  </a:lnTo>
                  <a:cubicBezTo>
                    <a:pt x="383" y="70"/>
                    <a:pt x="383" y="69"/>
                    <a:pt x="384" y="69"/>
                  </a:cubicBezTo>
                  <a:lnTo>
                    <a:pt x="384" y="69"/>
                  </a:lnTo>
                  <a:lnTo>
                    <a:pt x="372" y="70"/>
                  </a:lnTo>
                  <a:lnTo>
                    <a:pt x="383" y="70"/>
                  </a:lnTo>
                  <a:lnTo>
                    <a:pt x="383" y="70"/>
                  </a:lnTo>
                  <a:cubicBezTo>
                    <a:pt x="374" y="72"/>
                    <a:pt x="365" y="72"/>
                    <a:pt x="356" y="73"/>
                  </a:cubicBezTo>
                  <a:cubicBezTo>
                    <a:pt x="324" y="76"/>
                    <a:pt x="292" y="80"/>
                    <a:pt x="260" y="83"/>
                  </a:cubicBezTo>
                  <a:cubicBezTo>
                    <a:pt x="227" y="85"/>
                    <a:pt x="196" y="88"/>
                    <a:pt x="164" y="89"/>
                  </a:cubicBezTo>
                  <a:cubicBezTo>
                    <a:pt x="143" y="89"/>
                    <a:pt x="121" y="91"/>
                    <a:pt x="102" y="96"/>
                  </a:cubicBezTo>
                  <a:cubicBezTo>
                    <a:pt x="89" y="98"/>
                    <a:pt x="76" y="103"/>
                    <a:pt x="66" y="110"/>
                  </a:cubicBezTo>
                  <a:cubicBezTo>
                    <a:pt x="59" y="115"/>
                    <a:pt x="54" y="118"/>
                    <a:pt x="51" y="120"/>
                  </a:cubicBezTo>
                  <a:lnTo>
                    <a:pt x="51" y="120"/>
                  </a:lnTo>
                  <a:lnTo>
                    <a:pt x="47" y="123"/>
                  </a:lnTo>
                  <a:cubicBezTo>
                    <a:pt x="0" y="151"/>
                    <a:pt x="0" y="216"/>
                    <a:pt x="47" y="243"/>
                  </a:cubicBezTo>
                  <a:lnTo>
                    <a:pt x="47" y="242"/>
                  </a:lnTo>
                  <a:lnTo>
                    <a:pt x="55" y="247"/>
                  </a:lnTo>
                  <a:lnTo>
                    <a:pt x="55" y="247"/>
                  </a:lnTo>
                  <a:cubicBezTo>
                    <a:pt x="58" y="249"/>
                    <a:pt x="61" y="252"/>
                    <a:pt x="66" y="256"/>
                  </a:cubicBezTo>
                  <a:cubicBezTo>
                    <a:pt x="78" y="262"/>
                    <a:pt x="90" y="267"/>
                    <a:pt x="103" y="270"/>
                  </a:cubicBezTo>
                  <a:cubicBezTo>
                    <a:pt x="119" y="273"/>
                    <a:pt x="135" y="275"/>
                    <a:pt x="152" y="275"/>
                  </a:cubicBezTo>
                  <a:cubicBezTo>
                    <a:pt x="158" y="275"/>
                    <a:pt x="163" y="274"/>
                    <a:pt x="169" y="274"/>
                  </a:cubicBezTo>
                  <a:cubicBezTo>
                    <a:pt x="201" y="273"/>
                    <a:pt x="234" y="272"/>
                    <a:pt x="268" y="270"/>
                  </a:cubicBezTo>
                  <a:cubicBezTo>
                    <a:pt x="338" y="265"/>
                    <a:pt x="408" y="257"/>
                    <a:pt x="478" y="247"/>
                  </a:cubicBezTo>
                  <a:cubicBezTo>
                    <a:pt x="542" y="237"/>
                    <a:pt x="605" y="225"/>
                    <a:pt x="667" y="207"/>
                  </a:cubicBezTo>
                  <a:cubicBezTo>
                    <a:pt x="683" y="204"/>
                    <a:pt x="698" y="201"/>
                    <a:pt x="714" y="195"/>
                  </a:cubicBezTo>
                  <a:cubicBezTo>
                    <a:pt x="729" y="190"/>
                    <a:pt x="741" y="184"/>
                    <a:pt x="753" y="179"/>
                  </a:cubicBezTo>
                  <a:cubicBezTo>
                    <a:pt x="755" y="178"/>
                    <a:pt x="756" y="177"/>
                    <a:pt x="757" y="177"/>
                  </a:cubicBezTo>
                  <a:lnTo>
                    <a:pt x="757" y="177"/>
                  </a:lnTo>
                  <a:cubicBezTo>
                    <a:pt x="758" y="177"/>
                    <a:pt x="758" y="177"/>
                    <a:pt x="759" y="176"/>
                  </a:cubicBezTo>
                  <a:cubicBezTo>
                    <a:pt x="798" y="164"/>
                    <a:pt x="842" y="150"/>
                    <a:pt x="868" y="117"/>
                  </a:cubicBezTo>
                  <a:cubicBezTo>
                    <a:pt x="885" y="100"/>
                    <a:pt x="892" y="76"/>
                    <a:pt x="886" y="53"/>
                  </a:cubicBezTo>
                  <a:cubicBezTo>
                    <a:pt x="879" y="30"/>
                    <a:pt x="862" y="13"/>
                    <a:pt x="840" y="7"/>
                  </a:cubicBezTo>
                  <a:cubicBezTo>
                    <a:pt x="826" y="2"/>
                    <a:pt x="812" y="0"/>
                    <a:pt x="7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14" name="Google Shape;614;p46"/>
            <p:cNvSpPr/>
            <p:nvPr/>
          </p:nvSpPr>
          <p:spPr>
            <a:xfrm>
              <a:off x="2263550" y="1795825"/>
              <a:ext cx="16650" cy="6425"/>
            </a:xfrm>
            <a:custGeom>
              <a:avLst/>
              <a:gdLst/>
              <a:ahLst/>
              <a:cxnLst/>
              <a:rect l="l" t="t" r="r" b="b"/>
              <a:pathLst>
                <a:path w="666" h="257" extrusionOk="0">
                  <a:moveTo>
                    <a:pt x="537" y="0"/>
                  </a:moveTo>
                  <a:cubicBezTo>
                    <a:pt x="514" y="0"/>
                    <a:pt x="489" y="0"/>
                    <a:pt x="466" y="2"/>
                  </a:cubicBezTo>
                  <a:cubicBezTo>
                    <a:pt x="416" y="5"/>
                    <a:pt x="365" y="12"/>
                    <a:pt x="316" y="23"/>
                  </a:cubicBezTo>
                  <a:cubicBezTo>
                    <a:pt x="222" y="44"/>
                    <a:pt x="131" y="74"/>
                    <a:pt x="44" y="114"/>
                  </a:cubicBezTo>
                  <a:cubicBezTo>
                    <a:pt x="9" y="129"/>
                    <a:pt x="0" y="177"/>
                    <a:pt x="13" y="209"/>
                  </a:cubicBezTo>
                  <a:cubicBezTo>
                    <a:pt x="23" y="234"/>
                    <a:pt x="52" y="256"/>
                    <a:pt x="82" y="256"/>
                  </a:cubicBezTo>
                  <a:cubicBezTo>
                    <a:pt x="89" y="256"/>
                    <a:pt x="96" y="255"/>
                    <a:pt x="103" y="252"/>
                  </a:cubicBezTo>
                  <a:cubicBezTo>
                    <a:pt x="184" y="220"/>
                    <a:pt x="270" y="196"/>
                    <a:pt x="356" y="181"/>
                  </a:cubicBezTo>
                  <a:lnTo>
                    <a:pt x="386" y="176"/>
                  </a:lnTo>
                  <a:cubicBezTo>
                    <a:pt x="386" y="176"/>
                    <a:pt x="399" y="175"/>
                    <a:pt x="398" y="175"/>
                  </a:cubicBezTo>
                  <a:cubicBezTo>
                    <a:pt x="398" y="175"/>
                    <a:pt x="396" y="175"/>
                    <a:pt x="394" y="175"/>
                  </a:cubicBezTo>
                  <a:lnTo>
                    <a:pt x="403" y="174"/>
                  </a:lnTo>
                  <a:cubicBezTo>
                    <a:pt x="419" y="172"/>
                    <a:pt x="435" y="171"/>
                    <a:pt x="451" y="168"/>
                  </a:cubicBezTo>
                  <a:lnTo>
                    <a:pt x="469" y="165"/>
                  </a:lnTo>
                  <a:cubicBezTo>
                    <a:pt x="469" y="165"/>
                    <a:pt x="470" y="165"/>
                    <a:pt x="471" y="165"/>
                  </a:cubicBezTo>
                  <a:lnTo>
                    <a:pt x="471" y="165"/>
                  </a:lnTo>
                  <a:cubicBezTo>
                    <a:pt x="471" y="165"/>
                    <a:pt x="470" y="165"/>
                    <a:pt x="470" y="165"/>
                  </a:cubicBezTo>
                  <a:cubicBezTo>
                    <a:pt x="492" y="162"/>
                    <a:pt x="514" y="160"/>
                    <a:pt x="537" y="158"/>
                  </a:cubicBezTo>
                  <a:lnTo>
                    <a:pt x="567" y="157"/>
                  </a:lnTo>
                  <a:cubicBezTo>
                    <a:pt x="587" y="154"/>
                    <a:pt x="607" y="148"/>
                    <a:pt x="623" y="135"/>
                  </a:cubicBezTo>
                  <a:cubicBezTo>
                    <a:pt x="666" y="110"/>
                    <a:pt x="666" y="47"/>
                    <a:pt x="623" y="22"/>
                  </a:cubicBezTo>
                  <a:cubicBezTo>
                    <a:pt x="607" y="11"/>
                    <a:pt x="588" y="4"/>
                    <a:pt x="570" y="1"/>
                  </a:cubicBezTo>
                  <a:cubicBezTo>
                    <a:pt x="558" y="0"/>
                    <a:pt x="547" y="0"/>
                    <a:pt x="53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15" name="Google Shape;615;p46"/>
            <p:cNvSpPr/>
            <p:nvPr/>
          </p:nvSpPr>
          <p:spPr>
            <a:xfrm>
              <a:off x="2140300" y="1721975"/>
              <a:ext cx="13500" cy="4350"/>
            </a:xfrm>
            <a:custGeom>
              <a:avLst/>
              <a:gdLst/>
              <a:ahLst/>
              <a:cxnLst/>
              <a:rect l="l" t="t" r="r" b="b"/>
              <a:pathLst>
                <a:path w="540" h="174" extrusionOk="0">
                  <a:moveTo>
                    <a:pt x="209" y="1"/>
                  </a:moveTo>
                  <a:cubicBezTo>
                    <a:pt x="151" y="1"/>
                    <a:pt x="92" y="8"/>
                    <a:pt x="35" y="21"/>
                  </a:cubicBezTo>
                  <a:cubicBezTo>
                    <a:pt x="15" y="27"/>
                    <a:pt x="1" y="47"/>
                    <a:pt x="4" y="69"/>
                  </a:cubicBezTo>
                  <a:cubicBezTo>
                    <a:pt x="7" y="91"/>
                    <a:pt x="25" y="107"/>
                    <a:pt x="47" y="107"/>
                  </a:cubicBezTo>
                  <a:lnTo>
                    <a:pt x="47" y="106"/>
                  </a:lnTo>
                  <a:cubicBezTo>
                    <a:pt x="74" y="103"/>
                    <a:pt x="101" y="101"/>
                    <a:pt x="128" y="101"/>
                  </a:cubicBezTo>
                  <a:cubicBezTo>
                    <a:pt x="172" y="101"/>
                    <a:pt x="216" y="106"/>
                    <a:pt x="260" y="114"/>
                  </a:cubicBezTo>
                  <a:cubicBezTo>
                    <a:pt x="295" y="122"/>
                    <a:pt x="330" y="129"/>
                    <a:pt x="365" y="140"/>
                  </a:cubicBezTo>
                  <a:cubicBezTo>
                    <a:pt x="383" y="145"/>
                    <a:pt x="401" y="151"/>
                    <a:pt x="419" y="158"/>
                  </a:cubicBezTo>
                  <a:cubicBezTo>
                    <a:pt x="437" y="164"/>
                    <a:pt x="455" y="167"/>
                    <a:pt x="474" y="172"/>
                  </a:cubicBezTo>
                  <a:cubicBezTo>
                    <a:pt x="478" y="173"/>
                    <a:pt x="483" y="174"/>
                    <a:pt x="487" y="174"/>
                  </a:cubicBezTo>
                  <a:cubicBezTo>
                    <a:pt x="505" y="174"/>
                    <a:pt x="523" y="162"/>
                    <a:pt x="530" y="144"/>
                  </a:cubicBezTo>
                  <a:cubicBezTo>
                    <a:pt x="540" y="122"/>
                    <a:pt x="531" y="97"/>
                    <a:pt x="511" y="84"/>
                  </a:cubicBezTo>
                  <a:cubicBezTo>
                    <a:pt x="495" y="70"/>
                    <a:pt x="475" y="59"/>
                    <a:pt x="455" y="50"/>
                  </a:cubicBezTo>
                  <a:cubicBezTo>
                    <a:pt x="437" y="42"/>
                    <a:pt x="419" y="35"/>
                    <a:pt x="399" y="29"/>
                  </a:cubicBezTo>
                  <a:cubicBezTo>
                    <a:pt x="359" y="16"/>
                    <a:pt x="317" y="8"/>
                    <a:pt x="275" y="4"/>
                  </a:cubicBezTo>
                  <a:cubicBezTo>
                    <a:pt x="253" y="2"/>
                    <a:pt x="231" y="1"/>
                    <a:pt x="20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16" name="Google Shape;616;p46"/>
            <p:cNvSpPr/>
            <p:nvPr/>
          </p:nvSpPr>
          <p:spPr>
            <a:xfrm>
              <a:off x="2144550" y="1713225"/>
              <a:ext cx="13675" cy="4700"/>
            </a:xfrm>
            <a:custGeom>
              <a:avLst/>
              <a:gdLst/>
              <a:ahLst/>
              <a:cxnLst/>
              <a:rect l="l" t="t" r="r" b="b"/>
              <a:pathLst>
                <a:path w="547" h="188" extrusionOk="0">
                  <a:moveTo>
                    <a:pt x="83" y="0"/>
                  </a:moveTo>
                  <a:cubicBezTo>
                    <a:pt x="50" y="0"/>
                    <a:pt x="16" y="16"/>
                    <a:pt x="8" y="53"/>
                  </a:cubicBezTo>
                  <a:cubicBezTo>
                    <a:pt x="0" y="89"/>
                    <a:pt x="18" y="138"/>
                    <a:pt x="60" y="144"/>
                  </a:cubicBezTo>
                  <a:cubicBezTo>
                    <a:pt x="134" y="156"/>
                    <a:pt x="208" y="173"/>
                    <a:pt x="282" y="176"/>
                  </a:cubicBezTo>
                  <a:lnTo>
                    <a:pt x="387" y="183"/>
                  </a:lnTo>
                  <a:cubicBezTo>
                    <a:pt x="407" y="185"/>
                    <a:pt x="429" y="188"/>
                    <a:pt x="450" y="188"/>
                  </a:cubicBezTo>
                  <a:cubicBezTo>
                    <a:pt x="467" y="188"/>
                    <a:pt x="483" y="186"/>
                    <a:pt x="497" y="180"/>
                  </a:cubicBezTo>
                  <a:cubicBezTo>
                    <a:pt x="526" y="169"/>
                    <a:pt x="547" y="128"/>
                    <a:pt x="518" y="104"/>
                  </a:cubicBezTo>
                  <a:cubicBezTo>
                    <a:pt x="508" y="96"/>
                    <a:pt x="497" y="88"/>
                    <a:pt x="486" y="83"/>
                  </a:cubicBezTo>
                  <a:cubicBezTo>
                    <a:pt x="477" y="80"/>
                    <a:pt x="467" y="77"/>
                    <a:pt x="458" y="75"/>
                  </a:cubicBezTo>
                  <a:lnTo>
                    <a:pt x="411" y="64"/>
                  </a:lnTo>
                  <a:lnTo>
                    <a:pt x="309" y="37"/>
                  </a:lnTo>
                  <a:cubicBezTo>
                    <a:pt x="241" y="20"/>
                    <a:pt x="168" y="12"/>
                    <a:pt x="99" y="1"/>
                  </a:cubicBezTo>
                  <a:cubicBezTo>
                    <a:pt x="94" y="1"/>
                    <a:pt x="89" y="0"/>
                    <a:pt x="8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17" name="Google Shape;617;p46"/>
            <p:cNvSpPr/>
            <p:nvPr/>
          </p:nvSpPr>
          <p:spPr>
            <a:xfrm>
              <a:off x="1831475" y="1608625"/>
              <a:ext cx="19825" cy="12475"/>
            </a:xfrm>
            <a:custGeom>
              <a:avLst/>
              <a:gdLst/>
              <a:ahLst/>
              <a:cxnLst/>
              <a:rect l="l" t="t" r="r" b="b"/>
              <a:pathLst>
                <a:path w="793" h="499" extrusionOk="0">
                  <a:moveTo>
                    <a:pt x="203" y="91"/>
                  </a:moveTo>
                  <a:cubicBezTo>
                    <a:pt x="205" y="93"/>
                    <a:pt x="207" y="94"/>
                    <a:pt x="207" y="94"/>
                  </a:cubicBezTo>
                  <a:cubicBezTo>
                    <a:pt x="207" y="94"/>
                    <a:pt x="206" y="93"/>
                    <a:pt x="203" y="91"/>
                  </a:cubicBezTo>
                  <a:close/>
                  <a:moveTo>
                    <a:pt x="273" y="146"/>
                  </a:moveTo>
                  <a:lnTo>
                    <a:pt x="275" y="147"/>
                  </a:lnTo>
                  <a:lnTo>
                    <a:pt x="275" y="147"/>
                  </a:lnTo>
                  <a:cubicBezTo>
                    <a:pt x="275" y="147"/>
                    <a:pt x="274" y="146"/>
                    <a:pt x="273" y="146"/>
                  </a:cubicBezTo>
                  <a:close/>
                  <a:moveTo>
                    <a:pt x="617" y="351"/>
                  </a:moveTo>
                  <a:cubicBezTo>
                    <a:pt x="621" y="353"/>
                    <a:pt x="623" y="353"/>
                    <a:pt x="622" y="353"/>
                  </a:cubicBezTo>
                  <a:cubicBezTo>
                    <a:pt x="622" y="353"/>
                    <a:pt x="620" y="353"/>
                    <a:pt x="617" y="351"/>
                  </a:cubicBezTo>
                  <a:close/>
                  <a:moveTo>
                    <a:pt x="72" y="0"/>
                  </a:moveTo>
                  <a:cubicBezTo>
                    <a:pt x="56" y="0"/>
                    <a:pt x="40" y="7"/>
                    <a:pt x="27" y="19"/>
                  </a:cubicBezTo>
                  <a:cubicBezTo>
                    <a:pt x="0" y="48"/>
                    <a:pt x="4" y="83"/>
                    <a:pt x="27" y="110"/>
                  </a:cubicBezTo>
                  <a:lnTo>
                    <a:pt x="26" y="109"/>
                  </a:lnTo>
                  <a:lnTo>
                    <a:pt x="26" y="109"/>
                  </a:lnTo>
                  <a:cubicBezTo>
                    <a:pt x="58" y="152"/>
                    <a:pt x="94" y="191"/>
                    <a:pt x="132" y="228"/>
                  </a:cubicBezTo>
                  <a:cubicBezTo>
                    <a:pt x="174" y="266"/>
                    <a:pt x="220" y="300"/>
                    <a:pt x="269" y="332"/>
                  </a:cubicBezTo>
                  <a:cubicBezTo>
                    <a:pt x="310" y="362"/>
                    <a:pt x="355" y="389"/>
                    <a:pt x="402" y="412"/>
                  </a:cubicBezTo>
                  <a:cubicBezTo>
                    <a:pt x="430" y="424"/>
                    <a:pt x="459" y="437"/>
                    <a:pt x="488" y="449"/>
                  </a:cubicBezTo>
                  <a:cubicBezTo>
                    <a:pt x="515" y="461"/>
                    <a:pt x="545" y="469"/>
                    <a:pt x="576" y="472"/>
                  </a:cubicBezTo>
                  <a:lnTo>
                    <a:pt x="573" y="472"/>
                  </a:lnTo>
                  <a:cubicBezTo>
                    <a:pt x="576" y="473"/>
                    <a:pt x="579" y="474"/>
                    <a:pt x="584" y="475"/>
                  </a:cubicBezTo>
                  <a:lnTo>
                    <a:pt x="606" y="480"/>
                  </a:lnTo>
                  <a:cubicBezTo>
                    <a:pt x="621" y="483"/>
                    <a:pt x="635" y="487"/>
                    <a:pt x="650" y="489"/>
                  </a:cubicBezTo>
                  <a:cubicBezTo>
                    <a:pt x="672" y="494"/>
                    <a:pt x="696" y="499"/>
                    <a:pt x="719" y="499"/>
                  </a:cubicBezTo>
                  <a:cubicBezTo>
                    <a:pt x="730" y="499"/>
                    <a:pt x="741" y="498"/>
                    <a:pt x="752" y="495"/>
                  </a:cubicBezTo>
                  <a:cubicBezTo>
                    <a:pt x="782" y="485"/>
                    <a:pt x="792" y="447"/>
                    <a:pt x="771" y="426"/>
                  </a:cubicBezTo>
                  <a:cubicBezTo>
                    <a:pt x="748" y="407"/>
                    <a:pt x="721" y="393"/>
                    <a:pt x="693" y="384"/>
                  </a:cubicBezTo>
                  <a:lnTo>
                    <a:pt x="677" y="378"/>
                  </a:lnTo>
                  <a:lnTo>
                    <a:pt x="677" y="378"/>
                  </a:lnTo>
                  <a:cubicBezTo>
                    <a:pt x="674" y="377"/>
                    <a:pt x="668" y="374"/>
                    <a:pt x="667" y="374"/>
                  </a:cubicBezTo>
                  <a:cubicBezTo>
                    <a:pt x="655" y="368"/>
                    <a:pt x="644" y="363"/>
                    <a:pt x="632" y="358"/>
                  </a:cubicBezTo>
                  <a:cubicBezTo>
                    <a:pt x="628" y="355"/>
                    <a:pt x="622" y="352"/>
                    <a:pt x="617" y="351"/>
                  </a:cubicBezTo>
                  <a:cubicBezTo>
                    <a:pt x="614" y="347"/>
                    <a:pt x="611" y="344"/>
                    <a:pt x="606" y="342"/>
                  </a:cubicBezTo>
                  <a:cubicBezTo>
                    <a:pt x="594" y="334"/>
                    <a:pt x="581" y="327"/>
                    <a:pt x="567" y="321"/>
                  </a:cubicBezTo>
                  <a:cubicBezTo>
                    <a:pt x="545" y="311"/>
                    <a:pt x="522" y="299"/>
                    <a:pt x="500" y="286"/>
                  </a:cubicBezTo>
                  <a:cubicBezTo>
                    <a:pt x="455" y="262"/>
                    <a:pt x="410" y="238"/>
                    <a:pt x="368" y="210"/>
                  </a:cubicBezTo>
                  <a:cubicBezTo>
                    <a:pt x="345" y="197"/>
                    <a:pt x="323" y="182"/>
                    <a:pt x="302" y="167"/>
                  </a:cubicBezTo>
                  <a:lnTo>
                    <a:pt x="275" y="147"/>
                  </a:lnTo>
                  <a:lnTo>
                    <a:pt x="275" y="147"/>
                  </a:lnTo>
                  <a:cubicBezTo>
                    <a:pt x="276" y="148"/>
                    <a:pt x="276" y="148"/>
                    <a:pt x="277" y="148"/>
                  </a:cubicBezTo>
                  <a:cubicBezTo>
                    <a:pt x="277" y="148"/>
                    <a:pt x="271" y="144"/>
                    <a:pt x="271" y="144"/>
                  </a:cubicBezTo>
                  <a:lnTo>
                    <a:pt x="271" y="144"/>
                  </a:lnTo>
                  <a:cubicBezTo>
                    <a:pt x="271" y="144"/>
                    <a:pt x="271" y="144"/>
                    <a:pt x="273" y="146"/>
                  </a:cubicBezTo>
                  <a:cubicBezTo>
                    <a:pt x="272" y="145"/>
                    <a:pt x="271" y="144"/>
                    <a:pt x="270" y="144"/>
                  </a:cubicBezTo>
                  <a:lnTo>
                    <a:pt x="252" y="129"/>
                  </a:lnTo>
                  <a:cubicBezTo>
                    <a:pt x="238" y="117"/>
                    <a:pt x="224" y="107"/>
                    <a:pt x="209" y="95"/>
                  </a:cubicBezTo>
                  <a:cubicBezTo>
                    <a:pt x="207" y="94"/>
                    <a:pt x="205" y="93"/>
                    <a:pt x="203" y="91"/>
                  </a:cubicBezTo>
                  <a:lnTo>
                    <a:pt x="203" y="91"/>
                  </a:lnTo>
                  <a:cubicBezTo>
                    <a:pt x="203" y="91"/>
                    <a:pt x="203" y="91"/>
                    <a:pt x="203" y="91"/>
                  </a:cubicBezTo>
                  <a:lnTo>
                    <a:pt x="203" y="91"/>
                  </a:lnTo>
                  <a:cubicBezTo>
                    <a:pt x="203" y="90"/>
                    <a:pt x="202" y="90"/>
                    <a:pt x="202" y="89"/>
                  </a:cubicBezTo>
                  <a:lnTo>
                    <a:pt x="202" y="89"/>
                  </a:lnTo>
                  <a:cubicBezTo>
                    <a:pt x="202" y="90"/>
                    <a:pt x="203" y="90"/>
                    <a:pt x="203" y="91"/>
                  </a:cubicBezTo>
                  <a:lnTo>
                    <a:pt x="203" y="91"/>
                  </a:lnTo>
                  <a:cubicBezTo>
                    <a:pt x="203" y="91"/>
                    <a:pt x="203" y="91"/>
                    <a:pt x="203" y="91"/>
                  </a:cubicBezTo>
                  <a:cubicBezTo>
                    <a:pt x="197" y="86"/>
                    <a:pt x="190" y="81"/>
                    <a:pt x="185" y="77"/>
                  </a:cubicBezTo>
                  <a:cubicBezTo>
                    <a:pt x="162" y="58"/>
                    <a:pt x="140" y="39"/>
                    <a:pt x="118" y="19"/>
                  </a:cubicBezTo>
                  <a:cubicBezTo>
                    <a:pt x="105" y="7"/>
                    <a:pt x="89" y="0"/>
                    <a:pt x="7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18" name="Google Shape;618;p46"/>
            <p:cNvSpPr/>
            <p:nvPr/>
          </p:nvSpPr>
          <p:spPr>
            <a:xfrm>
              <a:off x="1859175" y="1615125"/>
              <a:ext cx="22450" cy="7275"/>
            </a:xfrm>
            <a:custGeom>
              <a:avLst/>
              <a:gdLst/>
              <a:ahLst/>
              <a:cxnLst/>
              <a:rect l="l" t="t" r="r" b="b"/>
              <a:pathLst>
                <a:path w="898" h="291" extrusionOk="0">
                  <a:moveTo>
                    <a:pt x="80" y="1"/>
                  </a:moveTo>
                  <a:cubicBezTo>
                    <a:pt x="48" y="1"/>
                    <a:pt x="16" y="18"/>
                    <a:pt x="9" y="52"/>
                  </a:cubicBezTo>
                  <a:cubicBezTo>
                    <a:pt x="1" y="87"/>
                    <a:pt x="19" y="130"/>
                    <a:pt x="59" y="139"/>
                  </a:cubicBezTo>
                  <a:lnTo>
                    <a:pt x="57" y="139"/>
                  </a:lnTo>
                  <a:lnTo>
                    <a:pt x="433" y="224"/>
                  </a:lnTo>
                  <a:cubicBezTo>
                    <a:pt x="495" y="238"/>
                    <a:pt x="557" y="253"/>
                    <a:pt x="620" y="263"/>
                  </a:cubicBezTo>
                  <a:lnTo>
                    <a:pt x="712" y="280"/>
                  </a:lnTo>
                  <a:cubicBezTo>
                    <a:pt x="729" y="283"/>
                    <a:pt x="745" y="286"/>
                    <a:pt x="762" y="289"/>
                  </a:cubicBezTo>
                  <a:cubicBezTo>
                    <a:pt x="772" y="290"/>
                    <a:pt x="781" y="291"/>
                    <a:pt x="791" y="291"/>
                  </a:cubicBezTo>
                  <a:cubicBezTo>
                    <a:pt x="801" y="291"/>
                    <a:pt x="811" y="290"/>
                    <a:pt x="822" y="289"/>
                  </a:cubicBezTo>
                  <a:cubicBezTo>
                    <a:pt x="877" y="289"/>
                    <a:pt x="898" y="215"/>
                    <a:pt x="849" y="187"/>
                  </a:cubicBezTo>
                  <a:cubicBezTo>
                    <a:pt x="832" y="177"/>
                    <a:pt x="815" y="168"/>
                    <a:pt x="796" y="161"/>
                  </a:cubicBezTo>
                  <a:cubicBezTo>
                    <a:pt x="780" y="156"/>
                    <a:pt x="764" y="153"/>
                    <a:pt x="748" y="150"/>
                  </a:cubicBezTo>
                  <a:lnTo>
                    <a:pt x="658" y="125"/>
                  </a:lnTo>
                  <a:cubicBezTo>
                    <a:pt x="596" y="109"/>
                    <a:pt x="534" y="97"/>
                    <a:pt x="472" y="83"/>
                  </a:cubicBezTo>
                  <a:lnTo>
                    <a:pt x="95" y="2"/>
                  </a:lnTo>
                  <a:cubicBezTo>
                    <a:pt x="90" y="1"/>
                    <a:pt x="85" y="1"/>
                    <a:pt x="8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29127"/>
      </p:ext>
    </p:extLst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one column 1">
  <p:cSld name="CUSTOM_10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Google Shape;620;p47"/>
          <p:cNvSpPr txBox="1">
            <a:spLocks noGrp="1"/>
          </p:cNvSpPr>
          <p:nvPr>
            <p:ph type="ctrTitle"/>
          </p:nvPr>
        </p:nvSpPr>
        <p:spPr>
          <a:xfrm flipH="1">
            <a:off x="7459200" y="2787784"/>
            <a:ext cx="3772800" cy="126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621" name="Google Shape;621;p47"/>
          <p:cNvSpPr txBox="1">
            <a:spLocks noGrp="1"/>
          </p:cNvSpPr>
          <p:nvPr>
            <p:ph type="subTitle" idx="1"/>
          </p:nvPr>
        </p:nvSpPr>
        <p:spPr>
          <a:xfrm flipH="1">
            <a:off x="7962756" y="3893817"/>
            <a:ext cx="3269200" cy="147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22" name="Google Shape;622;p47"/>
          <p:cNvGrpSpPr/>
          <p:nvPr/>
        </p:nvGrpSpPr>
        <p:grpSpPr>
          <a:xfrm>
            <a:off x="-980453" y="-512747"/>
            <a:ext cx="4259709" cy="3697859"/>
            <a:chOff x="1652825" y="2051550"/>
            <a:chExt cx="553075" cy="480125"/>
          </a:xfrm>
        </p:grpSpPr>
        <p:sp>
          <p:nvSpPr>
            <p:cNvPr id="623" name="Google Shape;623;p47"/>
            <p:cNvSpPr/>
            <p:nvPr/>
          </p:nvSpPr>
          <p:spPr>
            <a:xfrm>
              <a:off x="1652825" y="2051550"/>
              <a:ext cx="553075" cy="480125"/>
            </a:xfrm>
            <a:custGeom>
              <a:avLst/>
              <a:gdLst/>
              <a:ahLst/>
              <a:cxnLst/>
              <a:rect l="l" t="t" r="r" b="b"/>
              <a:pathLst>
                <a:path w="22123" h="19205" extrusionOk="0">
                  <a:moveTo>
                    <a:pt x="14167" y="591"/>
                  </a:moveTo>
                  <a:lnTo>
                    <a:pt x="12063" y="1975"/>
                  </a:lnTo>
                  <a:cubicBezTo>
                    <a:pt x="12692" y="1765"/>
                    <a:pt x="13324" y="1564"/>
                    <a:pt x="13960" y="1373"/>
                  </a:cubicBezTo>
                  <a:lnTo>
                    <a:pt x="13960" y="1373"/>
                  </a:lnTo>
                  <a:cubicBezTo>
                    <a:pt x="14036" y="1115"/>
                    <a:pt x="14105" y="854"/>
                    <a:pt x="14167" y="591"/>
                  </a:cubicBezTo>
                  <a:close/>
                  <a:moveTo>
                    <a:pt x="19856" y="0"/>
                  </a:moveTo>
                  <a:cubicBezTo>
                    <a:pt x="19449" y="0"/>
                    <a:pt x="19027" y="62"/>
                    <a:pt x="18648" y="147"/>
                  </a:cubicBezTo>
                  <a:cubicBezTo>
                    <a:pt x="17071" y="499"/>
                    <a:pt x="15507" y="908"/>
                    <a:pt x="13960" y="1373"/>
                  </a:cubicBezTo>
                  <a:lnTo>
                    <a:pt x="13960" y="1373"/>
                  </a:lnTo>
                  <a:cubicBezTo>
                    <a:pt x="13110" y="4248"/>
                    <a:pt x="11393" y="6865"/>
                    <a:pt x="9083" y="8777"/>
                  </a:cubicBezTo>
                  <a:cubicBezTo>
                    <a:pt x="7257" y="10289"/>
                    <a:pt x="5096" y="11357"/>
                    <a:pt x="3291" y="12892"/>
                  </a:cubicBezTo>
                  <a:cubicBezTo>
                    <a:pt x="1486" y="14425"/>
                    <a:pt x="1" y="16651"/>
                    <a:pt x="259" y="19007"/>
                  </a:cubicBezTo>
                  <a:cubicBezTo>
                    <a:pt x="755" y="19142"/>
                    <a:pt x="1264" y="19204"/>
                    <a:pt x="1774" y="19204"/>
                  </a:cubicBezTo>
                  <a:cubicBezTo>
                    <a:pt x="3055" y="19204"/>
                    <a:pt x="4347" y="18814"/>
                    <a:pt x="5491" y="18214"/>
                  </a:cubicBezTo>
                  <a:cubicBezTo>
                    <a:pt x="7090" y="17373"/>
                    <a:pt x="8450" y="16152"/>
                    <a:pt x="9792" y="14942"/>
                  </a:cubicBezTo>
                  <a:cubicBezTo>
                    <a:pt x="11993" y="12958"/>
                    <a:pt x="14208" y="10960"/>
                    <a:pt x="15996" y="8597"/>
                  </a:cubicBezTo>
                  <a:cubicBezTo>
                    <a:pt x="17222" y="6976"/>
                    <a:pt x="18259" y="5172"/>
                    <a:pt x="19823" y="3877"/>
                  </a:cubicBezTo>
                  <a:cubicBezTo>
                    <a:pt x="20802" y="3066"/>
                    <a:pt x="22122" y="1986"/>
                    <a:pt x="21580" y="838"/>
                  </a:cubicBezTo>
                  <a:cubicBezTo>
                    <a:pt x="21281" y="202"/>
                    <a:pt x="20593" y="0"/>
                    <a:pt x="198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24" name="Google Shape;624;p47"/>
            <p:cNvSpPr/>
            <p:nvPr/>
          </p:nvSpPr>
          <p:spPr>
            <a:xfrm>
              <a:off x="2009125" y="2124850"/>
              <a:ext cx="22700" cy="7825"/>
            </a:xfrm>
            <a:custGeom>
              <a:avLst/>
              <a:gdLst/>
              <a:ahLst/>
              <a:cxnLst/>
              <a:rect l="l" t="t" r="r" b="b"/>
              <a:pathLst>
                <a:path w="908" h="313" extrusionOk="0">
                  <a:moveTo>
                    <a:pt x="703" y="1"/>
                  </a:moveTo>
                  <a:cubicBezTo>
                    <a:pt x="689" y="1"/>
                    <a:pt x="675" y="2"/>
                    <a:pt x="660" y="5"/>
                  </a:cubicBezTo>
                  <a:cubicBezTo>
                    <a:pt x="592" y="15"/>
                    <a:pt x="526" y="26"/>
                    <a:pt x="459" y="42"/>
                  </a:cubicBezTo>
                  <a:cubicBezTo>
                    <a:pt x="328" y="73"/>
                    <a:pt x="199" y="111"/>
                    <a:pt x="71" y="155"/>
                  </a:cubicBezTo>
                  <a:cubicBezTo>
                    <a:pt x="31" y="169"/>
                    <a:pt x="1" y="210"/>
                    <a:pt x="14" y="254"/>
                  </a:cubicBezTo>
                  <a:cubicBezTo>
                    <a:pt x="25" y="289"/>
                    <a:pt x="57" y="312"/>
                    <a:pt x="93" y="312"/>
                  </a:cubicBezTo>
                  <a:cubicBezTo>
                    <a:pt x="99" y="312"/>
                    <a:pt x="107" y="311"/>
                    <a:pt x="113" y="309"/>
                  </a:cubicBezTo>
                  <a:cubicBezTo>
                    <a:pt x="240" y="269"/>
                    <a:pt x="370" y="236"/>
                    <a:pt x="501" y="207"/>
                  </a:cubicBezTo>
                  <a:cubicBezTo>
                    <a:pt x="567" y="193"/>
                    <a:pt x="632" y="177"/>
                    <a:pt x="697" y="162"/>
                  </a:cubicBezTo>
                  <a:cubicBezTo>
                    <a:pt x="717" y="158"/>
                    <a:pt x="736" y="153"/>
                    <a:pt x="755" y="143"/>
                  </a:cubicBezTo>
                  <a:lnTo>
                    <a:pt x="765" y="135"/>
                  </a:lnTo>
                  <a:cubicBezTo>
                    <a:pt x="770" y="134"/>
                    <a:pt x="772" y="133"/>
                    <a:pt x="771" y="133"/>
                  </a:cubicBezTo>
                  <a:cubicBezTo>
                    <a:pt x="771" y="133"/>
                    <a:pt x="770" y="133"/>
                    <a:pt x="769" y="133"/>
                  </a:cubicBezTo>
                  <a:cubicBezTo>
                    <a:pt x="768" y="133"/>
                    <a:pt x="767" y="134"/>
                    <a:pt x="767" y="134"/>
                  </a:cubicBezTo>
                  <a:cubicBezTo>
                    <a:pt x="766" y="134"/>
                    <a:pt x="768" y="133"/>
                    <a:pt x="773" y="131"/>
                  </a:cubicBezTo>
                  <a:lnTo>
                    <a:pt x="787" y="126"/>
                  </a:lnTo>
                  <a:cubicBezTo>
                    <a:pt x="820" y="115"/>
                    <a:pt x="853" y="101"/>
                    <a:pt x="884" y="82"/>
                  </a:cubicBezTo>
                  <a:cubicBezTo>
                    <a:pt x="908" y="67"/>
                    <a:pt x="903" y="30"/>
                    <a:pt x="876" y="21"/>
                  </a:cubicBezTo>
                  <a:cubicBezTo>
                    <a:pt x="841" y="12"/>
                    <a:pt x="806" y="8"/>
                    <a:pt x="771" y="8"/>
                  </a:cubicBezTo>
                  <a:cubicBezTo>
                    <a:pt x="769" y="8"/>
                    <a:pt x="757" y="7"/>
                    <a:pt x="753" y="7"/>
                  </a:cubicBezTo>
                  <a:cubicBezTo>
                    <a:pt x="752" y="7"/>
                    <a:pt x="752" y="7"/>
                    <a:pt x="752" y="7"/>
                  </a:cubicBezTo>
                  <a:lnTo>
                    <a:pt x="752" y="7"/>
                  </a:lnTo>
                  <a:cubicBezTo>
                    <a:pt x="747" y="6"/>
                    <a:pt x="741" y="5"/>
                    <a:pt x="736" y="3"/>
                  </a:cubicBezTo>
                  <a:cubicBezTo>
                    <a:pt x="725" y="2"/>
                    <a:pt x="714" y="1"/>
                    <a:pt x="7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25" name="Google Shape;625;p47"/>
            <p:cNvSpPr/>
            <p:nvPr/>
          </p:nvSpPr>
          <p:spPr>
            <a:xfrm>
              <a:off x="2023400" y="2131700"/>
              <a:ext cx="10600" cy="3000"/>
            </a:xfrm>
            <a:custGeom>
              <a:avLst/>
              <a:gdLst/>
              <a:ahLst/>
              <a:cxnLst/>
              <a:rect l="l" t="t" r="r" b="b"/>
              <a:pathLst>
                <a:path w="424" h="120" extrusionOk="0">
                  <a:moveTo>
                    <a:pt x="333" y="0"/>
                  </a:moveTo>
                  <a:cubicBezTo>
                    <a:pt x="326" y="0"/>
                    <a:pt x="319" y="0"/>
                    <a:pt x="311" y="1"/>
                  </a:cubicBezTo>
                  <a:lnTo>
                    <a:pt x="229" y="3"/>
                  </a:lnTo>
                  <a:lnTo>
                    <a:pt x="61" y="9"/>
                  </a:lnTo>
                  <a:cubicBezTo>
                    <a:pt x="27" y="9"/>
                    <a:pt x="1" y="38"/>
                    <a:pt x="5" y="71"/>
                  </a:cubicBezTo>
                  <a:cubicBezTo>
                    <a:pt x="9" y="100"/>
                    <a:pt x="34" y="120"/>
                    <a:pt x="62" y="120"/>
                  </a:cubicBezTo>
                  <a:cubicBezTo>
                    <a:pt x="66" y="120"/>
                    <a:pt x="71" y="119"/>
                    <a:pt x="75" y="118"/>
                  </a:cubicBezTo>
                  <a:lnTo>
                    <a:pt x="240" y="81"/>
                  </a:lnTo>
                  <a:lnTo>
                    <a:pt x="321" y="64"/>
                  </a:lnTo>
                  <a:cubicBezTo>
                    <a:pt x="348" y="58"/>
                    <a:pt x="376" y="50"/>
                    <a:pt x="402" y="40"/>
                  </a:cubicBezTo>
                  <a:cubicBezTo>
                    <a:pt x="423" y="34"/>
                    <a:pt x="420" y="4"/>
                    <a:pt x="398" y="4"/>
                  </a:cubicBezTo>
                  <a:cubicBezTo>
                    <a:pt x="376" y="2"/>
                    <a:pt x="355" y="0"/>
                    <a:pt x="33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26" name="Google Shape;626;p47"/>
            <p:cNvSpPr/>
            <p:nvPr/>
          </p:nvSpPr>
          <p:spPr>
            <a:xfrm>
              <a:off x="2125375" y="2140550"/>
              <a:ext cx="10225" cy="4850"/>
            </a:xfrm>
            <a:custGeom>
              <a:avLst/>
              <a:gdLst/>
              <a:ahLst/>
              <a:cxnLst/>
              <a:rect l="l" t="t" r="r" b="b"/>
              <a:pathLst>
                <a:path w="409" h="194" extrusionOk="0">
                  <a:moveTo>
                    <a:pt x="356" y="0"/>
                  </a:moveTo>
                  <a:cubicBezTo>
                    <a:pt x="347" y="0"/>
                    <a:pt x="339" y="1"/>
                    <a:pt x="332" y="4"/>
                  </a:cubicBezTo>
                  <a:cubicBezTo>
                    <a:pt x="317" y="6"/>
                    <a:pt x="304" y="8"/>
                    <a:pt x="290" y="12"/>
                  </a:cubicBezTo>
                  <a:lnTo>
                    <a:pt x="211" y="30"/>
                  </a:lnTo>
                  <a:cubicBezTo>
                    <a:pt x="183" y="36"/>
                    <a:pt x="157" y="42"/>
                    <a:pt x="132" y="51"/>
                  </a:cubicBezTo>
                  <a:lnTo>
                    <a:pt x="52" y="80"/>
                  </a:lnTo>
                  <a:cubicBezTo>
                    <a:pt x="23" y="90"/>
                    <a:pt x="0" y="120"/>
                    <a:pt x="11" y="151"/>
                  </a:cubicBezTo>
                  <a:cubicBezTo>
                    <a:pt x="18" y="177"/>
                    <a:pt x="42" y="194"/>
                    <a:pt x="67" y="194"/>
                  </a:cubicBezTo>
                  <a:cubicBezTo>
                    <a:pt x="72" y="194"/>
                    <a:pt x="78" y="193"/>
                    <a:pt x="83" y="191"/>
                  </a:cubicBezTo>
                  <a:lnTo>
                    <a:pt x="82" y="191"/>
                  </a:lnTo>
                  <a:lnTo>
                    <a:pt x="164" y="167"/>
                  </a:lnTo>
                  <a:cubicBezTo>
                    <a:pt x="193" y="157"/>
                    <a:pt x="221" y="144"/>
                    <a:pt x="250" y="131"/>
                  </a:cubicBezTo>
                  <a:lnTo>
                    <a:pt x="326" y="98"/>
                  </a:lnTo>
                  <a:cubicBezTo>
                    <a:pt x="351" y="86"/>
                    <a:pt x="383" y="75"/>
                    <a:pt x="399" y="51"/>
                  </a:cubicBezTo>
                  <a:cubicBezTo>
                    <a:pt x="409" y="32"/>
                    <a:pt x="400" y="9"/>
                    <a:pt x="380" y="4"/>
                  </a:cubicBezTo>
                  <a:cubicBezTo>
                    <a:pt x="372" y="1"/>
                    <a:pt x="364" y="0"/>
                    <a:pt x="35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27" name="Google Shape;627;p47"/>
            <p:cNvSpPr/>
            <p:nvPr/>
          </p:nvSpPr>
          <p:spPr>
            <a:xfrm>
              <a:off x="1891125" y="2273725"/>
              <a:ext cx="15350" cy="7425"/>
            </a:xfrm>
            <a:custGeom>
              <a:avLst/>
              <a:gdLst/>
              <a:ahLst/>
              <a:cxnLst/>
              <a:rect l="l" t="t" r="r" b="b"/>
              <a:pathLst>
                <a:path w="614" h="297" extrusionOk="0">
                  <a:moveTo>
                    <a:pt x="544" y="0"/>
                  </a:moveTo>
                  <a:cubicBezTo>
                    <a:pt x="503" y="0"/>
                    <a:pt x="465" y="16"/>
                    <a:pt x="427" y="27"/>
                  </a:cubicBezTo>
                  <a:cubicBezTo>
                    <a:pt x="406" y="34"/>
                    <a:pt x="385" y="38"/>
                    <a:pt x="365" y="45"/>
                  </a:cubicBezTo>
                  <a:lnTo>
                    <a:pt x="302" y="65"/>
                  </a:lnTo>
                  <a:cubicBezTo>
                    <a:pt x="223" y="93"/>
                    <a:pt x="144" y="123"/>
                    <a:pt x="64" y="154"/>
                  </a:cubicBezTo>
                  <a:cubicBezTo>
                    <a:pt x="28" y="168"/>
                    <a:pt x="1" y="203"/>
                    <a:pt x="13" y="243"/>
                  </a:cubicBezTo>
                  <a:cubicBezTo>
                    <a:pt x="23" y="273"/>
                    <a:pt x="51" y="296"/>
                    <a:pt x="82" y="296"/>
                  </a:cubicBezTo>
                  <a:cubicBezTo>
                    <a:pt x="89" y="296"/>
                    <a:pt x="96" y="295"/>
                    <a:pt x="102" y="293"/>
                  </a:cubicBezTo>
                  <a:lnTo>
                    <a:pt x="101" y="293"/>
                  </a:lnTo>
                  <a:cubicBezTo>
                    <a:pt x="183" y="267"/>
                    <a:pt x="264" y="239"/>
                    <a:pt x="346" y="209"/>
                  </a:cubicBezTo>
                  <a:lnTo>
                    <a:pt x="404" y="188"/>
                  </a:lnTo>
                  <a:cubicBezTo>
                    <a:pt x="418" y="183"/>
                    <a:pt x="431" y="178"/>
                    <a:pt x="445" y="171"/>
                  </a:cubicBezTo>
                  <a:cubicBezTo>
                    <a:pt x="450" y="169"/>
                    <a:pt x="456" y="167"/>
                    <a:pt x="460" y="163"/>
                  </a:cubicBezTo>
                  <a:cubicBezTo>
                    <a:pt x="461" y="162"/>
                    <a:pt x="462" y="162"/>
                    <a:pt x="462" y="161"/>
                  </a:cubicBezTo>
                  <a:lnTo>
                    <a:pt x="462" y="161"/>
                  </a:lnTo>
                  <a:cubicBezTo>
                    <a:pt x="462" y="161"/>
                    <a:pt x="462" y="161"/>
                    <a:pt x="462" y="161"/>
                  </a:cubicBezTo>
                  <a:cubicBezTo>
                    <a:pt x="483" y="153"/>
                    <a:pt x="503" y="145"/>
                    <a:pt x="522" y="136"/>
                  </a:cubicBezTo>
                  <a:cubicBezTo>
                    <a:pt x="535" y="131"/>
                    <a:pt x="549" y="126"/>
                    <a:pt x="561" y="119"/>
                  </a:cubicBezTo>
                  <a:cubicBezTo>
                    <a:pt x="573" y="113"/>
                    <a:pt x="584" y="103"/>
                    <a:pt x="594" y="93"/>
                  </a:cubicBezTo>
                  <a:cubicBezTo>
                    <a:pt x="610" y="77"/>
                    <a:pt x="613" y="54"/>
                    <a:pt x="605" y="34"/>
                  </a:cubicBezTo>
                  <a:cubicBezTo>
                    <a:pt x="596" y="14"/>
                    <a:pt x="578" y="1"/>
                    <a:pt x="556" y="1"/>
                  </a:cubicBezTo>
                  <a:cubicBezTo>
                    <a:pt x="552" y="1"/>
                    <a:pt x="548" y="0"/>
                    <a:pt x="54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28" name="Google Shape;628;p47"/>
            <p:cNvSpPr/>
            <p:nvPr/>
          </p:nvSpPr>
          <p:spPr>
            <a:xfrm>
              <a:off x="1902050" y="2263300"/>
              <a:ext cx="13100" cy="5525"/>
            </a:xfrm>
            <a:custGeom>
              <a:avLst/>
              <a:gdLst/>
              <a:ahLst/>
              <a:cxnLst/>
              <a:rect l="l" t="t" r="r" b="b"/>
              <a:pathLst>
                <a:path w="524" h="221" extrusionOk="0">
                  <a:moveTo>
                    <a:pt x="469" y="0"/>
                  </a:moveTo>
                  <a:cubicBezTo>
                    <a:pt x="439" y="0"/>
                    <a:pt x="409" y="6"/>
                    <a:pt x="380" y="11"/>
                  </a:cubicBezTo>
                  <a:cubicBezTo>
                    <a:pt x="345" y="17"/>
                    <a:pt x="311" y="25"/>
                    <a:pt x="276" y="36"/>
                  </a:cubicBezTo>
                  <a:cubicBezTo>
                    <a:pt x="206" y="58"/>
                    <a:pt x="136" y="81"/>
                    <a:pt x="66" y="104"/>
                  </a:cubicBezTo>
                  <a:cubicBezTo>
                    <a:pt x="0" y="127"/>
                    <a:pt x="22" y="220"/>
                    <a:pt x="84" y="220"/>
                  </a:cubicBezTo>
                  <a:cubicBezTo>
                    <a:pt x="89" y="220"/>
                    <a:pt x="93" y="220"/>
                    <a:pt x="98" y="219"/>
                  </a:cubicBezTo>
                  <a:cubicBezTo>
                    <a:pt x="168" y="197"/>
                    <a:pt x="238" y="175"/>
                    <a:pt x="307" y="151"/>
                  </a:cubicBezTo>
                  <a:cubicBezTo>
                    <a:pt x="344" y="139"/>
                    <a:pt x="379" y="124"/>
                    <a:pt x="413" y="108"/>
                  </a:cubicBezTo>
                  <a:cubicBezTo>
                    <a:pt x="446" y="92"/>
                    <a:pt x="482" y="77"/>
                    <a:pt x="509" y="51"/>
                  </a:cubicBezTo>
                  <a:cubicBezTo>
                    <a:pt x="524" y="36"/>
                    <a:pt x="518" y="6"/>
                    <a:pt x="496" y="2"/>
                  </a:cubicBezTo>
                  <a:cubicBezTo>
                    <a:pt x="487" y="1"/>
                    <a:pt x="478" y="0"/>
                    <a:pt x="46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29" name="Google Shape;629;p47"/>
            <p:cNvSpPr/>
            <p:nvPr/>
          </p:nvSpPr>
          <p:spPr>
            <a:xfrm>
              <a:off x="1835475" y="2440200"/>
              <a:ext cx="13525" cy="5400"/>
            </a:xfrm>
            <a:custGeom>
              <a:avLst/>
              <a:gdLst/>
              <a:ahLst/>
              <a:cxnLst/>
              <a:rect l="l" t="t" r="r" b="b"/>
              <a:pathLst>
                <a:path w="541" h="216" extrusionOk="0">
                  <a:moveTo>
                    <a:pt x="462" y="0"/>
                  </a:moveTo>
                  <a:cubicBezTo>
                    <a:pt x="447" y="0"/>
                    <a:pt x="433" y="2"/>
                    <a:pt x="418" y="5"/>
                  </a:cubicBezTo>
                  <a:lnTo>
                    <a:pt x="370" y="14"/>
                  </a:lnTo>
                  <a:cubicBezTo>
                    <a:pt x="335" y="21"/>
                    <a:pt x="300" y="29"/>
                    <a:pt x="265" y="36"/>
                  </a:cubicBezTo>
                  <a:lnTo>
                    <a:pt x="58" y="82"/>
                  </a:lnTo>
                  <a:cubicBezTo>
                    <a:pt x="21" y="91"/>
                    <a:pt x="0" y="129"/>
                    <a:pt x="10" y="166"/>
                  </a:cubicBezTo>
                  <a:cubicBezTo>
                    <a:pt x="19" y="196"/>
                    <a:pt x="47" y="215"/>
                    <a:pt x="77" y="215"/>
                  </a:cubicBezTo>
                  <a:cubicBezTo>
                    <a:pt x="82" y="215"/>
                    <a:pt x="88" y="215"/>
                    <a:pt x="94" y="213"/>
                  </a:cubicBezTo>
                  <a:lnTo>
                    <a:pt x="95" y="213"/>
                  </a:lnTo>
                  <a:lnTo>
                    <a:pt x="302" y="165"/>
                  </a:lnTo>
                  <a:cubicBezTo>
                    <a:pt x="335" y="157"/>
                    <a:pt x="370" y="148"/>
                    <a:pt x="404" y="140"/>
                  </a:cubicBezTo>
                  <a:lnTo>
                    <a:pt x="453" y="127"/>
                  </a:lnTo>
                  <a:cubicBezTo>
                    <a:pt x="472" y="121"/>
                    <a:pt x="492" y="112"/>
                    <a:pt x="510" y="100"/>
                  </a:cubicBezTo>
                  <a:cubicBezTo>
                    <a:pt x="531" y="88"/>
                    <a:pt x="540" y="64"/>
                    <a:pt x="535" y="41"/>
                  </a:cubicBezTo>
                  <a:cubicBezTo>
                    <a:pt x="528" y="18"/>
                    <a:pt x="507" y="3"/>
                    <a:pt x="484" y="1"/>
                  </a:cubicBezTo>
                  <a:cubicBezTo>
                    <a:pt x="477" y="1"/>
                    <a:pt x="469" y="0"/>
                    <a:pt x="46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30" name="Google Shape;630;p47"/>
            <p:cNvSpPr/>
            <p:nvPr/>
          </p:nvSpPr>
          <p:spPr>
            <a:xfrm>
              <a:off x="1848925" y="2429000"/>
              <a:ext cx="10150" cy="5575"/>
            </a:xfrm>
            <a:custGeom>
              <a:avLst/>
              <a:gdLst/>
              <a:ahLst/>
              <a:cxnLst/>
              <a:rect l="l" t="t" r="r" b="b"/>
              <a:pathLst>
                <a:path w="406" h="223" extrusionOk="0">
                  <a:moveTo>
                    <a:pt x="324" y="0"/>
                  </a:moveTo>
                  <a:cubicBezTo>
                    <a:pt x="322" y="0"/>
                    <a:pt x="319" y="0"/>
                    <a:pt x="317" y="1"/>
                  </a:cubicBezTo>
                  <a:cubicBezTo>
                    <a:pt x="300" y="3"/>
                    <a:pt x="283" y="4"/>
                    <a:pt x="266" y="7"/>
                  </a:cubicBezTo>
                  <a:cubicBezTo>
                    <a:pt x="242" y="12"/>
                    <a:pt x="216" y="18"/>
                    <a:pt x="192" y="26"/>
                  </a:cubicBezTo>
                  <a:cubicBezTo>
                    <a:pt x="139" y="43"/>
                    <a:pt x="90" y="67"/>
                    <a:pt x="43" y="96"/>
                  </a:cubicBezTo>
                  <a:cubicBezTo>
                    <a:pt x="12" y="116"/>
                    <a:pt x="0" y="157"/>
                    <a:pt x="18" y="189"/>
                  </a:cubicBezTo>
                  <a:cubicBezTo>
                    <a:pt x="32" y="209"/>
                    <a:pt x="56" y="222"/>
                    <a:pt x="79" y="222"/>
                  </a:cubicBezTo>
                  <a:cubicBezTo>
                    <a:pt x="90" y="222"/>
                    <a:pt x="101" y="220"/>
                    <a:pt x="111" y="213"/>
                  </a:cubicBezTo>
                  <a:lnTo>
                    <a:pt x="112" y="213"/>
                  </a:lnTo>
                  <a:cubicBezTo>
                    <a:pt x="131" y="200"/>
                    <a:pt x="152" y="188"/>
                    <a:pt x="174" y="178"/>
                  </a:cubicBezTo>
                  <a:cubicBezTo>
                    <a:pt x="178" y="174"/>
                    <a:pt x="184" y="172"/>
                    <a:pt x="191" y="170"/>
                  </a:cubicBezTo>
                  <a:cubicBezTo>
                    <a:pt x="194" y="168"/>
                    <a:pt x="203" y="163"/>
                    <a:pt x="203" y="163"/>
                  </a:cubicBezTo>
                  <a:lnTo>
                    <a:pt x="203" y="163"/>
                  </a:lnTo>
                  <a:cubicBezTo>
                    <a:pt x="203" y="163"/>
                    <a:pt x="201" y="164"/>
                    <a:pt x="197" y="166"/>
                  </a:cubicBezTo>
                  <a:cubicBezTo>
                    <a:pt x="207" y="162"/>
                    <a:pt x="219" y="157"/>
                    <a:pt x="230" y="154"/>
                  </a:cubicBezTo>
                  <a:cubicBezTo>
                    <a:pt x="253" y="146"/>
                    <a:pt x="275" y="140"/>
                    <a:pt x="299" y="134"/>
                  </a:cubicBezTo>
                  <a:cubicBezTo>
                    <a:pt x="311" y="131"/>
                    <a:pt x="322" y="128"/>
                    <a:pt x="334" y="127"/>
                  </a:cubicBezTo>
                  <a:cubicBezTo>
                    <a:pt x="350" y="123"/>
                    <a:pt x="364" y="117"/>
                    <a:pt x="378" y="108"/>
                  </a:cubicBezTo>
                  <a:cubicBezTo>
                    <a:pt x="396" y="96"/>
                    <a:pt x="405" y="75"/>
                    <a:pt x="403" y="53"/>
                  </a:cubicBezTo>
                  <a:cubicBezTo>
                    <a:pt x="399" y="33"/>
                    <a:pt x="385" y="14"/>
                    <a:pt x="364" y="9"/>
                  </a:cubicBezTo>
                  <a:cubicBezTo>
                    <a:pt x="351" y="3"/>
                    <a:pt x="338" y="0"/>
                    <a:pt x="32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one column 2">
  <p:cSld name="CUSTOM_10_1">
    <p:spTree>
      <p:nvGrpSpPr>
        <p:cNvPr id="1" name="Shape 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2" name="Google Shape;632;p48"/>
          <p:cNvSpPr txBox="1">
            <a:spLocks noGrp="1"/>
          </p:cNvSpPr>
          <p:nvPr>
            <p:ph type="ctrTitle"/>
          </p:nvPr>
        </p:nvSpPr>
        <p:spPr>
          <a:xfrm flipH="1">
            <a:off x="2331200" y="859700"/>
            <a:ext cx="3772800" cy="126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633" name="Google Shape;633;p48"/>
          <p:cNvSpPr txBox="1">
            <a:spLocks noGrp="1"/>
          </p:cNvSpPr>
          <p:nvPr>
            <p:ph type="subTitle" idx="1"/>
          </p:nvPr>
        </p:nvSpPr>
        <p:spPr>
          <a:xfrm flipH="1">
            <a:off x="2331200" y="1965733"/>
            <a:ext cx="3772800" cy="147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one column 3">
  <p:cSld name="CUSTOM_10_1_1">
    <p:spTree>
      <p:nvGrpSpPr>
        <p:cNvPr id="1" name="Shape 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5" name="Google Shape;635;p49"/>
          <p:cNvSpPr txBox="1">
            <a:spLocks noGrp="1"/>
          </p:cNvSpPr>
          <p:nvPr>
            <p:ph type="ctrTitle"/>
          </p:nvPr>
        </p:nvSpPr>
        <p:spPr>
          <a:xfrm flipH="1">
            <a:off x="7459200" y="3587692"/>
            <a:ext cx="3772800" cy="81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636" name="Google Shape;636;p49"/>
          <p:cNvSpPr txBox="1">
            <a:spLocks noGrp="1"/>
          </p:cNvSpPr>
          <p:nvPr>
            <p:ph type="subTitle" idx="1"/>
          </p:nvPr>
        </p:nvSpPr>
        <p:spPr>
          <a:xfrm flipH="1">
            <a:off x="7962756" y="4248259"/>
            <a:ext cx="3269200" cy="147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37" name="Google Shape;637;p49"/>
          <p:cNvGrpSpPr/>
          <p:nvPr/>
        </p:nvGrpSpPr>
        <p:grpSpPr>
          <a:xfrm>
            <a:off x="10316638" y="12"/>
            <a:ext cx="2642135" cy="3217941"/>
            <a:chOff x="4781675" y="3046350"/>
            <a:chExt cx="426050" cy="518900"/>
          </a:xfrm>
        </p:grpSpPr>
        <p:sp>
          <p:nvSpPr>
            <p:cNvPr id="638" name="Google Shape;638;p49"/>
            <p:cNvSpPr/>
            <p:nvPr/>
          </p:nvSpPr>
          <p:spPr>
            <a:xfrm>
              <a:off x="4781675" y="3046350"/>
              <a:ext cx="426050" cy="518900"/>
            </a:xfrm>
            <a:custGeom>
              <a:avLst/>
              <a:gdLst/>
              <a:ahLst/>
              <a:cxnLst/>
              <a:rect l="l" t="t" r="r" b="b"/>
              <a:pathLst>
                <a:path w="17042" h="20756" extrusionOk="0">
                  <a:moveTo>
                    <a:pt x="14204" y="1"/>
                  </a:moveTo>
                  <a:cubicBezTo>
                    <a:pt x="13529" y="1"/>
                    <a:pt x="13378" y="447"/>
                    <a:pt x="13107" y="1082"/>
                  </a:cubicBezTo>
                  <a:cubicBezTo>
                    <a:pt x="12270" y="3047"/>
                    <a:pt x="10686" y="3995"/>
                    <a:pt x="8835" y="4908"/>
                  </a:cubicBezTo>
                  <a:lnTo>
                    <a:pt x="4513" y="7039"/>
                  </a:lnTo>
                  <a:cubicBezTo>
                    <a:pt x="3779" y="7401"/>
                    <a:pt x="3036" y="7768"/>
                    <a:pt x="2409" y="8295"/>
                  </a:cubicBezTo>
                  <a:cubicBezTo>
                    <a:pt x="1919" y="8707"/>
                    <a:pt x="1510" y="9210"/>
                    <a:pt x="1171" y="9755"/>
                  </a:cubicBezTo>
                  <a:cubicBezTo>
                    <a:pt x="357" y="11066"/>
                    <a:pt x="1" y="12870"/>
                    <a:pt x="932" y="14100"/>
                  </a:cubicBezTo>
                  <a:cubicBezTo>
                    <a:pt x="1511" y="14866"/>
                    <a:pt x="2453" y="15244"/>
                    <a:pt x="3336" y="15620"/>
                  </a:cubicBezTo>
                  <a:cubicBezTo>
                    <a:pt x="5416" y="16508"/>
                    <a:pt x="7429" y="17582"/>
                    <a:pt x="9210" y="18976"/>
                  </a:cubicBezTo>
                  <a:cubicBezTo>
                    <a:pt x="9839" y="19468"/>
                    <a:pt x="10444" y="20004"/>
                    <a:pt x="11157" y="20365"/>
                  </a:cubicBezTo>
                  <a:cubicBezTo>
                    <a:pt x="11622" y="20601"/>
                    <a:pt x="12148" y="20756"/>
                    <a:pt x="12665" y="20756"/>
                  </a:cubicBezTo>
                  <a:cubicBezTo>
                    <a:pt x="12939" y="20756"/>
                    <a:pt x="13211" y="20712"/>
                    <a:pt x="13471" y="20614"/>
                  </a:cubicBezTo>
                  <a:cubicBezTo>
                    <a:pt x="14217" y="20330"/>
                    <a:pt x="14778" y="19497"/>
                    <a:pt x="14572" y="18726"/>
                  </a:cubicBezTo>
                  <a:cubicBezTo>
                    <a:pt x="14457" y="18299"/>
                    <a:pt x="14142" y="17956"/>
                    <a:pt x="13811" y="17662"/>
                  </a:cubicBezTo>
                  <a:cubicBezTo>
                    <a:pt x="12096" y="16140"/>
                    <a:pt x="9786" y="15477"/>
                    <a:pt x="7907" y="14161"/>
                  </a:cubicBezTo>
                  <a:cubicBezTo>
                    <a:pt x="7316" y="13747"/>
                    <a:pt x="6740" y="13221"/>
                    <a:pt x="6576" y="12518"/>
                  </a:cubicBezTo>
                  <a:cubicBezTo>
                    <a:pt x="6367" y="11615"/>
                    <a:pt x="6903" y="10702"/>
                    <a:pt x="7550" y="10039"/>
                  </a:cubicBezTo>
                  <a:cubicBezTo>
                    <a:pt x="9408" y="8134"/>
                    <a:pt x="12162" y="7458"/>
                    <a:pt x="14424" y="6057"/>
                  </a:cubicBezTo>
                  <a:cubicBezTo>
                    <a:pt x="15217" y="5566"/>
                    <a:pt x="15971" y="4961"/>
                    <a:pt x="16438" y="4152"/>
                  </a:cubicBezTo>
                  <a:cubicBezTo>
                    <a:pt x="16905" y="3344"/>
                    <a:pt x="17042" y="2298"/>
                    <a:pt x="16603" y="1474"/>
                  </a:cubicBezTo>
                  <a:cubicBezTo>
                    <a:pt x="16200" y="718"/>
                    <a:pt x="15252" y="100"/>
                    <a:pt x="14395" y="11"/>
                  </a:cubicBezTo>
                  <a:cubicBezTo>
                    <a:pt x="14327" y="4"/>
                    <a:pt x="14264" y="1"/>
                    <a:pt x="1420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39" name="Google Shape;639;p49"/>
            <p:cNvSpPr/>
            <p:nvPr/>
          </p:nvSpPr>
          <p:spPr>
            <a:xfrm>
              <a:off x="4823200" y="3378000"/>
              <a:ext cx="22875" cy="19350"/>
            </a:xfrm>
            <a:custGeom>
              <a:avLst/>
              <a:gdLst/>
              <a:ahLst/>
              <a:cxnLst/>
              <a:rect l="l" t="t" r="r" b="b"/>
              <a:pathLst>
                <a:path w="915" h="774" extrusionOk="0">
                  <a:moveTo>
                    <a:pt x="255" y="209"/>
                  </a:moveTo>
                  <a:lnTo>
                    <a:pt x="257" y="212"/>
                  </a:lnTo>
                  <a:lnTo>
                    <a:pt x="257" y="212"/>
                  </a:lnTo>
                  <a:cubicBezTo>
                    <a:pt x="256" y="211"/>
                    <a:pt x="256" y="210"/>
                    <a:pt x="255" y="209"/>
                  </a:cubicBezTo>
                  <a:close/>
                  <a:moveTo>
                    <a:pt x="480" y="435"/>
                  </a:moveTo>
                  <a:cubicBezTo>
                    <a:pt x="480" y="435"/>
                    <a:pt x="481" y="436"/>
                    <a:pt x="481" y="436"/>
                  </a:cubicBezTo>
                  <a:lnTo>
                    <a:pt x="481" y="436"/>
                  </a:lnTo>
                  <a:cubicBezTo>
                    <a:pt x="481" y="436"/>
                    <a:pt x="480" y="435"/>
                    <a:pt x="480" y="435"/>
                  </a:cubicBezTo>
                  <a:close/>
                  <a:moveTo>
                    <a:pt x="83" y="1"/>
                  </a:moveTo>
                  <a:cubicBezTo>
                    <a:pt x="71" y="1"/>
                    <a:pt x="58" y="4"/>
                    <a:pt x="47" y="10"/>
                  </a:cubicBezTo>
                  <a:cubicBezTo>
                    <a:pt x="12" y="31"/>
                    <a:pt x="1" y="75"/>
                    <a:pt x="20" y="109"/>
                  </a:cubicBezTo>
                  <a:lnTo>
                    <a:pt x="19" y="110"/>
                  </a:lnTo>
                  <a:cubicBezTo>
                    <a:pt x="85" y="239"/>
                    <a:pt x="169" y="357"/>
                    <a:pt x="271" y="459"/>
                  </a:cubicBezTo>
                  <a:cubicBezTo>
                    <a:pt x="324" y="513"/>
                    <a:pt x="382" y="562"/>
                    <a:pt x="442" y="607"/>
                  </a:cubicBezTo>
                  <a:cubicBezTo>
                    <a:pt x="469" y="627"/>
                    <a:pt x="498" y="647"/>
                    <a:pt x="528" y="664"/>
                  </a:cubicBezTo>
                  <a:cubicBezTo>
                    <a:pt x="561" y="686"/>
                    <a:pt x="597" y="704"/>
                    <a:pt x="634" y="717"/>
                  </a:cubicBezTo>
                  <a:cubicBezTo>
                    <a:pt x="671" y="727"/>
                    <a:pt x="706" y="740"/>
                    <a:pt x="742" y="752"/>
                  </a:cubicBezTo>
                  <a:cubicBezTo>
                    <a:pt x="777" y="762"/>
                    <a:pt x="814" y="773"/>
                    <a:pt x="851" y="773"/>
                  </a:cubicBezTo>
                  <a:cubicBezTo>
                    <a:pt x="856" y="773"/>
                    <a:pt x="862" y="773"/>
                    <a:pt x="868" y="772"/>
                  </a:cubicBezTo>
                  <a:cubicBezTo>
                    <a:pt x="885" y="771"/>
                    <a:pt x="901" y="761"/>
                    <a:pt x="908" y="745"/>
                  </a:cubicBezTo>
                  <a:cubicBezTo>
                    <a:pt x="915" y="729"/>
                    <a:pt x="911" y="710"/>
                    <a:pt x="899" y="697"/>
                  </a:cubicBezTo>
                  <a:cubicBezTo>
                    <a:pt x="846" y="653"/>
                    <a:pt x="776" y="633"/>
                    <a:pt x="718" y="594"/>
                  </a:cubicBezTo>
                  <a:cubicBezTo>
                    <a:pt x="716" y="592"/>
                    <a:pt x="712" y="589"/>
                    <a:pt x="710" y="587"/>
                  </a:cubicBezTo>
                  <a:cubicBezTo>
                    <a:pt x="701" y="579"/>
                    <a:pt x="692" y="572"/>
                    <a:pt x="681" y="565"/>
                  </a:cubicBezTo>
                  <a:cubicBezTo>
                    <a:pt x="665" y="556"/>
                    <a:pt x="649" y="548"/>
                    <a:pt x="634" y="539"/>
                  </a:cubicBezTo>
                  <a:cubicBezTo>
                    <a:pt x="605" y="521"/>
                    <a:pt x="576" y="503"/>
                    <a:pt x="548" y="485"/>
                  </a:cubicBezTo>
                  <a:cubicBezTo>
                    <a:pt x="535" y="475"/>
                    <a:pt x="521" y="466"/>
                    <a:pt x="507" y="456"/>
                  </a:cubicBezTo>
                  <a:lnTo>
                    <a:pt x="488" y="442"/>
                  </a:lnTo>
                  <a:cubicBezTo>
                    <a:pt x="486" y="440"/>
                    <a:pt x="483" y="438"/>
                    <a:pt x="481" y="436"/>
                  </a:cubicBezTo>
                  <a:lnTo>
                    <a:pt x="481" y="436"/>
                  </a:lnTo>
                  <a:cubicBezTo>
                    <a:pt x="485" y="440"/>
                    <a:pt x="487" y="442"/>
                    <a:pt x="487" y="442"/>
                  </a:cubicBezTo>
                  <a:cubicBezTo>
                    <a:pt x="487" y="442"/>
                    <a:pt x="480" y="436"/>
                    <a:pt x="477" y="434"/>
                  </a:cubicBezTo>
                  <a:cubicBezTo>
                    <a:pt x="451" y="413"/>
                    <a:pt x="424" y="390"/>
                    <a:pt x="399" y="367"/>
                  </a:cubicBezTo>
                  <a:cubicBezTo>
                    <a:pt x="350" y="321"/>
                    <a:pt x="304" y="272"/>
                    <a:pt x="262" y="219"/>
                  </a:cubicBezTo>
                  <a:cubicBezTo>
                    <a:pt x="261" y="217"/>
                    <a:pt x="259" y="215"/>
                    <a:pt x="258" y="213"/>
                  </a:cubicBezTo>
                  <a:lnTo>
                    <a:pt x="258" y="213"/>
                  </a:lnTo>
                  <a:lnTo>
                    <a:pt x="259" y="214"/>
                  </a:lnTo>
                  <a:lnTo>
                    <a:pt x="257" y="212"/>
                  </a:lnTo>
                  <a:lnTo>
                    <a:pt x="257" y="212"/>
                  </a:lnTo>
                  <a:cubicBezTo>
                    <a:pt x="257" y="212"/>
                    <a:pt x="258" y="213"/>
                    <a:pt x="258" y="213"/>
                  </a:cubicBezTo>
                  <a:lnTo>
                    <a:pt x="258" y="213"/>
                  </a:lnTo>
                  <a:lnTo>
                    <a:pt x="253" y="207"/>
                  </a:lnTo>
                  <a:lnTo>
                    <a:pt x="237" y="185"/>
                  </a:lnTo>
                  <a:cubicBezTo>
                    <a:pt x="225" y="169"/>
                    <a:pt x="214" y="152"/>
                    <a:pt x="203" y="136"/>
                  </a:cubicBezTo>
                  <a:cubicBezTo>
                    <a:pt x="183" y="103"/>
                    <a:pt x="163" y="70"/>
                    <a:pt x="146" y="37"/>
                  </a:cubicBezTo>
                  <a:cubicBezTo>
                    <a:pt x="132" y="14"/>
                    <a:pt x="108" y="1"/>
                    <a:pt x="8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40" name="Google Shape;640;p49"/>
            <p:cNvSpPr/>
            <p:nvPr/>
          </p:nvSpPr>
          <p:spPr>
            <a:xfrm>
              <a:off x="4844725" y="3388175"/>
              <a:ext cx="15725" cy="6300"/>
            </a:xfrm>
            <a:custGeom>
              <a:avLst/>
              <a:gdLst/>
              <a:ahLst/>
              <a:cxnLst/>
              <a:rect l="l" t="t" r="r" b="b"/>
              <a:pathLst>
                <a:path w="629" h="252" extrusionOk="0">
                  <a:moveTo>
                    <a:pt x="100" y="1"/>
                  </a:moveTo>
                  <a:cubicBezTo>
                    <a:pt x="25" y="1"/>
                    <a:pt x="0" y="118"/>
                    <a:pt x="84" y="140"/>
                  </a:cubicBezTo>
                  <a:lnTo>
                    <a:pt x="283" y="195"/>
                  </a:lnTo>
                  <a:cubicBezTo>
                    <a:pt x="317" y="204"/>
                    <a:pt x="351" y="213"/>
                    <a:pt x="385" y="224"/>
                  </a:cubicBezTo>
                  <a:cubicBezTo>
                    <a:pt x="406" y="229"/>
                    <a:pt x="426" y="234"/>
                    <a:pt x="446" y="235"/>
                  </a:cubicBezTo>
                  <a:lnTo>
                    <a:pt x="457" y="235"/>
                  </a:lnTo>
                  <a:cubicBezTo>
                    <a:pt x="458" y="235"/>
                    <a:pt x="459" y="235"/>
                    <a:pt x="460" y="235"/>
                  </a:cubicBezTo>
                  <a:lnTo>
                    <a:pt x="460" y="235"/>
                  </a:lnTo>
                  <a:cubicBezTo>
                    <a:pt x="460" y="235"/>
                    <a:pt x="460" y="235"/>
                    <a:pt x="460" y="235"/>
                  </a:cubicBezTo>
                  <a:lnTo>
                    <a:pt x="489" y="240"/>
                  </a:lnTo>
                  <a:cubicBezTo>
                    <a:pt x="510" y="244"/>
                    <a:pt x="537" y="251"/>
                    <a:pt x="562" y="251"/>
                  </a:cubicBezTo>
                  <a:cubicBezTo>
                    <a:pt x="584" y="251"/>
                    <a:pt x="604" y="245"/>
                    <a:pt x="617" y="225"/>
                  </a:cubicBezTo>
                  <a:cubicBezTo>
                    <a:pt x="628" y="204"/>
                    <a:pt x="625" y="178"/>
                    <a:pt x="608" y="160"/>
                  </a:cubicBezTo>
                  <a:cubicBezTo>
                    <a:pt x="593" y="144"/>
                    <a:pt x="568" y="139"/>
                    <a:pt x="549" y="130"/>
                  </a:cubicBezTo>
                  <a:lnTo>
                    <a:pt x="502" y="113"/>
                  </a:lnTo>
                  <a:cubicBezTo>
                    <a:pt x="501" y="113"/>
                    <a:pt x="498" y="112"/>
                    <a:pt x="495" y="110"/>
                  </a:cubicBezTo>
                  <a:lnTo>
                    <a:pt x="495" y="110"/>
                  </a:lnTo>
                  <a:cubicBezTo>
                    <a:pt x="495" y="110"/>
                    <a:pt x="488" y="106"/>
                    <a:pt x="489" y="106"/>
                  </a:cubicBezTo>
                  <a:cubicBezTo>
                    <a:pt x="477" y="101"/>
                    <a:pt x="465" y="95"/>
                    <a:pt x="452" y="91"/>
                  </a:cubicBezTo>
                  <a:cubicBezTo>
                    <a:pt x="418" y="81"/>
                    <a:pt x="383" y="73"/>
                    <a:pt x="349" y="64"/>
                  </a:cubicBezTo>
                  <a:lnTo>
                    <a:pt x="122" y="4"/>
                  </a:lnTo>
                  <a:cubicBezTo>
                    <a:pt x="114" y="2"/>
                    <a:pt x="107" y="1"/>
                    <a:pt x="10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41" name="Google Shape;641;p49"/>
            <p:cNvSpPr/>
            <p:nvPr/>
          </p:nvSpPr>
          <p:spPr>
            <a:xfrm>
              <a:off x="5009875" y="3236425"/>
              <a:ext cx="19100" cy="10800"/>
            </a:xfrm>
            <a:custGeom>
              <a:avLst/>
              <a:gdLst/>
              <a:ahLst/>
              <a:cxnLst/>
              <a:rect l="l" t="t" r="r" b="b"/>
              <a:pathLst>
                <a:path w="764" h="432" extrusionOk="0">
                  <a:moveTo>
                    <a:pt x="693" y="0"/>
                  </a:moveTo>
                  <a:cubicBezTo>
                    <a:pt x="688" y="0"/>
                    <a:pt x="683" y="1"/>
                    <a:pt x="677" y="2"/>
                  </a:cubicBezTo>
                  <a:cubicBezTo>
                    <a:pt x="663" y="6"/>
                    <a:pt x="650" y="8"/>
                    <a:pt x="637" y="12"/>
                  </a:cubicBezTo>
                  <a:cubicBezTo>
                    <a:pt x="619" y="17"/>
                    <a:pt x="601" y="24"/>
                    <a:pt x="585" y="32"/>
                  </a:cubicBezTo>
                  <a:lnTo>
                    <a:pt x="507" y="69"/>
                  </a:lnTo>
                  <a:cubicBezTo>
                    <a:pt x="455" y="92"/>
                    <a:pt x="404" y="119"/>
                    <a:pt x="354" y="144"/>
                  </a:cubicBezTo>
                  <a:lnTo>
                    <a:pt x="46" y="298"/>
                  </a:lnTo>
                  <a:cubicBezTo>
                    <a:pt x="12" y="319"/>
                    <a:pt x="0" y="363"/>
                    <a:pt x="21" y="396"/>
                  </a:cubicBezTo>
                  <a:cubicBezTo>
                    <a:pt x="35" y="419"/>
                    <a:pt x="59" y="431"/>
                    <a:pt x="84" y="431"/>
                  </a:cubicBezTo>
                  <a:cubicBezTo>
                    <a:pt x="96" y="431"/>
                    <a:pt x="108" y="429"/>
                    <a:pt x="119" y="423"/>
                  </a:cubicBezTo>
                  <a:lnTo>
                    <a:pt x="431" y="276"/>
                  </a:lnTo>
                  <a:cubicBezTo>
                    <a:pt x="483" y="252"/>
                    <a:pt x="535" y="228"/>
                    <a:pt x="586" y="203"/>
                  </a:cubicBezTo>
                  <a:lnTo>
                    <a:pt x="660" y="166"/>
                  </a:lnTo>
                  <a:cubicBezTo>
                    <a:pt x="688" y="150"/>
                    <a:pt x="715" y="130"/>
                    <a:pt x="739" y="108"/>
                  </a:cubicBezTo>
                  <a:cubicBezTo>
                    <a:pt x="760" y="88"/>
                    <a:pt x="764" y="57"/>
                    <a:pt x="750" y="31"/>
                  </a:cubicBezTo>
                  <a:cubicBezTo>
                    <a:pt x="738" y="12"/>
                    <a:pt x="716" y="0"/>
                    <a:pt x="69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42" name="Google Shape;642;p49"/>
            <p:cNvSpPr/>
            <p:nvPr/>
          </p:nvSpPr>
          <p:spPr>
            <a:xfrm>
              <a:off x="4993450" y="3235300"/>
              <a:ext cx="18125" cy="7450"/>
            </a:xfrm>
            <a:custGeom>
              <a:avLst/>
              <a:gdLst/>
              <a:ahLst/>
              <a:cxnLst/>
              <a:rect l="l" t="t" r="r" b="b"/>
              <a:pathLst>
                <a:path w="725" h="298" extrusionOk="0">
                  <a:moveTo>
                    <a:pt x="675" y="0"/>
                  </a:moveTo>
                  <a:cubicBezTo>
                    <a:pt x="674" y="0"/>
                    <a:pt x="674" y="0"/>
                    <a:pt x="674" y="0"/>
                  </a:cubicBezTo>
                  <a:cubicBezTo>
                    <a:pt x="618" y="1"/>
                    <a:pt x="563" y="15"/>
                    <a:pt x="509" y="28"/>
                  </a:cubicBezTo>
                  <a:cubicBezTo>
                    <a:pt x="454" y="41"/>
                    <a:pt x="403" y="53"/>
                    <a:pt x="350" y="70"/>
                  </a:cubicBezTo>
                  <a:cubicBezTo>
                    <a:pt x="244" y="105"/>
                    <a:pt x="139" y="145"/>
                    <a:pt x="37" y="189"/>
                  </a:cubicBezTo>
                  <a:cubicBezTo>
                    <a:pt x="8" y="202"/>
                    <a:pt x="0" y="244"/>
                    <a:pt x="15" y="268"/>
                  </a:cubicBezTo>
                  <a:cubicBezTo>
                    <a:pt x="27" y="287"/>
                    <a:pt x="46" y="297"/>
                    <a:pt x="66" y="297"/>
                  </a:cubicBezTo>
                  <a:cubicBezTo>
                    <a:pt x="76" y="297"/>
                    <a:pt x="86" y="295"/>
                    <a:pt x="96" y="289"/>
                  </a:cubicBezTo>
                  <a:cubicBezTo>
                    <a:pt x="188" y="248"/>
                    <a:pt x="287" y="210"/>
                    <a:pt x="387" y="176"/>
                  </a:cubicBezTo>
                  <a:cubicBezTo>
                    <a:pt x="436" y="159"/>
                    <a:pt x="486" y="141"/>
                    <a:pt x="535" y="123"/>
                  </a:cubicBezTo>
                  <a:cubicBezTo>
                    <a:pt x="588" y="108"/>
                    <a:pt x="641" y="90"/>
                    <a:pt x="692" y="68"/>
                  </a:cubicBezTo>
                  <a:cubicBezTo>
                    <a:pt x="725" y="52"/>
                    <a:pt x="708" y="0"/>
                    <a:pt x="67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43" name="Google Shape;643;p49"/>
            <p:cNvSpPr/>
            <p:nvPr/>
          </p:nvSpPr>
          <p:spPr>
            <a:xfrm>
              <a:off x="5002675" y="3481400"/>
              <a:ext cx="14875" cy="6650"/>
            </a:xfrm>
            <a:custGeom>
              <a:avLst/>
              <a:gdLst/>
              <a:ahLst/>
              <a:cxnLst/>
              <a:rect l="l" t="t" r="r" b="b"/>
              <a:pathLst>
                <a:path w="595" h="266" extrusionOk="0">
                  <a:moveTo>
                    <a:pt x="67" y="0"/>
                  </a:moveTo>
                  <a:cubicBezTo>
                    <a:pt x="41" y="0"/>
                    <a:pt x="16" y="18"/>
                    <a:pt x="9" y="45"/>
                  </a:cubicBezTo>
                  <a:cubicBezTo>
                    <a:pt x="1" y="77"/>
                    <a:pt x="20" y="111"/>
                    <a:pt x="52" y="120"/>
                  </a:cubicBezTo>
                  <a:lnTo>
                    <a:pt x="51" y="120"/>
                  </a:lnTo>
                  <a:lnTo>
                    <a:pt x="293" y="200"/>
                  </a:lnTo>
                  <a:cubicBezTo>
                    <a:pt x="332" y="214"/>
                    <a:pt x="372" y="226"/>
                    <a:pt x="413" y="237"/>
                  </a:cubicBezTo>
                  <a:lnTo>
                    <a:pt x="471" y="256"/>
                  </a:lnTo>
                  <a:cubicBezTo>
                    <a:pt x="494" y="263"/>
                    <a:pt x="519" y="266"/>
                    <a:pt x="544" y="266"/>
                  </a:cubicBezTo>
                  <a:cubicBezTo>
                    <a:pt x="565" y="266"/>
                    <a:pt x="583" y="252"/>
                    <a:pt x="590" y="231"/>
                  </a:cubicBezTo>
                  <a:cubicBezTo>
                    <a:pt x="595" y="211"/>
                    <a:pt x="585" y="190"/>
                    <a:pt x="568" y="179"/>
                  </a:cubicBezTo>
                  <a:cubicBezTo>
                    <a:pt x="560" y="172"/>
                    <a:pt x="551" y="166"/>
                    <a:pt x="542" y="160"/>
                  </a:cubicBezTo>
                  <a:cubicBezTo>
                    <a:pt x="530" y="155"/>
                    <a:pt x="517" y="150"/>
                    <a:pt x="505" y="146"/>
                  </a:cubicBezTo>
                  <a:lnTo>
                    <a:pt x="447" y="126"/>
                  </a:lnTo>
                  <a:cubicBezTo>
                    <a:pt x="407" y="111"/>
                    <a:pt x="367" y="96"/>
                    <a:pt x="325" y="82"/>
                  </a:cubicBezTo>
                  <a:lnTo>
                    <a:pt x="83" y="2"/>
                  </a:lnTo>
                  <a:cubicBezTo>
                    <a:pt x="78" y="1"/>
                    <a:pt x="73" y="0"/>
                    <a:pt x="6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one column 4">
  <p:cSld name="CUSTOM_20">
    <p:spTree>
      <p:nvGrpSpPr>
        <p:cNvPr id="1" name="Shape 6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" name="Google Shape;645;p50"/>
          <p:cNvSpPr txBox="1">
            <a:spLocks noGrp="1"/>
          </p:cNvSpPr>
          <p:nvPr>
            <p:ph type="ctrTitle"/>
          </p:nvPr>
        </p:nvSpPr>
        <p:spPr>
          <a:xfrm flipH="1">
            <a:off x="960000" y="859700"/>
            <a:ext cx="3772800" cy="126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646" name="Google Shape;646;p50"/>
          <p:cNvSpPr txBox="1">
            <a:spLocks noGrp="1"/>
          </p:cNvSpPr>
          <p:nvPr>
            <p:ph type="subTitle" idx="1"/>
          </p:nvPr>
        </p:nvSpPr>
        <p:spPr>
          <a:xfrm flipH="1">
            <a:off x="960000" y="1965733"/>
            <a:ext cx="3772800" cy="147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4">
  <p:cSld name="CUSTOM_11">
    <p:spTree>
      <p:nvGrpSpPr>
        <p:cNvPr id="1" name="Shape 6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8" name="Google Shape;648;p51"/>
          <p:cNvGrpSpPr/>
          <p:nvPr/>
        </p:nvGrpSpPr>
        <p:grpSpPr>
          <a:xfrm>
            <a:off x="-677912" y="355202"/>
            <a:ext cx="13750863" cy="5536860"/>
            <a:chOff x="3335900" y="307000"/>
            <a:chExt cx="1847175" cy="743775"/>
          </a:xfrm>
        </p:grpSpPr>
        <p:sp>
          <p:nvSpPr>
            <p:cNvPr id="649" name="Google Shape;649;p51"/>
            <p:cNvSpPr/>
            <p:nvPr/>
          </p:nvSpPr>
          <p:spPr>
            <a:xfrm>
              <a:off x="3335900" y="307000"/>
              <a:ext cx="1847175" cy="743775"/>
            </a:xfrm>
            <a:custGeom>
              <a:avLst/>
              <a:gdLst/>
              <a:ahLst/>
              <a:cxnLst/>
              <a:rect l="l" t="t" r="r" b="b"/>
              <a:pathLst>
                <a:path w="73887" h="29751" extrusionOk="0">
                  <a:moveTo>
                    <a:pt x="70000" y="0"/>
                  </a:moveTo>
                  <a:cubicBezTo>
                    <a:pt x="69700" y="0"/>
                    <a:pt x="69574" y="327"/>
                    <a:pt x="69201" y="796"/>
                  </a:cubicBezTo>
                  <a:cubicBezTo>
                    <a:pt x="67956" y="2364"/>
                    <a:pt x="68204" y="7326"/>
                    <a:pt x="66554" y="8630"/>
                  </a:cubicBezTo>
                  <a:cubicBezTo>
                    <a:pt x="64359" y="10366"/>
                    <a:pt x="62316" y="10624"/>
                    <a:pt x="60144" y="10624"/>
                  </a:cubicBezTo>
                  <a:cubicBezTo>
                    <a:pt x="59223" y="10624"/>
                    <a:pt x="58278" y="10578"/>
                    <a:pt x="57288" y="10578"/>
                  </a:cubicBezTo>
                  <a:cubicBezTo>
                    <a:pt x="55951" y="10578"/>
                    <a:pt x="54532" y="10663"/>
                    <a:pt x="52978" y="11063"/>
                  </a:cubicBezTo>
                  <a:cubicBezTo>
                    <a:pt x="49934" y="11847"/>
                    <a:pt x="44463" y="13744"/>
                    <a:pt x="41400" y="14448"/>
                  </a:cubicBezTo>
                  <a:cubicBezTo>
                    <a:pt x="33325" y="16302"/>
                    <a:pt x="25741" y="20083"/>
                    <a:pt x="17556" y="21366"/>
                  </a:cubicBezTo>
                  <a:cubicBezTo>
                    <a:pt x="14146" y="21901"/>
                    <a:pt x="10641" y="21999"/>
                    <a:pt x="7356" y="23063"/>
                  </a:cubicBezTo>
                  <a:cubicBezTo>
                    <a:pt x="4071" y="24125"/>
                    <a:pt x="916" y="26410"/>
                    <a:pt x="1" y="29740"/>
                  </a:cubicBezTo>
                  <a:cubicBezTo>
                    <a:pt x="151" y="29747"/>
                    <a:pt x="300" y="29751"/>
                    <a:pt x="450" y="29751"/>
                  </a:cubicBezTo>
                  <a:cubicBezTo>
                    <a:pt x="2378" y="29751"/>
                    <a:pt x="4268" y="29164"/>
                    <a:pt x="6138" y="28660"/>
                  </a:cubicBezTo>
                  <a:cubicBezTo>
                    <a:pt x="12034" y="27068"/>
                    <a:pt x="18109" y="26233"/>
                    <a:pt x="24216" y="26178"/>
                  </a:cubicBezTo>
                  <a:cubicBezTo>
                    <a:pt x="24492" y="26175"/>
                    <a:pt x="24769" y="26174"/>
                    <a:pt x="25046" y="26174"/>
                  </a:cubicBezTo>
                  <a:cubicBezTo>
                    <a:pt x="25980" y="26174"/>
                    <a:pt x="26916" y="26186"/>
                    <a:pt x="27851" y="26186"/>
                  </a:cubicBezTo>
                  <a:cubicBezTo>
                    <a:pt x="30234" y="26186"/>
                    <a:pt x="32610" y="26112"/>
                    <a:pt x="34928" y="25592"/>
                  </a:cubicBezTo>
                  <a:cubicBezTo>
                    <a:pt x="39432" y="24581"/>
                    <a:pt x="43387" y="21962"/>
                    <a:pt x="47655" y="20202"/>
                  </a:cubicBezTo>
                  <a:cubicBezTo>
                    <a:pt x="54364" y="17437"/>
                    <a:pt x="65341" y="18494"/>
                    <a:pt x="70997" y="13946"/>
                  </a:cubicBezTo>
                  <a:cubicBezTo>
                    <a:pt x="73886" y="11623"/>
                    <a:pt x="72874" y="6128"/>
                    <a:pt x="72055" y="2512"/>
                  </a:cubicBezTo>
                  <a:cubicBezTo>
                    <a:pt x="71885" y="1766"/>
                    <a:pt x="71476" y="855"/>
                    <a:pt x="70827" y="400"/>
                  </a:cubicBezTo>
                  <a:cubicBezTo>
                    <a:pt x="70426" y="120"/>
                    <a:pt x="70181" y="0"/>
                    <a:pt x="7000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0" name="Google Shape;650;p51"/>
            <p:cNvSpPr/>
            <p:nvPr/>
          </p:nvSpPr>
          <p:spPr>
            <a:xfrm>
              <a:off x="3965650" y="931575"/>
              <a:ext cx="27250" cy="5025"/>
            </a:xfrm>
            <a:custGeom>
              <a:avLst/>
              <a:gdLst/>
              <a:ahLst/>
              <a:cxnLst/>
              <a:rect l="l" t="t" r="r" b="b"/>
              <a:pathLst>
                <a:path w="1090" h="201" extrusionOk="0">
                  <a:moveTo>
                    <a:pt x="821" y="192"/>
                  </a:moveTo>
                  <a:cubicBezTo>
                    <a:pt x="817" y="193"/>
                    <a:pt x="816" y="193"/>
                    <a:pt x="816" y="193"/>
                  </a:cubicBezTo>
                  <a:cubicBezTo>
                    <a:pt x="815" y="193"/>
                    <a:pt x="817" y="192"/>
                    <a:pt x="821" y="192"/>
                  </a:cubicBezTo>
                  <a:close/>
                  <a:moveTo>
                    <a:pt x="354" y="1"/>
                  </a:moveTo>
                  <a:cubicBezTo>
                    <a:pt x="336" y="1"/>
                    <a:pt x="317" y="1"/>
                    <a:pt x="299" y="1"/>
                  </a:cubicBezTo>
                  <a:cubicBezTo>
                    <a:pt x="229" y="1"/>
                    <a:pt x="157" y="3"/>
                    <a:pt x="87" y="7"/>
                  </a:cubicBezTo>
                  <a:cubicBezTo>
                    <a:pt x="43" y="8"/>
                    <a:pt x="1" y="44"/>
                    <a:pt x="3" y="91"/>
                  </a:cubicBezTo>
                  <a:cubicBezTo>
                    <a:pt x="3" y="137"/>
                    <a:pt x="41" y="174"/>
                    <a:pt x="87" y="175"/>
                  </a:cubicBezTo>
                  <a:cubicBezTo>
                    <a:pt x="140" y="173"/>
                    <a:pt x="194" y="173"/>
                    <a:pt x="247" y="173"/>
                  </a:cubicBezTo>
                  <a:cubicBezTo>
                    <a:pt x="317" y="173"/>
                    <a:pt x="386" y="174"/>
                    <a:pt x="454" y="177"/>
                  </a:cubicBezTo>
                  <a:cubicBezTo>
                    <a:pt x="515" y="180"/>
                    <a:pt x="576" y="184"/>
                    <a:pt x="639" y="186"/>
                  </a:cubicBezTo>
                  <a:cubicBezTo>
                    <a:pt x="670" y="189"/>
                    <a:pt x="702" y="190"/>
                    <a:pt x="733" y="191"/>
                  </a:cubicBezTo>
                  <a:lnTo>
                    <a:pt x="776" y="194"/>
                  </a:lnTo>
                  <a:cubicBezTo>
                    <a:pt x="783" y="194"/>
                    <a:pt x="789" y="196"/>
                    <a:pt x="796" y="196"/>
                  </a:cubicBezTo>
                  <a:cubicBezTo>
                    <a:pt x="805" y="195"/>
                    <a:pt x="813" y="193"/>
                    <a:pt x="821" y="192"/>
                  </a:cubicBezTo>
                  <a:lnTo>
                    <a:pt x="821" y="192"/>
                  </a:lnTo>
                  <a:cubicBezTo>
                    <a:pt x="822" y="192"/>
                    <a:pt x="824" y="192"/>
                    <a:pt x="825" y="192"/>
                  </a:cubicBezTo>
                  <a:cubicBezTo>
                    <a:pt x="858" y="192"/>
                    <a:pt x="893" y="193"/>
                    <a:pt x="926" y="197"/>
                  </a:cubicBezTo>
                  <a:lnTo>
                    <a:pt x="976" y="200"/>
                  </a:lnTo>
                  <a:cubicBezTo>
                    <a:pt x="981" y="201"/>
                    <a:pt x="986" y="201"/>
                    <a:pt x="991" y="201"/>
                  </a:cubicBezTo>
                  <a:cubicBezTo>
                    <a:pt x="1004" y="201"/>
                    <a:pt x="1018" y="200"/>
                    <a:pt x="1031" y="198"/>
                  </a:cubicBezTo>
                  <a:cubicBezTo>
                    <a:pt x="1056" y="197"/>
                    <a:pt x="1077" y="181"/>
                    <a:pt x="1084" y="158"/>
                  </a:cubicBezTo>
                  <a:cubicBezTo>
                    <a:pt x="1090" y="136"/>
                    <a:pt x="1082" y="105"/>
                    <a:pt x="1060" y="95"/>
                  </a:cubicBezTo>
                  <a:cubicBezTo>
                    <a:pt x="1044" y="87"/>
                    <a:pt x="1027" y="81"/>
                    <a:pt x="1010" y="75"/>
                  </a:cubicBezTo>
                  <a:cubicBezTo>
                    <a:pt x="995" y="70"/>
                    <a:pt x="981" y="68"/>
                    <a:pt x="966" y="66"/>
                  </a:cubicBezTo>
                  <a:cubicBezTo>
                    <a:pt x="934" y="59"/>
                    <a:pt x="903" y="53"/>
                    <a:pt x="872" y="47"/>
                  </a:cubicBezTo>
                  <a:cubicBezTo>
                    <a:pt x="857" y="45"/>
                    <a:pt x="842" y="41"/>
                    <a:pt x="829" y="37"/>
                  </a:cubicBezTo>
                  <a:cubicBezTo>
                    <a:pt x="809" y="32"/>
                    <a:pt x="788" y="29"/>
                    <a:pt x="769" y="26"/>
                  </a:cubicBezTo>
                  <a:cubicBezTo>
                    <a:pt x="736" y="23"/>
                    <a:pt x="705" y="19"/>
                    <a:pt x="673" y="16"/>
                  </a:cubicBezTo>
                  <a:cubicBezTo>
                    <a:pt x="567" y="6"/>
                    <a:pt x="461" y="1"/>
                    <a:pt x="35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1" name="Google Shape;651;p51"/>
            <p:cNvSpPr/>
            <p:nvPr/>
          </p:nvSpPr>
          <p:spPr>
            <a:xfrm>
              <a:off x="3990900" y="918825"/>
              <a:ext cx="14575" cy="4575"/>
            </a:xfrm>
            <a:custGeom>
              <a:avLst/>
              <a:gdLst/>
              <a:ahLst/>
              <a:cxnLst/>
              <a:rect l="l" t="t" r="r" b="b"/>
              <a:pathLst>
                <a:path w="583" h="183" extrusionOk="0">
                  <a:moveTo>
                    <a:pt x="339" y="26"/>
                  </a:moveTo>
                  <a:cubicBezTo>
                    <a:pt x="335" y="27"/>
                    <a:pt x="334" y="27"/>
                    <a:pt x="334" y="27"/>
                  </a:cubicBezTo>
                  <a:lnTo>
                    <a:pt x="334" y="27"/>
                  </a:lnTo>
                  <a:lnTo>
                    <a:pt x="339" y="26"/>
                  </a:lnTo>
                  <a:close/>
                  <a:moveTo>
                    <a:pt x="524" y="1"/>
                  </a:moveTo>
                  <a:cubicBezTo>
                    <a:pt x="522" y="1"/>
                    <a:pt x="520" y="1"/>
                    <a:pt x="518" y="1"/>
                  </a:cubicBezTo>
                  <a:cubicBezTo>
                    <a:pt x="477" y="6"/>
                    <a:pt x="438" y="9"/>
                    <a:pt x="398" y="17"/>
                  </a:cubicBezTo>
                  <a:cubicBezTo>
                    <a:pt x="378" y="21"/>
                    <a:pt x="358" y="24"/>
                    <a:pt x="340" y="26"/>
                  </a:cubicBezTo>
                  <a:cubicBezTo>
                    <a:pt x="337" y="27"/>
                    <a:pt x="334" y="27"/>
                    <a:pt x="334" y="27"/>
                  </a:cubicBezTo>
                  <a:cubicBezTo>
                    <a:pt x="334" y="27"/>
                    <a:pt x="334" y="27"/>
                    <a:pt x="334" y="27"/>
                  </a:cubicBezTo>
                  <a:lnTo>
                    <a:pt x="334" y="27"/>
                  </a:lnTo>
                  <a:lnTo>
                    <a:pt x="325" y="29"/>
                  </a:lnTo>
                  <a:cubicBezTo>
                    <a:pt x="315" y="30"/>
                    <a:pt x="304" y="31"/>
                    <a:pt x="295" y="31"/>
                  </a:cubicBezTo>
                  <a:cubicBezTo>
                    <a:pt x="219" y="38"/>
                    <a:pt x="143" y="40"/>
                    <a:pt x="67" y="41"/>
                  </a:cubicBezTo>
                  <a:cubicBezTo>
                    <a:pt x="35" y="41"/>
                    <a:pt x="9" y="66"/>
                    <a:pt x="4" y="97"/>
                  </a:cubicBezTo>
                  <a:cubicBezTo>
                    <a:pt x="0" y="125"/>
                    <a:pt x="19" y="161"/>
                    <a:pt x="50" y="167"/>
                  </a:cubicBezTo>
                  <a:lnTo>
                    <a:pt x="51" y="167"/>
                  </a:lnTo>
                  <a:cubicBezTo>
                    <a:pt x="103" y="177"/>
                    <a:pt x="156" y="182"/>
                    <a:pt x="208" y="182"/>
                  </a:cubicBezTo>
                  <a:cubicBezTo>
                    <a:pt x="238" y="182"/>
                    <a:pt x="268" y="181"/>
                    <a:pt x="299" y="177"/>
                  </a:cubicBezTo>
                  <a:cubicBezTo>
                    <a:pt x="341" y="173"/>
                    <a:pt x="384" y="167"/>
                    <a:pt x="425" y="158"/>
                  </a:cubicBezTo>
                  <a:cubicBezTo>
                    <a:pt x="449" y="153"/>
                    <a:pt x="472" y="146"/>
                    <a:pt x="494" y="137"/>
                  </a:cubicBezTo>
                  <a:cubicBezTo>
                    <a:pt x="513" y="130"/>
                    <a:pt x="531" y="121"/>
                    <a:pt x="548" y="112"/>
                  </a:cubicBezTo>
                  <a:cubicBezTo>
                    <a:pt x="571" y="98"/>
                    <a:pt x="583" y="70"/>
                    <a:pt x="576" y="45"/>
                  </a:cubicBezTo>
                  <a:cubicBezTo>
                    <a:pt x="569" y="23"/>
                    <a:pt x="548" y="1"/>
                    <a:pt x="52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2" name="Google Shape;652;p51"/>
            <p:cNvSpPr/>
            <p:nvPr/>
          </p:nvSpPr>
          <p:spPr>
            <a:xfrm>
              <a:off x="4359800" y="683925"/>
              <a:ext cx="35125" cy="9750"/>
            </a:xfrm>
            <a:custGeom>
              <a:avLst/>
              <a:gdLst/>
              <a:ahLst/>
              <a:cxnLst/>
              <a:rect l="l" t="t" r="r" b="b"/>
              <a:pathLst>
                <a:path w="1405" h="390" extrusionOk="0">
                  <a:moveTo>
                    <a:pt x="1321" y="0"/>
                  </a:moveTo>
                  <a:cubicBezTo>
                    <a:pt x="1285" y="0"/>
                    <a:pt x="1249" y="4"/>
                    <a:pt x="1214" y="11"/>
                  </a:cubicBezTo>
                  <a:lnTo>
                    <a:pt x="1156" y="20"/>
                  </a:lnTo>
                  <a:lnTo>
                    <a:pt x="1124" y="24"/>
                  </a:lnTo>
                  <a:cubicBezTo>
                    <a:pt x="1112" y="26"/>
                    <a:pt x="1101" y="29"/>
                    <a:pt x="1088" y="29"/>
                  </a:cubicBezTo>
                  <a:cubicBezTo>
                    <a:pt x="1088" y="29"/>
                    <a:pt x="1088" y="29"/>
                    <a:pt x="1087" y="29"/>
                  </a:cubicBezTo>
                  <a:lnTo>
                    <a:pt x="1087" y="29"/>
                  </a:lnTo>
                  <a:cubicBezTo>
                    <a:pt x="1087" y="28"/>
                    <a:pt x="1086" y="28"/>
                    <a:pt x="1085" y="28"/>
                  </a:cubicBezTo>
                  <a:cubicBezTo>
                    <a:pt x="1082" y="27"/>
                    <a:pt x="1080" y="27"/>
                    <a:pt x="1078" y="27"/>
                  </a:cubicBezTo>
                  <a:cubicBezTo>
                    <a:pt x="1076" y="27"/>
                    <a:pt x="1073" y="27"/>
                    <a:pt x="1071" y="28"/>
                  </a:cubicBezTo>
                  <a:cubicBezTo>
                    <a:pt x="1056" y="28"/>
                    <a:pt x="1041" y="29"/>
                    <a:pt x="1026" y="32"/>
                  </a:cubicBezTo>
                  <a:cubicBezTo>
                    <a:pt x="1004" y="36"/>
                    <a:pt x="983" y="40"/>
                    <a:pt x="963" y="44"/>
                  </a:cubicBezTo>
                  <a:lnTo>
                    <a:pt x="838" y="68"/>
                  </a:lnTo>
                  <a:cubicBezTo>
                    <a:pt x="674" y="99"/>
                    <a:pt x="509" y="139"/>
                    <a:pt x="346" y="175"/>
                  </a:cubicBezTo>
                  <a:lnTo>
                    <a:pt x="66" y="237"/>
                  </a:lnTo>
                  <a:cubicBezTo>
                    <a:pt x="25" y="249"/>
                    <a:pt x="0" y="291"/>
                    <a:pt x="12" y="333"/>
                  </a:cubicBezTo>
                  <a:cubicBezTo>
                    <a:pt x="22" y="367"/>
                    <a:pt x="53" y="389"/>
                    <a:pt x="87" y="389"/>
                  </a:cubicBezTo>
                  <a:cubicBezTo>
                    <a:pt x="94" y="389"/>
                    <a:pt x="100" y="388"/>
                    <a:pt x="106" y="387"/>
                  </a:cubicBezTo>
                  <a:lnTo>
                    <a:pt x="107" y="386"/>
                  </a:lnTo>
                  <a:lnTo>
                    <a:pt x="602" y="282"/>
                  </a:lnTo>
                  <a:cubicBezTo>
                    <a:pt x="685" y="265"/>
                    <a:pt x="768" y="250"/>
                    <a:pt x="851" y="230"/>
                  </a:cubicBezTo>
                  <a:lnTo>
                    <a:pt x="973" y="201"/>
                  </a:lnTo>
                  <a:cubicBezTo>
                    <a:pt x="1017" y="190"/>
                    <a:pt x="1064" y="183"/>
                    <a:pt x="1104" y="163"/>
                  </a:cubicBezTo>
                  <a:lnTo>
                    <a:pt x="1117" y="158"/>
                  </a:lnTo>
                  <a:cubicBezTo>
                    <a:pt x="1118" y="157"/>
                    <a:pt x="1120" y="156"/>
                    <a:pt x="1120" y="156"/>
                  </a:cubicBezTo>
                  <a:lnTo>
                    <a:pt x="1120" y="156"/>
                  </a:lnTo>
                  <a:cubicBezTo>
                    <a:pt x="1120" y="156"/>
                    <a:pt x="1120" y="156"/>
                    <a:pt x="1120" y="156"/>
                  </a:cubicBezTo>
                  <a:cubicBezTo>
                    <a:pt x="1121" y="156"/>
                    <a:pt x="1123" y="156"/>
                    <a:pt x="1127" y="154"/>
                  </a:cubicBezTo>
                  <a:cubicBezTo>
                    <a:pt x="1139" y="152"/>
                    <a:pt x="1150" y="147"/>
                    <a:pt x="1162" y="145"/>
                  </a:cubicBezTo>
                  <a:lnTo>
                    <a:pt x="1230" y="124"/>
                  </a:lnTo>
                  <a:cubicBezTo>
                    <a:pt x="1278" y="113"/>
                    <a:pt x="1324" y="97"/>
                    <a:pt x="1368" y="75"/>
                  </a:cubicBezTo>
                  <a:cubicBezTo>
                    <a:pt x="1405" y="54"/>
                    <a:pt x="1385" y="3"/>
                    <a:pt x="1348" y="1"/>
                  </a:cubicBezTo>
                  <a:cubicBezTo>
                    <a:pt x="1339" y="1"/>
                    <a:pt x="1330" y="0"/>
                    <a:pt x="132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3" name="Google Shape;653;p51"/>
            <p:cNvSpPr/>
            <p:nvPr/>
          </p:nvSpPr>
          <p:spPr>
            <a:xfrm>
              <a:off x="4352550" y="701275"/>
              <a:ext cx="18775" cy="4225"/>
            </a:xfrm>
            <a:custGeom>
              <a:avLst/>
              <a:gdLst/>
              <a:ahLst/>
              <a:cxnLst/>
              <a:rect l="l" t="t" r="r" b="b"/>
              <a:pathLst>
                <a:path w="751" h="169" extrusionOk="0">
                  <a:moveTo>
                    <a:pt x="498" y="0"/>
                  </a:moveTo>
                  <a:cubicBezTo>
                    <a:pt x="458" y="0"/>
                    <a:pt x="418" y="3"/>
                    <a:pt x="378" y="7"/>
                  </a:cubicBezTo>
                  <a:cubicBezTo>
                    <a:pt x="266" y="16"/>
                    <a:pt x="156" y="33"/>
                    <a:pt x="46" y="60"/>
                  </a:cubicBezTo>
                  <a:cubicBezTo>
                    <a:pt x="18" y="68"/>
                    <a:pt x="0" y="99"/>
                    <a:pt x="7" y="128"/>
                  </a:cubicBezTo>
                  <a:cubicBezTo>
                    <a:pt x="15" y="153"/>
                    <a:pt x="38" y="169"/>
                    <a:pt x="62" y="169"/>
                  </a:cubicBezTo>
                  <a:cubicBezTo>
                    <a:pt x="67" y="169"/>
                    <a:pt x="72" y="168"/>
                    <a:pt x="76" y="167"/>
                  </a:cubicBezTo>
                  <a:cubicBezTo>
                    <a:pt x="178" y="145"/>
                    <a:pt x="279" y="131"/>
                    <a:pt x="382" y="126"/>
                  </a:cubicBezTo>
                  <a:cubicBezTo>
                    <a:pt x="435" y="123"/>
                    <a:pt x="488" y="124"/>
                    <a:pt x="540" y="122"/>
                  </a:cubicBezTo>
                  <a:cubicBezTo>
                    <a:pt x="553" y="122"/>
                    <a:pt x="567" y="121"/>
                    <a:pt x="581" y="121"/>
                  </a:cubicBezTo>
                  <a:cubicBezTo>
                    <a:pt x="585" y="121"/>
                    <a:pt x="590" y="121"/>
                    <a:pt x="595" y="121"/>
                  </a:cubicBezTo>
                  <a:cubicBezTo>
                    <a:pt x="632" y="121"/>
                    <a:pt x="669" y="121"/>
                    <a:pt x="704" y="112"/>
                  </a:cubicBezTo>
                  <a:cubicBezTo>
                    <a:pt x="738" y="103"/>
                    <a:pt x="751" y="46"/>
                    <a:pt x="714" y="30"/>
                  </a:cubicBezTo>
                  <a:cubicBezTo>
                    <a:pt x="699" y="22"/>
                    <a:pt x="682" y="16"/>
                    <a:pt x="665" y="13"/>
                  </a:cubicBezTo>
                  <a:lnTo>
                    <a:pt x="623" y="8"/>
                  </a:lnTo>
                  <a:cubicBezTo>
                    <a:pt x="595" y="6"/>
                    <a:pt x="568" y="2"/>
                    <a:pt x="540" y="1"/>
                  </a:cubicBezTo>
                  <a:cubicBezTo>
                    <a:pt x="526" y="1"/>
                    <a:pt x="512" y="0"/>
                    <a:pt x="4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4" name="Google Shape;654;p51"/>
            <p:cNvSpPr/>
            <p:nvPr/>
          </p:nvSpPr>
          <p:spPr>
            <a:xfrm>
              <a:off x="3592750" y="969325"/>
              <a:ext cx="19775" cy="3375"/>
            </a:xfrm>
            <a:custGeom>
              <a:avLst/>
              <a:gdLst/>
              <a:ahLst/>
              <a:cxnLst/>
              <a:rect l="l" t="t" r="r" b="b"/>
              <a:pathLst>
                <a:path w="791" h="135" extrusionOk="0">
                  <a:moveTo>
                    <a:pt x="673" y="1"/>
                  </a:moveTo>
                  <a:cubicBezTo>
                    <a:pt x="663" y="1"/>
                    <a:pt x="654" y="1"/>
                    <a:pt x="644" y="1"/>
                  </a:cubicBezTo>
                  <a:lnTo>
                    <a:pt x="385" y="1"/>
                  </a:lnTo>
                  <a:cubicBezTo>
                    <a:pt x="328" y="3"/>
                    <a:pt x="270" y="4"/>
                    <a:pt x="213" y="10"/>
                  </a:cubicBezTo>
                  <a:lnTo>
                    <a:pt x="130" y="16"/>
                  </a:lnTo>
                  <a:cubicBezTo>
                    <a:pt x="113" y="18"/>
                    <a:pt x="98" y="23"/>
                    <a:pt x="82" y="26"/>
                  </a:cubicBezTo>
                  <a:cubicBezTo>
                    <a:pt x="67" y="28"/>
                    <a:pt x="52" y="30"/>
                    <a:pt x="37" y="33"/>
                  </a:cubicBezTo>
                  <a:cubicBezTo>
                    <a:pt x="1" y="38"/>
                    <a:pt x="1" y="100"/>
                    <a:pt x="37" y="106"/>
                  </a:cubicBezTo>
                  <a:lnTo>
                    <a:pt x="38" y="104"/>
                  </a:lnTo>
                  <a:cubicBezTo>
                    <a:pt x="50" y="107"/>
                    <a:pt x="64" y="109"/>
                    <a:pt x="78" y="111"/>
                  </a:cubicBezTo>
                  <a:cubicBezTo>
                    <a:pt x="94" y="112"/>
                    <a:pt x="109" y="119"/>
                    <a:pt x="126" y="120"/>
                  </a:cubicBezTo>
                  <a:lnTo>
                    <a:pt x="213" y="128"/>
                  </a:lnTo>
                  <a:cubicBezTo>
                    <a:pt x="270" y="133"/>
                    <a:pt x="328" y="135"/>
                    <a:pt x="385" y="135"/>
                  </a:cubicBezTo>
                  <a:lnTo>
                    <a:pt x="684" y="135"/>
                  </a:lnTo>
                  <a:cubicBezTo>
                    <a:pt x="702" y="134"/>
                    <a:pt x="720" y="129"/>
                    <a:pt x="738" y="122"/>
                  </a:cubicBezTo>
                  <a:cubicBezTo>
                    <a:pt x="791" y="106"/>
                    <a:pt x="791" y="31"/>
                    <a:pt x="738" y="15"/>
                  </a:cubicBezTo>
                  <a:cubicBezTo>
                    <a:pt x="722" y="8"/>
                    <a:pt x="704" y="4"/>
                    <a:pt x="687" y="1"/>
                  </a:cubicBezTo>
                  <a:cubicBezTo>
                    <a:pt x="682" y="1"/>
                    <a:pt x="678" y="1"/>
                    <a:pt x="67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5" name="Google Shape;655;p51"/>
            <p:cNvSpPr/>
            <p:nvPr/>
          </p:nvSpPr>
          <p:spPr>
            <a:xfrm>
              <a:off x="3607475" y="956425"/>
              <a:ext cx="20125" cy="6350"/>
            </a:xfrm>
            <a:custGeom>
              <a:avLst/>
              <a:gdLst/>
              <a:ahLst/>
              <a:cxnLst/>
              <a:rect l="l" t="t" r="r" b="b"/>
              <a:pathLst>
                <a:path w="805" h="254" extrusionOk="0">
                  <a:moveTo>
                    <a:pt x="698" y="0"/>
                  </a:moveTo>
                  <a:cubicBezTo>
                    <a:pt x="693" y="0"/>
                    <a:pt x="688" y="0"/>
                    <a:pt x="683" y="1"/>
                  </a:cubicBezTo>
                  <a:cubicBezTo>
                    <a:pt x="654" y="1"/>
                    <a:pt x="624" y="3"/>
                    <a:pt x="595" y="5"/>
                  </a:cubicBezTo>
                  <a:cubicBezTo>
                    <a:pt x="565" y="7"/>
                    <a:pt x="537" y="11"/>
                    <a:pt x="507" y="13"/>
                  </a:cubicBezTo>
                  <a:cubicBezTo>
                    <a:pt x="476" y="17"/>
                    <a:pt x="443" y="24"/>
                    <a:pt x="412" y="26"/>
                  </a:cubicBezTo>
                  <a:lnTo>
                    <a:pt x="403" y="26"/>
                  </a:lnTo>
                  <a:lnTo>
                    <a:pt x="379" y="27"/>
                  </a:lnTo>
                  <a:cubicBezTo>
                    <a:pt x="362" y="28"/>
                    <a:pt x="343" y="30"/>
                    <a:pt x="326" y="33"/>
                  </a:cubicBezTo>
                  <a:cubicBezTo>
                    <a:pt x="297" y="37"/>
                    <a:pt x="268" y="45"/>
                    <a:pt x="240" y="52"/>
                  </a:cubicBezTo>
                  <a:cubicBezTo>
                    <a:pt x="182" y="67"/>
                    <a:pt x="125" y="83"/>
                    <a:pt x="68" y="101"/>
                  </a:cubicBezTo>
                  <a:cubicBezTo>
                    <a:pt x="29" y="112"/>
                    <a:pt x="0" y="155"/>
                    <a:pt x="14" y="196"/>
                  </a:cubicBezTo>
                  <a:cubicBezTo>
                    <a:pt x="24" y="230"/>
                    <a:pt x="55" y="254"/>
                    <a:pt x="88" y="254"/>
                  </a:cubicBezTo>
                  <a:cubicBezTo>
                    <a:pt x="95" y="254"/>
                    <a:pt x="102" y="253"/>
                    <a:pt x="110" y="250"/>
                  </a:cubicBezTo>
                  <a:lnTo>
                    <a:pt x="108" y="250"/>
                  </a:lnTo>
                  <a:cubicBezTo>
                    <a:pt x="162" y="233"/>
                    <a:pt x="218" y="217"/>
                    <a:pt x="273" y="203"/>
                  </a:cubicBezTo>
                  <a:cubicBezTo>
                    <a:pt x="302" y="196"/>
                    <a:pt x="331" y="191"/>
                    <a:pt x="359" y="182"/>
                  </a:cubicBezTo>
                  <a:cubicBezTo>
                    <a:pt x="388" y="174"/>
                    <a:pt x="413" y="163"/>
                    <a:pt x="441" y="156"/>
                  </a:cubicBezTo>
                  <a:cubicBezTo>
                    <a:pt x="495" y="141"/>
                    <a:pt x="552" y="131"/>
                    <a:pt x="607" y="120"/>
                  </a:cubicBezTo>
                  <a:cubicBezTo>
                    <a:pt x="662" y="110"/>
                    <a:pt x="721" y="103"/>
                    <a:pt x="776" y="86"/>
                  </a:cubicBezTo>
                  <a:cubicBezTo>
                    <a:pt x="793" y="80"/>
                    <a:pt x="805" y="65"/>
                    <a:pt x="805" y="47"/>
                  </a:cubicBezTo>
                  <a:cubicBezTo>
                    <a:pt x="805" y="28"/>
                    <a:pt x="793" y="12"/>
                    <a:pt x="776" y="7"/>
                  </a:cubicBezTo>
                  <a:cubicBezTo>
                    <a:pt x="750" y="3"/>
                    <a:pt x="724" y="0"/>
                    <a:pt x="6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6" name="Google Shape;656;p51"/>
            <p:cNvSpPr/>
            <p:nvPr/>
          </p:nvSpPr>
          <p:spPr>
            <a:xfrm>
              <a:off x="4760725" y="725350"/>
              <a:ext cx="32825" cy="5100"/>
            </a:xfrm>
            <a:custGeom>
              <a:avLst/>
              <a:gdLst/>
              <a:ahLst/>
              <a:cxnLst/>
              <a:rect l="l" t="t" r="r" b="b"/>
              <a:pathLst>
                <a:path w="1313" h="204" extrusionOk="0">
                  <a:moveTo>
                    <a:pt x="87" y="1"/>
                  </a:moveTo>
                  <a:cubicBezTo>
                    <a:pt x="39" y="2"/>
                    <a:pt x="1" y="40"/>
                    <a:pt x="1" y="87"/>
                  </a:cubicBezTo>
                  <a:cubicBezTo>
                    <a:pt x="2" y="134"/>
                    <a:pt x="40" y="172"/>
                    <a:pt x="87" y="173"/>
                  </a:cubicBezTo>
                  <a:lnTo>
                    <a:pt x="87" y="174"/>
                  </a:lnTo>
                  <a:lnTo>
                    <a:pt x="543" y="196"/>
                  </a:lnTo>
                  <a:cubicBezTo>
                    <a:pt x="619" y="200"/>
                    <a:pt x="694" y="201"/>
                    <a:pt x="770" y="203"/>
                  </a:cubicBezTo>
                  <a:cubicBezTo>
                    <a:pt x="774" y="203"/>
                    <a:pt x="778" y="203"/>
                    <a:pt x="782" y="203"/>
                  </a:cubicBezTo>
                  <a:cubicBezTo>
                    <a:pt x="816" y="203"/>
                    <a:pt x="850" y="200"/>
                    <a:pt x="885" y="200"/>
                  </a:cubicBezTo>
                  <a:lnTo>
                    <a:pt x="1000" y="201"/>
                  </a:lnTo>
                  <a:cubicBezTo>
                    <a:pt x="1043" y="202"/>
                    <a:pt x="1086" y="202"/>
                    <a:pt x="1129" y="202"/>
                  </a:cubicBezTo>
                  <a:cubicBezTo>
                    <a:pt x="1172" y="202"/>
                    <a:pt x="1216" y="202"/>
                    <a:pt x="1259" y="200"/>
                  </a:cubicBezTo>
                  <a:cubicBezTo>
                    <a:pt x="1289" y="200"/>
                    <a:pt x="1313" y="176"/>
                    <a:pt x="1313" y="146"/>
                  </a:cubicBezTo>
                  <a:cubicBezTo>
                    <a:pt x="1312" y="112"/>
                    <a:pt x="1289" y="95"/>
                    <a:pt x="1259" y="90"/>
                  </a:cubicBezTo>
                  <a:cubicBezTo>
                    <a:pt x="1182" y="81"/>
                    <a:pt x="1106" y="73"/>
                    <a:pt x="1029" y="66"/>
                  </a:cubicBezTo>
                  <a:lnTo>
                    <a:pt x="913" y="57"/>
                  </a:lnTo>
                  <a:lnTo>
                    <a:pt x="863" y="52"/>
                  </a:lnTo>
                  <a:cubicBezTo>
                    <a:pt x="862" y="52"/>
                    <a:pt x="862" y="52"/>
                    <a:pt x="861" y="52"/>
                  </a:cubicBezTo>
                  <a:lnTo>
                    <a:pt x="861" y="52"/>
                  </a:lnTo>
                  <a:lnTo>
                    <a:pt x="848" y="49"/>
                  </a:lnTo>
                  <a:cubicBezTo>
                    <a:pt x="835" y="47"/>
                    <a:pt x="823" y="44"/>
                    <a:pt x="809" y="42"/>
                  </a:cubicBezTo>
                  <a:cubicBezTo>
                    <a:pt x="768" y="37"/>
                    <a:pt x="727" y="36"/>
                    <a:pt x="687" y="33"/>
                  </a:cubicBezTo>
                  <a:cubicBezTo>
                    <a:pt x="650" y="31"/>
                    <a:pt x="613" y="28"/>
                    <a:pt x="576" y="26"/>
                  </a:cubicBezTo>
                  <a:cubicBezTo>
                    <a:pt x="499" y="21"/>
                    <a:pt x="422" y="18"/>
                    <a:pt x="346" y="14"/>
                  </a:cubicBezTo>
                  <a:lnTo>
                    <a:pt x="8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7" name="Google Shape;657;p51"/>
            <p:cNvSpPr/>
            <p:nvPr/>
          </p:nvSpPr>
          <p:spPr>
            <a:xfrm>
              <a:off x="4776825" y="713650"/>
              <a:ext cx="14825" cy="3500"/>
            </a:xfrm>
            <a:custGeom>
              <a:avLst/>
              <a:gdLst/>
              <a:ahLst/>
              <a:cxnLst/>
              <a:rect l="l" t="t" r="r" b="b"/>
              <a:pathLst>
                <a:path w="593" h="140" extrusionOk="0">
                  <a:moveTo>
                    <a:pt x="70" y="0"/>
                  </a:moveTo>
                  <a:cubicBezTo>
                    <a:pt x="31" y="0"/>
                    <a:pt x="0" y="31"/>
                    <a:pt x="0" y="70"/>
                  </a:cubicBezTo>
                  <a:cubicBezTo>
                    <a:pt x="0" y="108"/>
                    <a:pt x="31" y="140"/>
                    <a:pt x="70" y="140"/>
                  </a:cubicBezTo>
                  <a:cubicBezTo>
                    <a:pt x="71" y="140"/>
                    <a:pt x="72" y="139"/>
                    <a:pt x="74" y="139"/>
                  </a:cubicBezTo>
                  <a:lnTo>
                    <a:pt x="302" y="137"/>
                  </a:lnTo>
                  <a:lnTo>
                    <a:pt x="417" y="136"/>
                  </a:lnTo>
                  <a:lnTo>
                    <a:pt x="474" y="136"/>
                  </a:lnTo>
                  <a:cubicBezTo>
                    <a:pt x="496" y="134"/>
                    <a:pt x="518" y="129"/>
                    <a:pt x="540" y="123"/>
                  </a:cubicBezTo>
                  <a:cubicBezTo>
                    <a:pt x="593" y="109"/>
                    <a:pt x="593" y="29"/>
                    <a:pt x="540" y="16"/>
                  </a:cubicBezTo>
                  <a:cubicBezTo>
                    <a:pt x="518" y="9"/>
                    <a:pt x="496" y="5"/>
                    <a:pt x="474" y="2"/>
                  </a:cubicBezTo>
                  <a:cubicBezTo>
                    <a:pt x="468" y="2"/>
                    <a:pt x="462" y="2"/>
                    <a:pt x="456" y="2"/>
                  </a:cubicBezTo>
                  <a:cubicBezTo>
                    <a:pt x="443" y="2"/>
                    <a:pt x="430" y="2"/>
                    <a:pt x="417" y="2"/>
                  </a:cubicBezTo>
                  <a:lnTo>
                    <a:pt x="302" y="1"/>
                  </a:lnTo>
                  <a:lnTo>
                    <a:pt x="74" y="0"/>
                  </a:lnTo>
                  <a:cubicBezTo>
                    <a:pt x="72" y="0"/>
                    <a:pt x="71" y="0"/>
                    <a:pt x="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8" name="Google Shape;658;p51"/>
            <p:cNvSpPr/>
            <p:nvPr/>
          </p:nvSpPr>
          <p:spPr>
            <a:xfrm>
              <a:off x="4895675" y="586050"/>
              <a:ext cx="25450" cy="6650"/>
            </a:xfrm>
            <a:custGeom>
              <a:avLst/>
              <a:gdLst/>
              <a:ahLst/>
              <a:cxnLst/>
              <a:rect l="l" t="t" r="r" b="b"/>
              <a:pathLst>
                <a:path w="1018" h="266" extrusionOk="0">
                  <a:moveTo>
                    <a:pt x="955" y="1"/>
                  </a:moveTo>
                  <a:cubicBezTo>
                    <a:pt x="954" y="1"/>
                    <a:pt x="953" y="1"/>
                    <a:pt x="953" y="1"/>
                  </a:cubicBezTo>
                  <a:cubicBezTo>
                    <a:pt x="809" y="7"/>
                    <a:pt x="666" y="26"/>
                    <a:pt x="523" y="42"/>
                  </a:cubicBezTo>
                  <a:lnTo>
                    <a:pt x="95" y="88"/>
                  </a:lnTo>
                  <a:cubicBezTo>
                    <a:pt x="42" y="94"/>
                    <a:pt x="0" y="132"/>
                    <a:pt x="9" y="190"/>
                  </a:cubicBezTo>
                  <a:cubicBezTo>
                    <a:pt x="15" y="239"/>
                    <a:pt x="53" y="266"/>
                    <a:pt x="97" y="266"/>
                  </a:cubicBezTo>
                  <a:cubicBezTo>
                    <a:pt x="104" y="266"/>
                    <a:pt x="112" y="265"/>
                    <a:pt x="119" y="263"/>
                  </a:cubicBezTo>
                  <a:lnTo>
                    <a:pt x="543" y="183"/>
                  </a:lnTo>
                  <a:cubicBezTo>
                    <a:pt x="683" y="156"/>
                    <a:pt x="826" y="134"/>
                    <a:pt x="965" y="96"/>
                  </a:cubicBezTo>
                  <a:cubicBezTo>
                    <a:pt x="1017" y="83"/>
                    <a:pt x="1008" y="1"/>
                    <a:pt x="95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9" name="Google Shape;659;p51"/>
            <p:cNvSpPr/>
            <p:nvPr/>
          </p:nvSpPr>
          <p:spPr>
            <a:xfrm>
              <a:off x="4565175" y="764750"/>
              <a:ext cx="13525" cy="4200"/>
            </a:xfrm>
            <a:custGeom>
              <a:avLst/>
              <a:gdLst/>
              <a:ahLst/>
              <a:cxnLst/>
              <a:rect l="l" t="t" r="r" b="b"/>
              <a:pathLst>
                <a:path w="541" h="168" extrusionOk="0">
                  <a:moveTo>
                    <a:pt x="478" y="1"/>
                  </a:moveTo>
                  <a:cubicBezTo>
                    <a:pt x="477" y="1"/>
                    <a:pt x="476" y="1"/>
                    <a:pt x="476" y="1"/>
                  </a:cubicBezTo>
                  <a:cubicBezTo>
                    <a:pt x="442" y="2"/>
                    <a:pt x="409" y="4"/>
                    <a:pt x="377" y="4"/>
                  </a:cubicBezTo>
                  <a:cubicBezTo>
                    <a:pt x="359" y="4"/>
                    <a:pt x="343" y="1"/>
                    <a:pt x="327" y="1"/>
                  </a:cubicBezTo>
                  <a:cubicBezTo>
                    <a:pt x="309" y="1"/>
                    <a:pt x="291" y="2"/>
                    <a:pt x="273" y="5"/>
                  </a:cubicBezTo>
                  <a:lnTo>
                    <a:pt x="72" y="29"/>
                  </a:lnTo>
                  <a:cubicBezTo>
                    <a:pt x="35" y="34"/>
                    <a:pt x="0" y="58"/>
                    <a:pt x="1" y="98"/>
                  </a:cubicBezTo>
                  <a:cubicBezTo>
                    <a:pt x="4" y="130"/>
                    <a:pt x="30" y="168"/>
                    <a:pt x="65" y="168"/>
                  </a:cubicBezTo>
                  <a:cubicBezTo>
                    <a:pt x="68" y="168"/>
                    <a:pt x="70" y="168"/>
                    <a:pt x="72" y="168"/>
                  </a:cubicBezTo>
                  <a:lnTo>
                    <a:pt x="277" y="141"/>
                  </a:lnTo>
                  <a:cubicBezTo>
                    <a:pt x="297" y="140"/>
                    <a:pt x="318" y="138"/>
                    <a:pt x="338" y="133"/>
                  </a:cubicBezTo>
                  <a:cubicBezTo>
                    <a:pt x="354" y="130"/>
                    <a:pt x="369" y="123"/>
                    <a:pt x="385" y="118"/>
                  </a:cubicBezTo>
                  <a:cubicBezTo>
                    <a:pt x="418" y="108"/>
                    <a:pt x="454" y="102"/>
                    <a:pt x="488" y="95"/>
                  </a:cubicBezTo>
                  <a:cubicBezTo>
                    <a:pt x="541" y="84"/>
                    <a:pt x="530" y="1"/>
                    <a:pt x="47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660" name="Google Shape;660;p51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61" name="Google Shape;661;p51"/>
          <p:cNvSpPr txBox="1">
            <a:spLocks noGrp="1"/>
          </p:cNvSpPr>
          <p:nvPr>
            <p:ph type="ctrTitle" idx="2"/>
          </p:nvPr>
        </p:nvSpPr>
        <p:spPr>
          <a:xfrm flipH="1">
            <a:off x="1374400" y="1976503"/>
            <a:ext cx="2927200" cy="578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662" name="Google Shape;662;p51"/>
          <p:cNvSpPr txBox="1">
            <a:spLocks noGrp="1"/>
          </p:cNvSpPr>
          <p:nvPr>
            <p:ph type="subTitle" idx="1"/>
          </p:nvPr>
        </p:nvSpPr>
        <p:spPr>
          <a:xfrm flipH="1">
            <a:off x="1750567" y="2399767"/>
            <a:ext cx="2174800" cy="104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663" name="Google Shape;663;p51"/>
          <p:cNvSpPr txBox="1">
            <a:spLocks noGrp="1"/>
          </p:cNvSpPr>
          <p:nvPr>
            <p:ph type="ctrTitle" idx="3"/>
          </p:nvPr>
        </p:nvSpPr>
        <p:spPr>
          <a:xfrm flipH="1">
            <a:off x="7890400" y="4681169"/>
            <a:ext cx="2927200" cy="578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664" name="Google Shape;664;p51"/>
          <p:cNvSpPr txBox="1">
            <a:spLocks noGrp="1"/>
          </p:cNvSpPr>
          <p:nvPr>
            <p:ph type="subTitle" idx="4"/>
          </p:nvPr>
        </p:nvSpPr>
        <p:spPr>
          <a:xfrm flipH="1">
            <a:off x="8266600" y="5104500"/>
            <a:ext cx="2174800" cy="104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2">
  <p:cSld name="CUSTOM_18">
    <p:spTree>
      <p:nvGrpSpPr>
        <p:cNvPr id="1" name="Shape 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6" name="Google Shape;666;p52"/>
          <p:cNvGrpSpPr/>
          <p:nvPr/>
        </p:nvGrpSpPr>
        <p:grpSpPr>
          <a:xfrm rot="6783610">
            <a:off x="-1144440" y="6934222"/>
            <a:ext cx="12678079" cy="5633167"/>
            <a:chOff x="932425" y="-228600"/>
            <a:chExt cx="9508497" cy="4224847"/>
          </a:xfrm>
        </p:grpSpPr>
        <p:sp>
          <p:nvSpPr>
            <p:cNvPr id="667" name="Google Shape;667;p52"/>
            <p:cNvSpPr/>
            <p:nvPr/>
          </p:nvSpPr>
          <p:spPr>
            <a:xfrm>
              <a:off x="932425" y="-228600"/>
              <a:ext cx="9508497" cy="4224847"/>
            </a:xfrm>
            <a:custGeom>
              <a:avLst/>
              <a:gdLst/>
              <a:ahLst/>
              <a:cxnLst/>
              <a:rect l="l" t="t" r="r" b="b"/>
              <a:pathLst>
                <a:path w="60555" h="26906" extrusionOk="0">
                  <a:moveTo>
                    <a:pt x="30368" y="1"/>
                  </a:moveTo>
                  <a:cubicBezTo>
                    <a:pt x="29859" y="1"/>
                    <a:pt x="29289" y="93"/>
                    <a:pt x="28992" y="105"/>
                  </a:cubicBezTo>
                  <a:lnTo>
                    <a:pt x="25316" y="255"/>
                  </a:lnTo>
                  <a:cubicBezTo>
                    <a:pt x="24289" y="297"/>
                    <a:pt x="23262" y="343"/>
                    <a:pt x="22235" y="382"/>
                  </a:cubicBezTo>
                  <a:cubicBezTo>
                    <a:pt x="21241" y="420"/>
                    <a:pt x="20858" y="575"/>
                    <a:pt x="19992" y="1085"/>
                  </a:cubicBezTo>
                  <a:cubicBezTo>
                    <a:pt x="18442" y="1998"/>
                    <a:pt x="16834" y="2805"/>
                    <a:pt x="15216" y="3589"/>
                  </a:cubicBezTo>
                  <a:cubicBezTo>
                    <a:pt x="10132" y="6050"/>
                    <a:pt x="3799" y="8371"/>
                    <a:pt x="918" y="13609"/>
                  </a:cubicBezTo>
                  <a:cubicBezTo>
                    <a:pt x="1" y="15277"/>
                    <a:pt x="44" y="16824"/>
                    <a:pt x="912" y="18515"/>
                  </a:cubicBezTo>
                  <a:cubicBezTo>
                    <a:pt x="3962" y="24466"/>
                    <a:pt x="10965" y="25739"/>
                    <a:pt x="17006" y="26454"/>
                  </a:cubicBezTo>
                  <a:cubicBezTo>
                    <a:pt x="17872" y="26557"/>
                    <a:pt x="18795" y="26736"/>
                    <a:pt x="19683" y="26736"/>
                  </a:cubicBezTo>
                  <a:cubicBezTo>
                    <a:pt x="19821" y="26736"/>
                    <a:pt x="19959" y="26731"/>
                    <a:pt x="20095" y="26722"/>
                  </a:cubicBezTo>
                  <a:cubicBezTo>
                    <a:pt x="20696" y="26679"/>
                    <a:pt x="21227" y="26546"/>
                    <a:pt x="21817" y="26546"/>
                  </a:cubicBezTo>
                  <a:cubicBezTo>
                    <a:pt x="21917" y="26546"/>
                    <a:pt x="22020" y="26549"/>
                    <a:pt x="22125" y="26558"/>
                  </a:cubicBezTo>
                  <a:lnTo>
                    <a:pt x="22310" y="26574"/>
                  </a:lnTo>
                  <a:cubicBezTo>
                    <a:pt x="24357" y="26746"/>
                    <a:pt x="26382" y="26905"/>
                    <a:pt x="28439" y="26905"/>
                  </a:cubicBezTo>
                  <a:cubicBezTo>
                    <a:pt x="28546" y="26905"/>
                    <a:pt x="28654" y="26905"/>
                    <a:pt x="28762" y="26904"/>
                  </a:cubicBezTo>
                  <a:cubicBezTo>
                    <a:pt x="31570" y="26880"/>
                    <a:pt x="34392" y="26703"/>
                    <a:pt x="37183" y="26397"/>
                  </a:cubicBezTo>
                  <a:cubicBezTo>
                    <a:pt x="40909" y="25991"/>
                    <a:pt x="44586" y="25231"/>
                    <a:pt x="48222" y="24336"/>
                  </a:cubicBezTo>
                  <a:cubicBezTo>
                    <a:pt x="51765" y="23463"/>
                    <a:pt x="55234" y="22562"/>
                    <a:pt x="58428" y="20736"/>
                  </a:cubicBezTo>
                  <a:cubicBezTo>
                    <a:pt x="59364" y="20201"/>
                    <a:pt x="60356" y="19457"/>
                    <a:pt x="60455" y="18383"/>
                  </a:cubicBezTo>
                  <a:cubicBezTo>
                    <a:pt x="60555" y="17316"/>
                    <a:pt x="59658" y="16354"/>
                    <a:pt x="58636" y="16034"/>
                  </a:cubicBezTo>
                  <a:cubicBezTo>
                    <a:pt x="58242" y="15911"/>
                    <a:pt x="57836" y="15862"/>
                    <a:pt x="57425" y="15862"/>
                  </a:cubicBezTo>
                  <a:cubicBezTo>
                    <a:pt x="56769" y="15862"/>
                    <a:pt x="56103" y="15987"/>
                    <a:pt x="55461" y="16136"/>
                  </a:cubicBezTo>
                  <a:cubicBezTo>
                    <a:pt x="52270" y="16878"/>
                    <a:pt x="49222" y="18146"/>
                    <a:pt x="46130" y="19209"/>
                  </a:cubicBezTo>
                  <a:cubicBezTo>
                    <a:pt x="42962" y="20297"/>
                    <a:pt x="39753" y="21288"/>
                    <a:pt x="36473" y="21983"/>
                  </a:cubicBezTo>
                  <a:cubicBezTo>
                    <a:pt x="33633" y="22584"/>
                    <a:pt x="30836" y="22859"/>
                    <a:pt x="28061" y="22859"/>
                  </a:cubicBezTo>
                  <a:cubicBezTo>
                    <a:pt x="23194" y="22859"/>
                    <a:pt x="18394" y="22011"/>
                    <a:pt x="13550" y="20582"/>
                  </a:cubicBezTo>
                  <a:cubicBezTo>
                    <a:pt x="12514" y="20277"/>
                    <a:pt x="11473" y="19930"/>
                    <a:pt x="10585" y="19315"/>
                  </a:cubicBezTo>
                  <a:cubicBezTo>
                    <a:pt x="9696" y="18702"/>
                    <a:pt x="8969" y="17781"/>
                    <a:pt x="8814" y="16713"/>
                  </a:cubicBezTo>
                  <a:cubicBezTo>
                    <a:pt x="8634" y="15469"/>
                    <a:pt x="9239" y="14249"/>
                    <a:pt x="9947" y="13211"/>
                  </a:cubicBezTo>
                  <a:cubicBezTo>
                    <a:pt x="11915" y="10335"/>
                    <a:pt x="15499" y="7337"/>
                    <a:pt x="19073" y="6824"/>
                  </a:cubicBezTo>
                  <a:cubicBezTo>
                    <a:pt x="23152" y="6237"/>
                    <a:pt x="27106" y="4191"/>
                    <a:pt x="30457" y="1792"/>
                  </a:cubicBezTo>
                  <a:cubicBezTo>
                    <a:pt x="30759" y="1575"/>
                    <a:pt x="31069" y="1342"/>
                    <a:pt x="31241" y="1011"/>
                  </a:cubicBezTo>
                  <a:cubicBezTo>
                    <a:pt x="31675" y="181"/>
                    <a:pt x="31080" y="1"/>
                    <a:pt x="30368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68" name="Google Shape;668;p52"/>
            <p:cNvSpPr/>
            <p:nvPr/>
          </p:nvSpPr>
          <p:spPr>
            <a:xfrm rot="2964094">
              <a:off x="2336272" y="1438837"/>
              <a:ext cx="176022" cy="45379"/>
            </a:xfrm>
            <a:custGeom>
              <a:avLst/>
              <a:gdLst/>
              <a:ahLst/>
              <a:cxnLst/>
              <a:rect l="l" t="t" r="r" b="b"/>
              <a:pathLst>
                <a:path w="1121" h="289" extrusionOk="0">
                  <a:moveTo>
                    <a:pt x="135" y="215"/>
                  </a:moveTo>
                  <a:lnTo>
                    <a:pt x="135" y="215"/>
                  </a:lnTo>
                  <a:cubicBezTo>
                    <a:pt x="133" y="215"/>
                    <a:pt x="131" y="215"/>
                    <a:pt x="129" y="215"/>
                  </a:cubicBezTo>
                  <a:lnTo>
                    <a:pt x="129" y="215"/>
                  </a:lnTo>
                  <a:lnTo>
                    <a:pt x="129" y="215"/>
                  </a:lnTo>
                  <a:lnTo>
                    <a:pt x="135" y="215"/>
                  </a:lnTo>
                  <a:close/>
                  <a:moveTo>
                    <a:pt x="403" y="1"/>
                  </a:moveTo>
                  <a:cubicBezTo>
                    <a:pt x="369" y="1"/>
                    <a:pt x="334" y="2"/>
                    <a:pt x="300" y="3"/>
                  </a:cubicBezTo>
                  <a:cubicBezTo>
                    <a:pt x="225" y="6"/>
                    <a:pt x="150" y="15"/>
                    <a:pt x="76" y="25"/>
                  </a:cubicBezTo>
                  <a:cubicBezTo>
                    <a:pt x="53" y="29"/>
                    <a:pt x="28" y="52"/>
                    <a:pt x="17" y="71"/>
                  </a:cubicBezTo>
                  <a:cubicBezTo>
                    <a:pt x="4" y="94"/>
                    <a:pt x="0" y="121"/>
                    <a:pt x="7" y="147"/>
                  </a:cubicBezTo>
                  <a:cubicBezTo>
                    <a:pt x="14" y="172"/>
                    <a:pt x="30" y="193"/>
                    <a:pt x="52" y="206"/>
                  </a:cubicBezTo>
                  <a:cubicBezTo>
                    <a:pt x="69" y="214"/>
                    <a:pt x="87" y="219"/>
                    <a:pt x="105" y="219"/>
                  </a:cubicBezTo>
                  <a:cubicBezTo>
                    <a:pt x="113" y="219"/>
                    <a:pt x="121" y="218"/>
                    <a:pt x="129" y="216"/>
                  </a:cubicBezTo>
                  <a:lnTo>
                    <a:pt x="129" y="216"/>
                  </a:lnTo>
                  <a:lnTo>
                    <a:pt x="129" y="216"/>
                  </a:lnTo>
                  <a:lnTo>
                    <a:pt x="114" y="217"/>
                  </a:lnTo>
                  <a:cubicBezTo>
                    <a:pt x="119" y="217"/>
                    <a:pt x="124" y="216"/>
                    <a:pt x="129" y="215"/>
                  </a:cubicBezTo>
                  <a:lnTo>
                    <a:pt x="129" y="215"/>
                  </a:lnTo>
                  <a:lnTo>
                    <a:pt x="129" y="216"/>
                  </a:lnTo>
                  <a:lnTo>
                    <a:pt x="129" y="216"/>
                  </a:lnTo>
                  <a:lnTo>
                    <a:pt x="141" y="214"/>
                  </a:lnTo>
                  <a:lnTo>
                    <a:pt x="135" y="215"/>
                  </a:lnTo>
                  <a:lnTo>
                    <a:pt x="135" y="215"/>
                  </a:lnTo>
                  <a:cubicBezTo>
                    <a:pt x="223" y="204"/>
                    <a:pt x="311" y="198"/>
                    <a:pt x="399" y="198"/>
                  </a:cubicBezTo>
                  <a:cubicBezTo>
                    <a:pt x="495" y="198"/>
                    <a:pt x="590" y="205"/>
                    <a:pt x="685" y="217"/>
                  </a:cubicBezTo>
                  <a:lnTo>
                    <a:pt x="658" y="214"/>
                  </a:lnTo>
                  <a:lnTo>
                    <a:pt x="658" y="214"/>
                  </a:lnTo>
                  <a:cubicBezTo>
                    <a:pt x="769" y="229"/>
                    <a:pt x="879" y="252"/>
                    <a:pt x="985" y="285"/>
                  </a:cubicBezTo>
                  <a:cubicBezTo>
                    <a:pt x="993" y="287"/>
                    <a:pt x="1002" y="288"/>
                    <a:pt x="1010" y="288"/>
                  </a:cubicBezTo>
                  <a:cubicBezTo>
                    <a:pt x="1053" y="288"/>
                    <a:pt x="1098" y="258"/>
                    <a:pt x="1107" y="215"/>
                  </a:cubicBezTo>
                  <a:cubicBezTo>
                    <a:pt x="1120" y="162"/>
                    <a:pt x="1089" y="110"/>
                    <a:pt x="1038" y="94"/>
                  </a:cubicBezTo>
                  <a:cubicBezTo>
                    <a:pt x="831" y="32"/>
                    <a:pt x="618" y="1"/>
                    <a:pt x="4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69" name="Google Shape;669;p52"/>
            <p:cNvSpPr/>
            <p:nvPr/>
          </p:nvSpPr>
          <p:spPr>
            <a:xfrm rot="2964094">
              <a:off x="2762512" y="3570584"/>
              <a:ext cx="201930" cy="60453"/>
            </a:xfrm>
            <a:custGeom>
              <a:avLst/>
              <a:gdLst/>
              <a:ahLst/>
              <a:cxnLst/>
              <a:rect l="l" t="t" r="r" b="b"/>
              <a:pathLst>
                <a:path w="1286" h="385" extrusionOk="0">
                  <a:moveTo>
                    <a:pt x="103" y="1"/>
                  </a:moveTo>
                  <a:cubicBezTo>
                    <a:pt x="86" y="1"/>
                    <a:pt x="69" y="5"/>
                    <a:pt x="53" y="14"/>
                  </a:cubicBezTo>
                  <a:cubicBezTo>
                    <a:pt x="31" y="27"/>
                    <a:pt x="15" y="48"/>
                    <a:pt x="8" y="73"/>
                  </a:cubicBezTo>
                  <a:cubicBezTo>
                    <a:pt x="1" y="99"/>
                    <a:pt x="5" y="127"/>
                    <a:pt x="17" y="149"/>
                  </a:cubicBezTo>
                  <a:cubicBezTo>
                    <a:pt x="32" y="171"/>
                    <a:pt x="52" y="187"/>
                    <a:pt x="76" y="195"/>
                  </a:cubicBezTo>
                  <a:lnTo>
                    <a:pt x="76" y="194"/>
                  </a:lnTo>
                  <a:cubicBezTo>
                    <a:pt x="353" y="297"/>
                    <a:pt x="644" y="360"/>
                    <a:pt x="938" y="378"/>
                  </a:cubicBezTo>
                  <a:cubicBezTo>
                    <a:pt x="1002" y="383"/>
                    <a:pt x="1065" y="384"/>
                    <a:pt x="1129" y="384"/>
                  </a:cubicBezTo>
                  <a:cubicBezTo>
                    <a:pt x="1148" y="384"/>
                    <a:pt x="1166" y="384"/>
                    <a:pt x="1185" y="384"/>
                  </a:cubicBezTo>
                  <a:cubicBezTo>
                    <a:pt x="1236" y="383"/>
                    <a:pt x="1286" y="338"/>
                    <a:pt x="1284" y="285"/>
                  </a:cubicBezTo>
                  <a:cubicBezTo>
                    <a:pt x="1282" y="231"/>
                    <a:pt x="1241" y="186"/>
                    <a:pt x="1186" y="186"/>
                  </a:cubicBezTo>
                  <a:cubicBezTo>
                    <a:pt x="1186" y="186"/>
                    <a:pt x="1185" y="186"/>
                    <a:pt x="1185" y="186"/>
                  </a:cubicBezTo>
                  <a:cubicBezTo>
                    <a:pt x="1164" y="186"/>
                    <a:pt x="1144" y="186"/>
                    <a:pt x="1123" y="186"/>
                  </a:cubicBezTo>
                  <a:cubicBezTo>
                    <a:pt x="994" y="186"/>
                    <a:pt x="864" y="178"/>
                    <a:pt x="735" y="160"/>
                  </a:cubicBezTo>
                  <a:lnTo>
                    <a:pt x="735" y="160"/>
                  </a:lnTo>
                  <a:lnTo>
                    <a:pt x="762" y="164"/>
                  </a:lnTo>
                  <a:cubicBezTo>
                    <a:pt x="546" y="135"/>
                    <a:pt x="334" y="81"/>
                    <a:pt x="129" y="4"/>
                  </a:cubicBezTo>
                  <a:cubicBezTo>
                    <a:pt x="121" y="2"/>
                    <a:pt x="112" y="1"/>
                    <a:pt x="1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70" name="Google Shape;670;p52"/>
            <p:cNvSpPr/>
            <p:nvPr/>
          </p:nvSpPr>
          <p:spPr>
            <a:xfrm rot="4484477">
              <a:off x="1651733" y="1517638"/>
              <a:ext cx="240402" cy="58570"/>
            </a:xfrm>
            <a:custGeom>
              <a:avLst/>
              <a:gdLst/>
              <a:ahLst/>
              <a:cxnLst/>
              <a:rect l="l" t="t" r="r" b="b"/>
              <a:pathLst>
                <a:path w="1531" h="373" extrusionOk="0">
                  <a:moveTo>
                    <a:pt x="109" y="0"/>
                  </a:moveTo>
                  <a:cubicBezTo>
                    <a:pt x="66" y="0"/>
                    <a:pt x="26" y="29"/>
                    <a:pt x="14" y="73"/>
                  </a:cubicBezTo>
                  <a:cubicBezTo>
                    <a:pt x="0" y="125"/>
                    <a:pt x="31" y="179"/>
                    <a:pt x="83" y="194"/>
                  </a:cubicBezTo>
                  <a:cubicBezTo>
                    <a:pt x="422" y="305"/>
                    <a:pt x="776" y="365"/>
                    <a:pt x="1133" y="372"/>
                  </a:cubicBezTo>
                  <a:cubicBezTo>
                    <a:pt x="1158" y="373"/>
                    <a:pt x="1184" y="373"/>
                    <a:pt x="1209" y="373"/>
                  </a:cubicBezTo>
                  <a:cubicBezTo>
                    <a:pt x="1283" y="373"/>
                    <a:pt x="1356" y="371"/>
                    <a:pt x="1429" y="367"/>
                  </a:cubicBezTo>
                  <a:cubicBezTo>
                    <a:pt x="1480" y="364"/>
                    <a:pt x="1530" y="324"/>
                    <a:pt x="1527" y="268"/>
                  </a:cubicBezTo>
                  <a:cubicBezTo>
                    <a:pt x="1525" y="219"/>
                    <a:pt x="1486" y="169"/>
                    <a:pt x="1434" y="169"/>
                  </a:cubicBezTo>
                  <a:cubicBezTo>
                    <a:pt x="1432" y="169"/>
                    <a:pt x="1431" y="169"/>
                    <a:pt x="1429" y="169"/>
                  </a:cubicBezTo>
                  <a:cubicBezTo>
                    <a:pt x="1355" y="173"/>
                    <a:pt x="1281" y="176"/>
                    <a:pt x="1207" y="176"/>
                  </a:cubicBezTo>
                  <a:cubicBezTo>
                    <a:pt x="1051" y="176"/>
                    <a:pt x="894" y="165"/>
                    <a:pt x="740" y="144"/>
                  </a:cubicBezTo>
                  <a:lnTo>
                    <a:pt x="740" y="144"/>
                  </a:lnTo>
                  <a:lnTo>
                    <a:pt x="766" y="148"/>
                  </a:lnTo>
                  <a:cubicBezTo>
                    <a:pt x="552" y="119"/>
                    <a:pt x="341" y="71"/>
                    <a:pt x="135" y="4"/>
                  </a:cubicBezTo>
                  <a:cubicBezTo>
                    <a:pt x="126" y="2"/>
                    <a:pt x="117" y="0"/>
                    <a:pt x="10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71" name="Google Shape;671;p52"/>
            <p:cNvSpPr/>
            <p:nvPr/>
          </p:nvSpPr>
          <p:spPr>
            <a:xfrm rot="4484477">
              <a:off x="1830124" y="1582573"/>
              <a:ext cx="110858" cy="41925"/>
            </a:xfrm>
            <a:custGeom>
              <a:avLst/>
              <a:gdLst/>
              <a:ahLst/>
              <a:cxnLst/>
              <a:rect l="l" t="t" r="r" b="b"/>
              <a:pathLst>
                <a:path w="706" h="267" extrusionOk="0">
                  <a:moveTo>
                    <a:pt x="601" y="1"/>
                  </a:moveTo>
                  <a:cubicBezTo>
                    <a:pt x="593" y="1"/>
                    <a:pt x="584" y="2"/>
                    <a:pt x="577" y="6"/>
                  </a:cubicBezTo>
                  <a:cubicBezTo>
                    <a:pt x="506" y="35"/>
                    <a:pt x="431" y="55"/>
                    <a:pt x="355" y="66"/>
                  </a:cubicBezTo>
                  <a:lnTo>
                    <a:pt x="382" y="61"/>
                  </a:lnTo>
                  <a:lnTo>
                    <a:pt x="382" y="61"/>
                  </a:lnTo>
                  <a:cubicBezTo>
                    <a:pt x="343" y="67"/>
                    <a:pt x="304" y="69"/>
                    <a:pt x="264" y="69"/>
                  </a:cubicBezTo>
                  <a:cubicBezTo>
                    <a:pt x="227" y="69"/>
                    <a:pt x="190" y="67"/>
                    <a:pt x="153" y="62"/>
                  </a:cubicBezTo>
                  <a:lnTo>
                    <a:pt x="153" y="62"/>
                  </a:lnTo>
                  <a:cubicBezTo>
                    <a:pt x="146" y="61"/>
                    <a:pt x="140" y="60"/>
                    <a:pt x="133" y="58"/>
                  </a:cubicBezTo>
                  <a:cubicBezTo>
                    <a:pt x="125" y="56"/>
                    <a:pt x="117" y="55"/>
                    <a:pt x="109" y="55"/>
                  </a:cubicBezTo>
                  <a:cubicBezTo>
                    <a:pt x="91" y="55"/>
                    <a:pt x="73" y="60"/>
                    <a:pt x="57" y="69"/>
                  </a:cubicBezTo>
                  <a:cubicBezTo>
                    <a:pt x="34" y="81"/>
                    <a:pt x="18" y="103"/>
                    <a:pt x="11" y="128"/>
                  </a:cubicBezTo>
                  <a:cubicBezTo>
                    <a:pt x="0" y="176"/>
                    <a:pt x="25" y="240"/>
                    <a:pt x="80" y="249"/>
                  </a:cubicBezTo>
                  <a:cubicBezTo>
                    <a:pt x="141" y="261"/>
                    <a:pt x="203" y="266"/>
                    <a:pt x="265" y="266"/>
                  </a:cubicBezTo>
                  <a:cubicBezTo>
                    <a:pt x="389" y="266"/>
                    <a:pt x="513" y="243"/>
                    <a:pt x="630" y="196"/>
                  </a:cubicBezTo>
                  <a:cubicBezTo>
                    <a:pt x="654" y="188"/>
                    <a:pt x="675" y="172"/>
                    <a:pt x="689" y="151"/>
                  </a:cubicBezTo>
                  <a:cubicBezTo>
                    <a:pt x="701" y="128"/>
                    <a:pt x="706" y="100"/>
                    <a:pt x="698" y="74"/>
                  </a:cubicBezTo>
                  <a:cubicBezTo>
                    <a:pt x="692" y="50"/>
                    <a:pt x="675" y="29"/>
                    <a:pt x="653" y="15"/>
                  </a:cubicBezTo>
                  <a:cubicBezTo>
                    <a:pt x="638" y="7"/>
                    <a:pt x="619" y="1"/>
                    <a:pt x="6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72" name="Google Shape;672;p52"/>
            <p:cNvSpPr/>
            <p:nvPr/>
          </p:nvSpPr>
          <p:spPr>
            <a:xfrm>
              <a:off x="1387161" y="2890165"/>
              <a:ext cx="131271" cy="38628"/>
            </a:xfrm>
            <a:custGeom>
              <a:avLst/>
              <a:gdLst/>
              <a:ahLst/>
              <a:cxnLst/>
              <a:rect l="l" t="t" r="r" b="b"/>
              <a:pathLst>
                <a:path w="836" h="246" extrusionOk="0">
                  <a:moveTo>
                    <a:pt x="504" y="1"/>
                  </a:moveTo>
                  <a:cubicBezTo>
                    <a:pt x="363" y="1"/>
                    <a:pt x="221" y="18"/>
                    <a:pt x="83" y="52"/>
                  </a:cubicBezTo>
                  <a:cubicBezTo>
                    <a:pt x="32" y="67"/>
                    <a:pt x="1" y="121"/>
                    <a:pt x="15" y="173"/>
                  </a:cubicBezTo>
                  <a:cubicBezTo>
                    <a:pt x="27" y="218"/>
                    <a:pt x="67" y="246"/>
                    <a:pt x="111" y="246"/>
                  </a:cubicBezTo>
                  <a:cubicBezTo>
                    <a:pt x="120" y="246"/>
                    <a:pt x="128" y="245"/>
                    <a:pt x="136" y="243"/>
                  </a:cubicBezTo>
                  <a:cubicBezTo>
                    <a:pt x="195" y="228"/>
                    <a:pt x="255" y="216"/>
                    <a:pt x="315" y="208"/>
                  </a:cubicBezTo>
                  <a:lnTo>
                    <a:pt x="315" y="208"/>
                  </a:lnTo>
                  <a:lnTo>
                    <a:pt x="289" y="211"/>
                  </a:lnTo>
                  <a:cubicBezTo>
                    <a:pt x="360" y="202"/>
                    <a:pt x="433" y="197"/>
                    <a:pt x="505" y="197"/>
                  </a:cubicBezTo>
                  <a:cubicBezTo>
                    <a:pt x="577" y="197"/>
                    <a:pt x="649" y="202"/>
                    <a:pt x="721" y="211"/>
                  </a:cubicBezTo>
                  <a:lnTo>
                    <a:pt x="695" y="208"/>
                  </a:lnTo>
                  <a:lnTo>
                    <a:pt x="707" y="210"/>
                  </a:lnTo>
                  <a:cubicBezTo>
                    <a:pt x="717" y="211"/>
                    <a:pt x="726" y="212"/>
                    <a:pt x="735" y="212"/>
                  </a:cubicBezTo>
                  <a:cubicBezTo>
                    <a:pt x="752" y="212"/>
                    <a:pt x="768" y="209"/>
                    <a:pt x="784" y="200"/>
                  </a:cubicBezTo>
                  <a:cubicBezTo>
                    <a:pt x="806" y="187"/>
                    <a:pt x="822" y="166"/>
                    <a:pt x="830" y="141"/>
                  </a:cubicBezTo>
                  <a:cubicBezTo>
                    <a:pt x="836" y="115"/>
                    <a:pt x="833" y="88"/>
                    <a:pt x="819" y="65"/>
                  </a:cubicBezTo>
                  <a:cubicBezTo>
                    <a:pt x="806" y="45"/>
                    <a:pt x="785" y="22"/>
                    <a:pt x="760" y="19"/>
                  </a:cubicBezTo>
                  <a:cubicBezTo>
                    <a:pt x="675" y="7"/>
                    <a:pt x="590" y="1"/>
                    <a:pt x="5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673" name="Google Shape;673;p52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74" name="Google Shape;674;p52"/>
          <p:cNvSpPr txBox="1">
            <a:spLocks noGrp="1"/>
          </p:cNvSpPr>
          <p:nvPr>
            <p:ph type="ctrTitle" idx="2"/>
          </p:nvPr>
        </p:nvSpPr>
        <p:spPr>
          <a:xfrm>
            <a:off x="960167" y="2543467"/>
            <a:ext cx="2634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675" name="Google Shape;675;p52"/>
          <p:cNvSpPr txBox="1">
            <a:spLocks noGrp="1"/>
          </p:cNvSpPr>
          <p:nvPr>
            <p:ph type="subTitle" idx="1"/>
          </p:nvPr>
        </p:nvSpPr>
        <p:spPr>
          <a:xfrm>
            <a:off x="960184" y="2982192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6" name="Google Shape;676;p52"/>
          <p:cNvSpPr txBox="1">
            <a:spLocks noGrp="1"/>
          </p:cNvSpPr>
          <p:nvPr>
            <p:ph type="ctrTitle" idx="3"/>
          </p:nvPr>
        </p:nvSpPr>
        <p:spPr>
          <a:xfrm>
            <a:off x="8689811" y="2540025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677" name="Google Shape;677;p52"/>
          <p:cNvSpPr txBox="1">
            <a:spLocks noGrp="1"/>
          </p:cNvSpPr>
          <p:nvPr>
            <p:ph type="subTitle" idx="4"/>
          </p:nvPr>
        </p:nvSpPr>
        <p:spPr>
          <a:xfrm>
            <a:off x="8689984" y="29736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8" name="Google Shape;678;p52"/>
          <p:cNvSpPr txBox="1">
            <a:spLocks noGrp="1"/>
          </p:cNvSpPr>
          <p:nvPr>
            <p:ph type="ctrTitle" idx="5"/>
          </p:nvPr>
        </p:nvSpPr>
        <p:spPr>
          <a:xfrm>
            <a:off x="960167" y="4143667"/>
            <a:ext cx="2634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679" name="Google Shape;679;p52"/>
          <p:cNvSpPr txBox="1">
            <a:spLocks noGrp="1"/>
          </p:cNvSpPr>
          <p:nvPr>
            <p:ph type="subTitle" idx="6"/>
          </p:nvPr>
        </p:nvSpPr>
        <p:spPr>
          <a:xfrm>
            <a:off x="960184" y="4582392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0" name="Google Shape;680;p52"/>
          <p:cNvSpPr txBox="1">
            <a:spLocks noGrp="1"/>
          </p:cNvSpPr>
          <p:nvPr>
            <p:ph type="ctrTitle" idx="7"/>
          </p:nvPr>
        </p:nvSpPr>
        <p:spPr>
          <a:xfrm>
            <a:off x="8689811" y="4140225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681" name="Google Shape;681;p52"/>
          <p:cNvSpPr txBox="1">
            <a:spLocks noGrp="1"/>
          </p:cNvSpPr>
          <p:nvPr>
            <p:ph type="subTitle" idx="8"/>
          </p:nvPr>
        </p:nvSpPr>
        <p:spPr>
          <a:xfrm>
            <a:off x="8689984" y="45738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82" name="Google Shape;682;p52"/>
          <p:cNvGrpSpPr/>
          <p:nvPr/>
        </p:nvGrpSpPr>
        <p:grpSpPr>
          <a:xfrm>
            <a:off x="10439538" y="-1548055"/>
            <a:ext cx="2642135" cy="3217941"/>
            <a:chOff x="4801493" y="2796721"/>
            <a:chExt cx="426050" cy="518900"/>
          </a:xfrm>
        </p:grpSpPr>
        <p:sp>
          <p:nvSpPr>
            <p:cNvPr id="683" name="Google Shape;683;p52"/>
            <p:cNvSpPr/>
            <p:nvPr/>
          </p:nvSpPr>
          <p:spPr>
            <a:xfrm>
              <a:off x="4801493" y="2796721"/>
              <a:ext cx="426050" cy="518900"/>
            </a:xfrm>
            <a:custGeom>
              <a:avLst/>
              <a:gdLst/>
              <a:ahLst/>
              <a:cxnLst/>
              <a:rect l="l" t="t" r="r" b="b"/>
              <a:pathLst>
                <a:path w="17042" h="20756" extrusionOk="0">
                  <a:moveTo>
                    <a:pt x="14204" y="1"/>
                  </a:moveTo>
                  <a:cubicBezTo>
                    <a:pt x="13529" y="1"/>
                    <a:pt x="13378" y="447"/>
                    <a:pt x="13107" y="1082"/>
                  </a:cubicBezTo>
                  <a:cubicBezTo>
                    <a:pt x="12270" y="3047"/>
                    <a:pt x="10686" y="3995"/>
                    <a:pt x="8835" y="4908"/>
                  </a:cubicBezTo>
                  <a:lnTo>
                    <a:pt x="4513" y="7039"/>
                  </a:lnTo>
                  <a:cubicBezTo>
                    <a:pt x="3779" y="7401"/>
                    <a:pt x="3036" y="7768"/>
                    <a:pt x="2409" y="8295"/>
                  </a:cubicBezTo>
                  <a:cubicBezTo>
                    <a:pt x="1919" y="8707"/>
                    <a:pt x="1510" y="9210"/>
                    <a:pt x="1171" y="9755"/>
                  </a:cubicBezTo>
                  <a:cubicBezTo>
                    <a:pt x="357" y="11066"/>
                    <a:pt x="1" y="12870"/>
                    <a:pt x="932" y="14100"/>
                  </a:cubicBezTo>
                  <a:cubicBezTo>
                    <a:pt x="1511" y="14866"/>
                    <a:pt x="2453" y="15244"/>
                    <a:pt x="3336" y="15620"/>
                  </a:cubicBezTo>
                  <a:cubicBezTo>
                    <a:pt x="5416" y="16508"/>
                    <a:pt x="7429" y="17582"/>
                    <a:pt x="9210" y="18976"/>
                  </a:cubicBezTo>
                  <a:cubicBezTo>
                    <a:pt x="9839" y="19468"/>
                    <a:pt x="10444" y="20004"/>
                    <a:pt x="11157" y="20365"/>
                  </a:cubicBezTo>
                  <a:cubicBezTo>
                    <a:pt x="11622" y="20601"/>
                    <a:pt x="12148" y="20756"/>
                    <a:pt x="12665" y="20756"/>
                  </a:cubicBezTo>
                  <a:cubicBezTo>
                    <a:pt x="12939" y="20756"/>
                    <a:pt x="13211" y="20712"/>
                    <a:pt x="13471" y="20614"/>
                  </a:cubicBezTo>
                  <a:cubicBezTo>
                    <a:pt x="14217" y="20330"/>
                    <a:pt x="14778" y="19497"/>
                    <a:pt x="14572" y="18726"/>
                  </a:cubicBezTo>
                  <a:cubicBezTo>
                    <a:pt x="14457" y="18299"/>
                    <a:pt x="14142" y="17956"/>
                    <a:pt x="13811" y="17662"/>
                  </a:cubicBezTo>
                  <a:cubicBezTo>
                    <a:pt x="12096" y="16140"/>
                    <a:pt x="9786" y="15477"/>
                    <a:pt x="7907" y="14161"/>
                  </a:cubicBezTo>
                  <a:cubicBezTo>
                    <a:pt x="7316" y="13747"/>
                    <a:pt x="6740" y="13221"/>
                    <a:pt x="6576" y="12518"/>
                  </a:cubicBezTo>
                  <a:cubicBezTo>
                    <a:pt x="6367" y="11615"/>
                    <a:pt x="6903" y="10702"/>
                    <a:pt x="7550" y="10039"/>
                  </a:cubicBezTo>
                  <a:cubicBezTo>
                    <a:pt x="9408" y="8134"/>
                    <a:pt x="12162" y="7458"/>
                    <a:pt x="14424" y="6057"/>
                  </a:cubicBezTo>
                  <a:cubicBezTo>
                    <a:pt x="15217" y="5566"/>
                    <a:pt x="15971" y="4961"/>
                    <a:pt x="16438" y="4152"/>
                  </a:cubicBezTo>
                  <a:cubicBezTo>
                    <a:pt x="16905" y="3344"/>
                    <a:pt x="17042" y="2298"/>
                    <a:pt x="16603" y="1474"/>
                  </a:cubicBezTo>
                  <a:cubicBezTo>
                    <a:pt x="16200" y="718"/>
                    <a:pt x="15252" y="100"/>
                    <a:pt x="14395" y="11"/>
                  </a:cubicBezTo>
                  <a:cubicBezTo>
                    <a:pt x="14327" y="4"/>
                    <a:pt x="14264" y="1"/>
                    <a:pt x="1420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84" name="Google Shape;684;p52"/>
            <p:cNvSpPr/>
            <p:nvPr/>
          </p:nvSpPr>
          <p:spPr>
            <a:xfrm>
              <a:off x="4843018" y="3128371"/>
              <a:ext cx="22875" cy="19350"/>
            </a:xfrm>
            <a:custGeom>
              <a:avLst/>
              <a:gdLst/>
              <a:ahLst/>
              <a:cxnLst/>
              <a:rect l="l" t="t" r="r" b="b"/>
              <a:pathLst>
                <a:path w="915" h="774" extrusionOk="0">
                  <a:moveTo>
                    <a:pt x="255" y="209"/>
                  </a:moveTo>
                  <a:lnTo>
                    <a:pt x="257" y="212"/>
                  </a:lnTo>
                  <a:lnTo>
                    <a:pt x="257" y="212"/>
                  </a:lnTo>
                  <a:cubicBezTo>
                    <a:pt x="256" y="211"/>
                    <a:pt x="256" y="210"/>
                    <a:pt x="255" y="209"/>
                  </a:cubicBezTo>
                  <a:close/>
                  <a:moveTo>
                    <a:pt x="480" y="435"/>
                  </a:moveTo>
                  <a:cubicBezTo>
                    <a:pt x="480" y="435"/>
                    <a:pt x="481" y="436"/>
                    <a:pt x="481" y="436"/>
                  </a:cubicBezTo>
                  <a:lnTo>
                    <a:pt x="481" y="436"/>
                  </a:lnTo>
                  <a:cubicBezTo>
                    <a:pt x="481" y="436"/>
                    <a:pt x="480" y="435"/>
                    <a:pt x="480" y="435"/>
                  </a:cubicBezTo>
                  <a:close/>
                  <a:moveTo>
                    <a:pt x="83" y="1"/>
                  </a:moveTo>
                  <a:cubicBezTo>
                    <a:pt x="71" y="1"/>
                    <a:pt x="58" y="4"/>
                    <a:pt x="47" y="10"/>
                  </a:cubicBezTo>
                  <a:cubicBezTo>
                    <a:pt x="12" y="31"/>
                    <a:pt x="1" y="75"/>
                    <a:pt x="20" y="109"/>
                  </a:cubicBezTo>
                  <a:lnTo>
                    <a:pt x="19" y="110"/>
                  </a:lnTo>
                  <a:cubicBezTo>
                    <a:pt x="85" y="239"/>
                    <a:pt x="169" y="357"/>
                    <a:pt x="271" y="459"/>
                  </a:cubicBezTo>
                  <a:cubicBezTo>
                    <a:pt x="324" y="513"/>
                    <a:pt x="382" y="562"/>
                    <a:pt x="442" y="607"/>
                  </a:cubicBezTo>
                  <a:cubicBezTo>
                    <a:pt x="469" y="627"/>
                    <a:pt x="498" y="647"/>
                    <a:pt x="528" y="664"/>
                  </a:cubicBezTo>
                  <a:cubicBezTo>
                    <a:pt x="561" y="686"/>
                    <a:pt x="597" y="704"/>
                    <a:pt x="634" y="717"/>
                  </a:cubicBezTo>
                  <a:cubicBezTo>
                    <a:pt x="671" y="727"/>
                    <a:pt x="706" y="740"/>
                    <a:pt x="742" y="752"/>
                  </a:cubicBezTo>
                  <a:cubicBezTo>
                    <a:pt x="777" y="762"/>
                    <a:pt x="814" y="773"/>
                    <a:pt x="851" y="773"/>
                  </a:cubicBezTo>
                  <a:cubicBezTo>
                    <a:pt x="856" y="773"/>
                    <a:pt x="862" y="773"/>
                    <a:pt x="868" y="772"/>
                  </a:cubicBezTo>
                  <a:cubicBezTo>
                    <a:pt x="885" y="771"/>
                    <a:pt x="901" y="761"/>
                    <a:pt x="908" y="745"/>
                  </a:cubicBezTo>
                  <a:cubicBezTo>
                    <a:pt x="915" y="729"/>
                    <a:pt x="911" y="710"/>
                    <a:pt x="899" y="697"/>
                  </a:cubicBezTo>
                  <a:cubicBezTo>
                    <a:pt x="846" y="653"/>
                    <a:pt x="776" y="633"/>
                    <a:pt x="718" y="594"/>
                  </a:cubicBezTo>
                  <a:cubicBezTo>
                    <a:pt x="716" y="592"/>
                    <a:pt x="712" y="589"/>
                    <a:pt x="710" y="587"/>
                  </a:cubicBezTo>
                  <a:cubicBezTo>
                    <a:pt x="701" y="579"/>
                    <a:pt x="692" y="572"/>
                    <a:pt x="681" y="565"/>
                  </a:cubicBezTo>
                  <a:cubicBezTo>
                    <a:pt x="665" y="556"/>
                    <a:pt x="649" y="548"/>
                    <a:pt x="634" y="539"/>
                  </a:cubicBezTo>
                  <a:cubicBezTo>
                    <a:pt x="605" y="521"/>
                    <a:pt x="576" y="503"/>
                    <a:pt x="548" y="485"/>
                  </a:cubicBezTo>
                  <a:cubicBezTo>
                    <a:pt x="535" y="475"/>
                    <a:pt x="521" y="466"/>
                    <a:pt x="507" y="456"/>
                  </a:cubicBezTo>
                  <a:lnTo>
                    <a:pt x="488" y="442"/>
                  </a:lnTo>
                  <a:cubicBezTo>
                    <a:pt x="486" y="440"/>
                    <a:pt x="483" y="438"/>
                    <a:pt x="481" y="436"/>
                  </a:cubicBezTo>
                  <a:lnTo>
                    <a:pt x="481" y="436"/>
                  </a:lnTo>
                  <a:cubicBezTo>
                    <a:pt x="485" y="440"/>
                    <a:pt x="487" y="442"/>
                    <a:pt x="487" y="442"/>
                  </a:cubicBezTo>
                  <a:cubicBezTo>
                    <a:pt x="487" y="442"/>
                    <a:pt x="480" y="436"/>
                    <a:pt x="477" y="434"/>
                  </a:cubicBezTo>
                  <a:cubicBezTo>
                    <a:pt x="451" y="413"/>
                    <a:pt x="424" y="390"/>
                    <a:pt x="399" y="367"/>
                  </a:cubicBezTo>
                  <a:cubicBezTo>
                    <a:pt x="350" y="321"/>
                    <a:pt x="304" y="272"/>
                    <a:pt x="262" y="219"/>
                  </a:cubicBezTo>
                  <a:cubicBezTo>
                    <a:pt x="261" y="217"/>
                    <a:pt x="259" y="215"/>
                    <a:pt x="258" y="213"/>
                  </a:cubicBezTo>
                  <a:lnTo>
                    <a:pt x="258" y="213"/>
                  </a:lnTo>
                  <a:lnTo>
                    <a:pt x="259" y="214"/>
                  </a:lnTo>
                  <a:lnTo>
                    <a:pt x="257" y="212"/>
                  </a:lnTo>
                  <a:lnTo>
                    <a:pt x="257" y="212"/>
                  </a:lnTo>
                  <a:cubicBezTo>
                    <a:pt x="257" y="212"/>
                    <a:pt x="258" y="213"/>
                    <a:pt x="258" y="213"/>
                  </a:cubicBezTo>
                  <a:lnTo>
                    <a:pt x="258" y="213"/>
                  </a:lnTo>
                  <a:lnTo>
                    <a:pt x="253" y="207"/>
                  </a:lnTo>
                  <a:lnTo>
                    <a:pt x="237" y="185"/>
                  </a:lnTo>
                  <a:cubicBezTo>
                    <a:pt x="225" y="169"/>
                    <a:pt x="214" y="152"/>
                    <a:pt x="203" y="136"/>
                  </a:cubicBezTo>
                  <a:cubicBezTo>
                    <a:pt x="183" y="103"/>
                    <a:pt x="163" y="70"/>
                    <a:pt x="146" y="37"/>
                  </a:cubicBezTo>
                  <a:cubicBezTo>
                    <a:pt x="132" y="14"/>
                    <a:pt x="108" y="1"/>
                    <a:pt x="8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85" name="Google Shape;685;p52"/>
            <p:cNvSpPr/>
            <p:nvPr/>
          </p:nvSpPr>
          <p:spPr>
            <a:xfrm>
              <a:off x="4864543" y="3138546"/>
              <a:ext cx="15725" cy="6300"/>
            </a:xfrm>
            <a:custGeom>
              <a:avLst/>
              <a:gdLst/>
              <a:ahLst/>
              <a:cxnLst/>
              <a:rect l="l" t="t" r="r" b="b"/>
              <a:pathLst>
                <a:path w="629" h="252" extrusionOk="0">
                  <a:moveTo>
                    <a:pt x="100" y="1"/>
                  </a:moveTo>
                  <a:cubicBezTo>
                    <a:pt x="25" y="1"/>
                    <a:pt x="0" y="118"/>
                    <a:pt x="84" y="140"/>
                  </a:cubicBezTo>
                  <a:lnTo>
                    <a:pt x="283" y="195"/>
                  </a:lnTo>
                  <a:cubicBezTo>
                    <a:pt x="317" y="204"/>
                    <a:pt x="351" y="213"/>
                    <a:pt x="385" y="224"/>
                  </a:cubicBezTo>
                  <a:cubicBezTo>
                    <a:pt x="406" y="229"/>
                    <a:pt x="426" y="234"/>
                    <a:pt x="446" y="235"/>
                  </a:cubicBezTo>
                  <a:lnTo>
                    <a:pt x="457" y="235"/>
                  </a:lnTo>
                  <a:cubicBezTo>
                    <a:pt x="458" y="235"/>
                    <a:pt x="459" y="235"/>
                    <a:pt x="460" y="235"/>
                  </a:cubicBezTo>
                  <a:lnTo>
                    <a:pt x="460" y="235"/>
                  </a:lnTo>
                  <a:cubicBezTo>
                    <a:pt x="460" y="235"/>
                    <a:pt x="460" y="235"/>
                    <a:pt x="460" y="235"/>
                  </a:cubicBezTo>
                  <a:lnTo>
                    <a:pt x="489" y="240"/>
                  </a:lnTo>
                  <a:cubicBezTo>
                    <a:pt x="510" y="244"/>
                    <a:pt x="537" y="251"/>
                    <a:pt x="562" y="251"/>
                  </a:cubicBezTo>
                  <a:cubicBezTo>
                    <a:pt x="584" y="251"/>
                    <a:pt x="604" y="245"/>
                    <a:pt x="617" y="225"/>
                  </a:cubicBezTo>
                  <a:cubicBezTo>
                    <a:pt x="628" y="204"/>
                    <a:pt x="625" y="178"/>
                    <a:pt x="608" y="160"/>
                  </a:cubicBezTo>
                  <a:cubicBezTo>
                    <a:pt x="593" y="144"/>
                    <a:pt x="568" y="139"/>
                    <a:pt x="549" y="130"/>
                  </a:cubicBezTo>
                  <a:lnTo>
                    <a:pt x="502" y="113"/>
                  </a:lnTo>
                  <a:cubicBezTo>
                    <a:pt x="501" y="113"/>
                    <a:pt x="498" y="112"/>
                    <a:pt x="495" y="110"/>
                  </a:cubicBezTo>
                  <a:lnTo>
                    <a:pt x="495" y="110"/>
                  </a:lnTo>
                  <a:cubicBezTo>
                    <a:pt x="495" y="110"/>
                    <a:pt x="488" y="106"/>
                    <a:pt x="489" y="106"/>
                  </a:cubicBezTo>
                  <a:cubicBezTo>
                    <a:pt x="477" y="101"/>
                    <a:pt x="465" y="95"/>
                    <a:pt x="452" y="91"/>
                  </a:cubicBezTo>
                  <a:cubicBezTo>
                    <a:pt x="418" y="81"/>
                    <a:pt x="383" y="73"/>
                    <a:pt x="349" y="64"/>
                  </a:cubicBezTo>
                  <a:lnTo>
                    <a:pt x="122" y="4"/>
                  </a:lnTo>
                  <a:cubicBezTo>
                    <a:pt x="114" y="2"/>
                    <a:pt x="107" y="1"/>
                    <a:pt x="10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86" name="Google Shape;686;p52"/>
            <p:cNvSpPr/>
            <p:nvPr/>
          </p:nvSpPr>
          <p:spPr>
            <a:xfrm>
              <a:off x="5029693" y="2986796"/>
              <a:ext cx="19100" cy="10800"/>
            </a:xfrm>
            <a:custGeom>
              <a:avLst/>
              <a:gdLst/>
              <a:ahLst/>
              <a:cxnLst/>
              <a:rect l="l" t="t" r="r" b="b"/>
              <a:pathLst>
                <a:path w="764" h="432" extrusionOk="0">
                  <a:moveTo>
                    <a:pt x="693" y="0"/>
                  </a:moveTo>
                  <a:cubicBezTo>
                    <a:pt x="688" y="0"/>
                    <a:pt x="683" y="1"/>
                    <a:pt x="677" y="2"/>
                  </a:cubicBezTo>
                  <a:cubicBezTo>
                    <a:pt x="663" y="6"/>
                    <a:pt x="650" y="8"/>
                    <a:pt x="637" y="12"/>
                  </a:cubicBezTo>
                  <a:cubicBezTo>
                    <a:pt x="619" y="17"/>
                    <a:pt x="601" y="24"/>
                    <a:pt x="585" y="32"/>
                  </a:cubicBezTo>
                  <a:lnTo>
                    <a:pt x="507" y="69"/>
                  </a:lnTo>
                  <a:cubicBezTo>
                    <a:pt x="455" y="92"/>
                    <a:pt x="404" y="119"/>
                    <a:pt x="354" y="144"/>
                  </a:cubicBezTo>
                  <a:lnTo>
                    <a:pt x="46" y="298"/>
                  </a:lnTo>
                  <a:cubicBezTo>
                    <a:pt x="12" y="319"/>
                    <a:pt x="0" y="363"/>
                    <a:pt x="21" y="396"/>
                  </a:cubicBezTo>
                  <a:cubicBezTo>
                    <a:pt x="35" y="419"/>
                    <a:pt x="59" y="431"/>
                    <a:pt x="84" y="431"/>
                  </a:cubicBezTo>
                  <a:cubicBezTo>
                    <a:pt x="96" y="431"/>
                    <a:pt x="108" y="429"/>
                    <a:pt x="119" y="423"/>
                  </a:cubicBezTo>
                  <a:lnTo>
                    <a:pt x="431" y="276"/>
                  </a:lnTo>
                  <a:cubicBezTo>
                    <a:pt x="483" y="252"/>
                    <a:pt x="535" y="228"/>
                    <a:pt x="586" y="203"/>
                  </a:cubicBezTo>
                  <a:lnTo>
                    <a:pt x="660" y="166"/>
                  </a:lnTo>
                  <a:cubicBezTo>
                    <a:pt x="688" y="150"/>
                    <a:pt x="715" y="130"/>
                    <a:pt x="739" y="108"/>
                  </a:cubicBezTo>
                  <a:cubicBezTo>
                    <a:pt x="760" y="88"/>
                    <a:pt x="764" y="57"/>
                    <a:pt x="750" y="31"/>
                  </a:cubicBezTo>
                  <a:cubicBezTo>
                    <a:pt x="738" y="12"/>
                    <a:pt x="716" y="0"/>
                    <a:pt x="69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87" name="Google Shape;687;p52"/>
            <p:cNvSpPr/>
            <p:nvPr/>
          </p:nvSpPr>
          <p:spPr>
            <a:xfrm>
              <a:off x="5013268" y="2985671"/>
              <a:ext cx="18125" cy="7450"/>
            </a:xfrm>
            <a:custGeom>
              <a:avLst/>
              <a:gdLst/>
              <a:ahLst/>
              <a:cxnLst/>
              <a:rect l="l" t="t" r="r" b="b"/>
              <a:pathLst>
                <a:path w="725" h="298" extrusionOk="0">
                  <a:moveTo>
                    <a:pt x="675" y="0"/>
                  </a:moveTo>
                  <a:cubicBezTo>
                    <a:pt x="674" y="0"/>
                    <a:pt x="674" y="0"/>
                    <a:pt x="674" y="0"/>
                  </a:cubicBezTo>
                  <a:cubicBezTo>
                    <a:pt x="618" y="1"/>
                    <a:pt x="563" y="15"/>
                    <a:pt x="509" y="28"/>
                  </a:cubicBezTo>
                  <a:cubicBezTo>
                    <a:pt x="454" y="41"/>
                    <a:pt x="403" y="53"/>
                    <a:pt x="350" y="70"/>
                  </a:cubicBezTo>
                  <a:cubicBezTo>
                    <a:pt x="244" y="105"/>
                    <a:pt x="139" y="145"/>
                    <a:pt x="37" y="189"/>
                  </a:cubicBezTo>
                  <a:cubicBezTo>
                    <a:pt x="8" y="202"/>
                    <a:pt x="0" y="244"/>
                    <a:pt x="15" y="268"/>
                  </a:cubicBezTo>
                  <a:cubicBezTo>
                    <a:pt x="27" y="287"/>
                    <a:pt x="46" y="297"/>
                    <a:pt x="66" y="297"/>
                  </a:cubicBezTo>
                  <a:cubicBezTo>
                    <a:pt x="76" y="297"/>
                    <a:pt x="86" y="295"/>
                    <a:pt x="96" y="289"/>
                  </a:cubicBezTo>
                  <a:cubicBezTo>
                    <a:pt x="188" y="248"/>
                    <a:pt x="287" y="210"/>
                    <a:pt x="387" y="176"/>
                  </a:cubicBezTo>
                  <a:cubicBezTo>
                    <a:pt x="436" y="159"/>
                    <a:pt x="486" y="141"/>
                    <a:pt x="535" y="123"/>
                  </a:cubicBezTo>
                  <a:cubicBezTo>
                    <a:pt x="588" y="108"/>
                    <a:pt x="641" y="90"/>
                    <a:pt x="692" y="68"/>
                  </a:cubicBezTo>
                  <a:cubicBezTo>
                    <a:pt x="725" y="52"/>
                    <a:pt x="708" y="0"/>
                    <a:pt x="67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88" name="Google Shape;688;p52"/>
            <p:cNvSpPr/>
            <p:nvPr/>
          </p:nvSpPr>
          <p:spPr>
            <a:xfrm>
              <a:off x="5022493" y="3231771"/>
              <a:ext cx="14875" cy="6650"/>
            </a:xfrm>
            <a:custGeom>
              <a:avLst/>
              <a:gdLst/>
              <a:ahLst/>
              <a:cxnLst/>
              <a:rect l="l" t="t" r="r" b="b"/>
              <a:pathLst>
                <a:path w="595" h="266" extrusionOk="0">
                  <a:moveTo>
                    <a:pt x="67" y="0"/>
                  </a:moveTo>
                  <a:cubicBezTo>
                    <a:pt x="41" y="0"/>
                    <a:pt x="16" y="18"/>
                    <a:pt x="9" y="45"/>
                  </a:cubicBezTo>
                  <a:cubicBezTo>
                    <a:pt x="1" y="77"/>
                    <a:pt x="20" y="111"/>
                    <a:pt x="52" y="120"/>
                  </a:cubicBezTo>
                  <a:lnTo>
                    <a:pt x="51" y="120"/>
                  </a:lnTo>
                  <a:lnTo>
                    <a:pt x="293" y="200"/>
                  </a:lnTo>
                  <a:cubicBezTo>
                    <a:pt x="332" y="214"/>
                    <a:pt x="372" y="226"/>
                    <a:pt x="413" y="237"/>
                  </a:cubicBezTo>
                  <a:lnTo>
                    <a:pt x="471" y="256"/>
                  </a:lnTo>
                  <a:cubicBezTo>
                    <a:pt x="494" y="263"/>
                    <a:pt x="519" y="266"/>
                    <a:pt x="544" y="266"/>
                  </a:cubicBezTo>
                  <a:cubicBezTo>
                    <a:pt x="565" y="266"/>
                    <a:pt x="583" y="252"/>
                    <a:pt x="590" y="231"/>
                  </a:cubicBezTo>
                  <a:cubicBezTo>
                    <a:pt x="595" y="211"/>
                    <a:pt x="585" y="190"/>
                    <a:pt x="568" y="179"/>
                  </a:cubicBezTo>
                  <a:cubicBezTo>
                    <a:pt x="560" y="172"/>
                    <a:pt x="551" y="166"/>
                    <a:pt x="542" y="160"/>
                  </a:cubicBezTo>
                  <a:cubicBezTo>
                    <a:pt x="530" y="155"/>
                    <a:pt x="517" y="150"/>
                    <a:pt x="505" y="146"/>
                  </a:cubicBezTo>
                  <a:lnTo>
                    <a:pt x="447" y="126"/>
                  </a:lnTo>
                  <a:cubicBezTo>
                    <a:pt x="407" y="111"/>
                    <a:pt x="367" y="96"/>
                    <a:pt x="325" y="82"/>
                  </a:cubicBezTo>
                  <a:lnTo>
                    <a:pt x="83" y="2"/>
                  </a:lnTo>
                  <a:cubicBezTo>
                    <a:pt x="78" y="1"/>
                    <a:pt x="73" y="0"/>
                    <a:pt x="6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grpSp>
        <p:nvGrpSpPr>
          <p:cNvPr id="689" name="Google Shape;689;p52"/>
          <p:cNvGrpSpPr/>
          <p:nvPr/>
        </p:nvGrpSpPr>
        <p:grpSpPr>
          <a:xfrm>
            <a:off x="-889662" y="-1438021"/>
            <a:ext cx="2642135" cy="3217941"/>
            <a:chOff x="4700640" y="2796721"/>
            <a:chExt cx="426050" cy="518900"/>
          </a:xfrm>
        </p:grpSpPr>
        <p:sp>
          <p:nvSpPr>
            <p:cNvPr id="690" name="Google Shape;690;p52"/>
            <p:cNvSpPr/>
            <p:nvPr/>
          </p:nvSpPr>
          <p:spPr>
            <a:xfrm flipH="1">
              <a:off x="4700640" y="2796721"/>
              <a:ext cx="426050" cy="518900"/>
            </a:xfrm>
            <a:custGeom>
              <a:avLst/>
              <a:gdLst/>
              <a:ahLst/>
              <a:cxnLst/>
              <a:rect l="l" t="t" r="r" b="b"/>
              <a:pathLst>
                <a:path w="17042" h="20756" extrusionOk="0">
                  <a:moveTo>
                    <a:pt x="14204" y="1"/>
                  </a:moveTo>
                  <a:cubicBezTo>
                    <a:pt x="13529" y="1"/>
                    <a:pt x="13378" y="447"/>
                    <a:pt x="13107" y="1082"/>
                  </a:cubicBezTo>
                  <a:cubicBezTo>
                    <a:pt x="12270" y="3047"/>
                    <a:pt x="10686" y="3995"/>
                    <a:pt x="8835" y="4908"/>
                  </a:cubicBezTo>
                  <a:lnTo>
                    <a:pt x="4513" y="7039"/>
                  </a:lnTo>
                  <a:cubicBezTo>
                    <a:pt x="3779" y="7401"/>
                    <a:pt x="3036" y="7768"/>
                    <a:pt x="2409" y="8295"/>
                  </a:cubicBezTo>
                  <a:cubicBezTo>
                    <a:pt x="1919" y="8707"/>
                    <a:pt x="1510" y="9210"/>
                    <a:pt x="1171" y="9755"/>
                  </a:cubicBezTo>
                  <a:cubicBezTo>
                    <a:pt x="357" y="11066"/>
                    <a:pt x="1" y="12870"/>
                    <a:pt x="932" y="14100"/>
                  </a:cubicBezTo>
                  <a:cubicBezTo>
                    <a:pt x="1511" y="14866"/>
                    <a:pt x="2453" y="15244"/>
                    <a:pt x="3336" y="15620"/>
                  </a:cubicBezTo>
                  <a:cubicBezTo>
                    <a:pt x="5416" y="16508"/>
                    <a:pt x="7429" y="17582"/>
                    <a:pt x="9210" y="18976"/>
                  </a:cubicBezTo>
                  <a:cubicBezTo>
                    <a:pt x="9839" y="19468"/>
                    <a:pt x="10444" y="20004"/>
                    <a:pt x="11157" y="20365"/>
                  </a:cubicBezTo>
                  <a:cubicBezTo>
                    <a:pt x="11622" y="20601"/>
                    <a:pt x="12148" y="20756"/>
                    <a:pt x="12665" y="20756"/>
                  </a:cubicBezTo>
                  <a:cubicBezTo>
                    <a:pt x="12939" y="20756"/>
                    <a:pt x="13211" y="20712"/>
                    <a:pt x="13471" y="20614"/>
                  </a:cubicBezTo>
                  <a:cubicBezTo>
                    <a:pt x="14217" y="20330"/>
                    <a:pt x="14778" y="19497"/>
                    <a:pt x="14572" y="18726"/>
                  </a:cubicBezTo>
                  <a:cubicBezTo>
                    <a:pt x="14457" y="18299"/>
                    <a:pt x="14142" y="17956"/>
                    <a:pt x="13811" y="17662"/>
                  </a:cubicBezTo>
                  <a:cubicBezTo>
                    <a:pt x="12096" y="16140"/>
                    <a:pt x="9786" y="15477"/>
                    <a:pt x="7907" y="14161"/>
                  </a:cubicBezTo>
                  <a:cubicBezTo>
                    <a:pt x="7316" y="13747"/>
                    <a:pt x="6740" y="13221"/>
                    <a:pt x="6576" y="12518"/>
                  </a:cubicBezTo>
                  <a:cubicBezTo>
                    <a:pt x="6367" y="11615"/>
                    <a:pt x="6903" y="10702"/>
                    <a:pt x="7550" y="10039"/>
                  </a:cubicBezTo>
                  <a:cubicBezTo>
                    <a:pt x="9408" y="8134"/>
                    <a:pt x="12162" y="7458"/>
                    <a:pt x="14424" y="6057"/>
                  </a:cubicBezTo>
                  <a:cubicBezTo>
                    <a:pt x="15217" y="5566"/>
                    <a:pt x="15971" y="4961"/>
                    <a:pt x="16438" y="4152"/>
                  </a:cubicBezTo>
                  <a:cubicBezTo>
                    <a:pt x="16905" y="3344"/>
                    <a:pt x="17042" y="2298"/>
                    <a:pt x="16603" y="1474"/>
                  </a:cubicBezTo>
                  <a:cubicBezTo>
                    <a:pt x="16200" y="718"/>
                    <a:pt x="15252" y="100"/>
                    <a:pt x="14395" y="11"/>
                  </a:cubicBezTo>
                  <a:cubicBezTo>
                    <a:pt x="14327" y="4"/>
                    <a:pt x="14264" y="1"/>
                    <a:pt x="1420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91" name="Google Shape;691;p52"/>
            <p:cNvSpPr/>
            <p:nvPr/>
          </p:nvSpPr>
          <p:spPr>
            <a:xfrm flipH="1">
              <a:off x="5062290" y="3128371"/>
              <a:ext cx="22875" cy="19350"/>
            </a:xfrm>
            <a:custGeom>
              <a:avLst/>
              <a:gdLst/>
              <a:ahLst/>
              <a:cxnLst/>
              <a:rect l="l" t="t" r="r" b="b"/>
              <a:pathLst>
                <a:path w="915" h="774" extrusionOk="0">
                  <a:moveTo>
                    <a:pt x="255" y="209"/>
                  </a:moveTo>
                  <a:lnTo>
                    <a:pt x="257" y="212"/>
                  </a:lnTo>
                  <a:lnTo>
                    <a:pt x="257" y="212"/>
                  </a:lnTo>
                  <a:cubicBezTo>
                    <a:pt x="256" y="211"/>
                    <a:pt x="256" y="210"/>
                    <a:pt x="255" y="209"/>
                  </a:cubicBezTo>
                  <a:close/>
                  <a:moveTo>
                    <a:pt x="480" y="435"/>
                  </a:moveTo>
                  <a:cubicBezTo>
                    <a:pt x="480" y="435"/>
                    <a:pt x="481" y="436"/>
                    <a:pt x="481" y="436"/>
                  </a:cubicBezTo>
                  <a:lnTo>
                    <a:pt x="481" y="436"/>
                  </a:lnTo>
                  <a:cubicBezTo>
                    <a:pt x="481" y="436"/>
                    <a:pt x="480" y="435"/>
                    <a:pt x="480" y="435"/>
                  </a:cubicBezTo>
                  <a:close/>
                  <a:moveTo>
                    <a:pt x="83" y="1"/>
                  </a:moveTo>
                  <a:cubicBezTo>
                    <a:pt x="71" y="1"/>
                    <a:pt x="58" y="4"/>
                    <a:pt x="47" y="10"/>
                  </a:cubicBezTo>
                  <a:cubicBezTo>
                    <a:pt x="12" y="31"/>
                    <a:pt x="1" y="75"/>
                    <a:pt x="20" y="109"/>
                  </a:cubicBezTo>
                  <a:lnTo>
                    <a:pt x="19" y="110"/>
                  </a:lnTo>
                  <a:cubicBezTo>
                    <a:pt x="85" y="239"/>
                    <a:pt x="169" y="357"/>
                    <a:pt x="271" y="459"/>
                  </a:cubicBezTo>
                  <a:cubicBezTo>
                    <a:pt x="324" y="513"/>
                    <a:pt x="382" y="562"/>
                    <a:pt x="442" y="607"/>
                  </a:cubicBezTo>
                  <a:cubicBezTo>
                    <a:pt x="469" y="627"/>
                    <a:pt x="498" y="647"/>
                    <a:pt x="528" y="664"/>
                  </a:cubicBezTo>
                  <a:cubicBezTo>
                    <a:pt x="561" y="686"/>
                    <a:pt x="597" y="704"/>
                    <a:pt x="634" y="717"/>
                  </a:cubicBezTo>
                  <a:cubicBezTo>
                    <a:pt x="671" y="727"/>
                    <a:pt x="706" y="740"/>
                    <a:pt x="742" y="752"/>
                  </a:cubicBezTo>
                  <a:cubicBezTo>
                    <a:pt x="777" y="762"/>
                    <a:pt x="814" y="773"/>
                    <a:pt x="851" y="773"/>
                  </a:cubicBezTo>
                  <a:cubicBezTo>
                    <a:pt x="856" y="773"/>
                    <a:pt x="862" y="773"/>
                    <a:pt x="868" y="772"/>
                  </a:cubicBezTo>
                  <a:cubicBezTo>
                    <a:pt x="885" y="771"/>
                    <a:pt x="901" y="761"/>
                    <a:pt x="908" y="745"/>
                  </a:cubicBezTo>
                  <a:cubicBezTo>
                    <a:pt x="915" y="729"/>
                    <a:pt x="911" y="710"/>
                    <a:pt x="899" y="697"/>
                  </a:cubicBezTo>
                  <a:cubicBezTo>
                    <a:pt x="846" y="653"/>
                    <a:pt x="776" y="633"/>
                    <a:pt x="718" y="594"/>
                  </a:cubicBezTo>
                  <a:cubicBezTo>
                    <a:pt x="716" y="592"/>
                    <a:pt x="712" y="589"/>
                    <a:pt x="710" y="587"/>
                  </a:cubicBezTo>
                  <a:cubicBezTo>
                    <a:pt x="701" y="579"/>
                    <a:pt x="692" y="572"/>
                    <a:pt x="681" y="565"/>
                  </a:cubicBezTo>
                  <a:cubicBezTo>
                    <a:pt x="665" y="556"/>
                    <a:pt x="649" y="548"/>
                    <a:pt x="634" y="539"/>
                  </a:cubicBezTo>
                  <a:cubicBezTo>
                    <a:pt x="605" y="521"/>
                    <a:pt x="576" y="503"/>
                    <a:pt x="548" y="485"/>
                  </a:cubicBezTo>
                  <a:cubicBezTo>
                    <a:pt x="535" y="475"/>
                    <a:pt x="521" y="466"/>
                    <a:pt x="507" y="456"/>
                  </a:cubicBezTo>
                  <a:lnTo>
                    <a:pt x="488" y="442"/>
                  </a:lnTo>
                  <a:cubicBezTo>
                    <a:pt x="486" y="440"/>
                    <a:pt x="483" y="438"/>
                    <a:pt x="481" y="436"/>
                  </a:cubicBezTo>
                  <a:lnTo>
                    <a:pt x="481" y="436"/>
                  </a:lnTo>
                  <a:cubicBezTo>
                    <a:pt x="485" y="440"/>
                    <a:pt x="487" y="442"/>
                    <a:pt x="487" y="442"/>
                  </a:cubicBezTo>
                  <a:cubicBezTo>
                    <a:pt x="487" y="442"/>
                    <a:pt x="480" y="436"/>
                    <a:pt x="477" y="434"/>
                  </a:cubicBezTo>
                  <a:cubicBezTo>
                    <a:pt x="451" y="413"/>
                    <a:pt x="424" y="390"/>
                    <a:pt x="399" y="367"/>
                  </a:cubicBezTo>
                  <a:cubicBezTo>
                    <a:pt x="350" y="321"/>
                    <a:pt x="304" y="272"/>
                    <a:pt x="262" y="219"/>
                  </a:cubicBezTo>
                  <a:cubicBezTo>
                    <a:pt x="261" y="217"/>
                    <a:pt x="259" y="215"/>
                    <a:pt x="258" y="213"/>
                  </a:cubicBezTo>
                  <a:lnTo>
                    <a:pt x="258" y="213"/>
                  </a:lnTo>
                  <a:lnTo>
                    <a:pt x="259" y="214"/>
                  </a:lnTo>
                  <a:lnTo>
                    <a:pt x="257" y="212"/>
                  </a:lnTo>
                  <a:lnTo>
                    <a:pt x="257" y="212"/>
                  </a:lnTo>
                  <a:cubicBezTo>
                    <a:pt x="257" y="212"/>
                    <a:pt x="258" y="213"/>
                    <a:pt x="258" y="213"/>
                  </a:cubicBezTo>
                  <a:lnTo>
                    <a:pt x="258" y="213"/>
                  </a:lnTo>
                  <a:lnTo>
                    <a:pt x="253" y="207"/>
                  </a:lnTo>
                  <a:lnTo>
                    <a:pt x="237" y="185"/>
                  </a:lnTo>
                  <a:cubicBezTo>
                    <a:pt x="225" y="169"/>
                    <a:pt x="214" y="152"/>
                    <a:pt x="203" y="136"/>
                  </a:cubicBezTo>
                  <a:cubicBezTo>
                    <a:pt x="183" y="103"/>
                    <a:pt x="163" y="70"/>
                    <a:pt x="146" y="37"/>
                  </a:cubicBezTo>
                  <a:cubicBezTo>
                    <a:pt x="132" y="14"/>
                    <a:pt x="108" y="1"/>
                    <a:pt x="8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92" name="Google Shape;692;p52"/>
            <p:cNvSpPr/>
            <p:nvPr/>
          </p:nvSpPr>
          <p:spPr>
            <a:xfrm flipH="1">
              <a:off x="5047915" y="3138546"/>
              <a:ext cx="15725" cy="6300"/>
            </a:xfrm>
            <a:custGeom>
              <a:avLst/>
              <a:gdLst/>
              <a:ahLst/>
              <a:cxnLst/>
              <a:rect l="l" t="t" r="r" b="b"/>
              <a:pathLst>
                <a:path w="629" h="252" extrusionOk="0">
                  <a:moveTo>
                    <a:pt x="100" y="1"/>
                  </a:moveTo>
                  <a:cubicBezTo>
                    <a:pt x="25" y="1"/>
                    <a:pt x="0" y="118"/>
                    <a:pt x="84" y="140"/>
                  </a:cubicBezTo>
                  <a:lnTo>
                    <a:pt x="283" y="195"/>
                  </a:lnTo>
                  <a:cubicBezTo>
                    <a:pt x="317" y="204"/>
                    <a:pt x="351" y="213"/>
                    <a:pt x="385" y="224"/>
                  </a:cubicBezTo>
                  <a:cubicBezTo>
                    <a:pt x="406" y="229"/>
                    <a:pt x="426" y="234"/>
                    <a:pt x="446" y="235"/>
                  </a:cubicBezTo>
                  <a:lnTo>
                    <a:pt x="457" y="235"/>
                  </a:lnTo>
                  <a:cubicBezTo>
                    <a:pt x="458" y="235"/>
                    <a:pt x="459" y="235"/>
                    <a:pt x="460" y="235"/>
                  </a:cubicBezTo>
                  <a:lnTo>
                    <a:pt x="460" y="235"/>
                  </a:lnTo>
                  <a:cubicBezTo>
                    <a:pt x="460" y="235"/>
                    <a:pt x="460" y="235"/>
                    <a:pt x="460" y="235"/>
                  </a:cubicBezTo>
                  <a:lnTo>
                    <a:pt x="489" y="240"/>
                  </a:lnTo>
                  <a:cubicBezTo>
                    <a:pt x="510" y="244"/>
                    <a:pt x="537" y="251"/>
                    <a:pt x="562" y="251"/>
                  </a:cubicBezTo>
                  <a:cubicBezTo>
                    <a:pt x="584" y="251"/>
                    <a:pt x="604" y="245"/>
                    <a:pt x="617" y="225"/>
                  </a:cubicBezTo>
                  <a:cubicBezTo>
                    <a:pt x="628" y="204"/>
                    <a:pt x="625" y="178"/>
                    <a:pt x="608" y="160"/>
                  </a:cubicBezTo>
                  <a:cubicBezTo>
                    <a:pt x="593" y="144"/>
                    <a:pt x="568" y="139"/>
                    <a:pt x="549" y="130"/>
                  </a:cubicBezTo>
                  <a:lnTo>
                    <a:pt x="502" y="113"/>
                  </a:lnTo>
                  <a:cubicBezTo>
                    <a:pt x="501" y="113"/>
                    <a:pt x="498" y="112"/>
                    <a:pt x="495" y="110"/>
                  </a:cubicBezTo>
                  <a:lnTo>
                    <a:pt x="495" y="110"/>
                  </a:lnTo>
                  <a:cubicBezTo>
                    <a:pt x="495" y="110"/>
                    <a:pt x="488" y="106"/>
                    <a:pt x="489" y="106"/>
                  </a:cubicBezTo>
                  <a:cubicBezTo>
                    <a:pt x="477" y="101"/>
                    <a:pt x="465" y="95"/>
                    <a:pt x="452" y="91"/>
                  </a:cubicBezTo>
                  <a:cubicBezTo>
                    <a:pt x="418" y="81"/>
                    <a:pt x="383" y="73"/>
                    <a:pt x="349" y="64"/>
                  </a:cubicBezTo>
                  <a:lnTo>
                    <a:pt x="122" y="4"/>
                  </a:lnTo>
                  <a:cubicBezTo>
                    <a:pt x="114" y="2"/>
                    <a:pt x="107" y="1"/>
                    <a:pt x="10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93" name="Google Shape;693;p52"/>
            <p:cNvSpPr/>
            <p:nvPr/>
          </p:nvSpPr>
          <p:spPr>
            <a:xfrm flipH="1">
              <a:off x="4879390" y="2986796"/>
              <a:ext cx="19100" cy="10800"/>
            </a:xfrm>
            <a:custGeom>
              <a:avLst/>
              <a:gdLst/>
              <a:ahLst/>
              <a:cxnLst/>
              <a:rect l="l" t="t" r="r" b="b"/>
              <a:pathLst>
                <a:path w="764" h="432" extrusionOk="0">
                  <a:moveTo>
                    <a:pt x="693" y="0"/>
                  </a:moveTo>
                  <a:cubicBezTo>
                    <a:pt x="688" y="0"/>
                    <a:pt x="683" y="1"/>
                    <a:pt x="677" y="2"/>
                  </a:cubicBezTo>
                  <a:cubicBezTo>
                    <a:pt x="663" y="6"/>
                    <a:pt x="650" y="8"/>
                    <a:pt x="637" y="12"/>
                  </a:cubicBezTo>
                  <a:cubicBezTo>
                    <a:pt x="619" y="17"/>
                    <a:pt x="601" y="24"/>
                    <a:pt x="585" y="32"/>
                  </a:cubicBezTo>
                  <a:lnTo>
                    <a:pt x="507" y="69"/>
                  </a:lnTo>
                  <a:cubicBezTo>
                    <a:pt x="455" y="92"/>
                    <a:pt x="404" y="119"/>
                    <a:pt x="354" y="144"/>
                  </a:cubicBezTo>
                  <a:lnTo>
                    <a:pt x="46" y="298"/>
                  </a:lnTo>
                  <a:cubicBezTo>
                    <a:pt x="12" y="319"/>
                    <a:pt x="0" y="363"/>
                    <a:pt x="21" y="396"/>
                  </a:cubicBezTo>
                  <a:cubicBezTo>
                    <a:pt x="35" y="419"/>
                    <a:pt x="59" y="431"/>
                    <a:pt x="84" y="431"/>
                  </a:cubicBezTo>
                  <a:cubicBezTo>
                    <a:pt x="96" y="431"/>
                    <a:pt x="108" y="429"/>
                    <a:pt x="119" y="423"/>
                  </a:cubicBezTo>
                  <a:lnTo>
                    <a:pt x="431" y="276"/>
                  </a:lnTo>
                  <a:cubicBezTo>
                    <a:pt x="483" y="252"/>
                    <a:pt x="535" y="228"/>
                    <a:pt x="586" y="203"/>
                  </a:cubicBezTo>
                  <a:lnTo>
                    <a:pt x="660" y="166"/>
                  </a:lnTo>
                  <a:cubicBezTo>
                    <a:pt x="688" y="150"/>
                    <a:pt x="715" y="130"/>
                    <a:pt x="739" y="108"/>
                  </a:cubicBezTo>
                  <a:cubicBezTo>
                    <a:pt x="760" y="88"/>
                    <a:pt x="764" y="57"/>
                    <a:pt x="750" y="31"/>
                  </a:cubicBezTo>
                  <a:cubicBezTo>
                    <a:pt x="738" y="12"/>
                    <a:pt x="716" y="0"/>
                    <a:pt x="69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94" name="Google Shape;694;p52"/>
            <p:cNvSpPr/>
            <p:nvPr/>
          </p:nvSpPr>
          <p:spPr>
            <a:xfrm flipH="1">
              <a:off x="4896790" y="2985671"/>
              <a:ext cx="18125" cy="7450"/>
            </a:xfrm>
            <a:custGeom>
              <a:avLst/>
              <a:gdLst/>
              <a:ahLst/>
              <a:cxnLst/>
              <a:rect l="l" t="t" r="r" b="b"/>
              <a:pathLst>
                <a:path w="725" h="298" extrusionOk="0">
                  <a:moveTo>
                    <a:pt x="675" y="0"/>
                  </a:moveTo>
                  <a:cubicBezTo>
                    <a:pt x="674" y="0"/>
                    <a:pt x="674" y="0"/>
                    <a:pt x="674" y="0"/>
                  </a:cubicBezTo>
                  <a:cubicBezTo>
                    <a:pt x="618" y="1"/>
                    <a:pt x="563" y="15"/>
                    <a:pt x="509" y="28"/>
                  </a:cubicBezTo>
                  <a:cubicBezTo>
                    <a:pt x="454" y="41"/>
                    <a:pt x="403" y="53"/>
                    <a:pt x="350" y="70"/>
                  </a:cubicBezTo>
                  <a:cubicBezTo>
                    <a:pt x="244" y="105"/>
                    <a:pt x="139" y="145"/>
                    <a:pt x="37" y="189"/>
                  </a:cubicBezTo>
                  <a:cubicBezTo>
                    <a:pt x="8" y="202"/>
                    <a:pt x="0" y="244"/>
                    <a:pt x="15" y="268"/>
                  </a:cubicBezTo>
                  <a:cubicBezTo>
                    <a:pt x="27" y="287"/>
                    <a:pt x="46" y="297"/>
                    <a:pt x="66" y="297"/>
                  </a:cubicBezTo>
                  <a:cubicBezTo>
                    <a:pt x="76" y="297"/>
                    <a:pt x="86" y="295"/>
                    <a:pt x="96" y="289"/>
                  </a:cubicBezTo>
                  <a:cubicBezTo>
                    <a:pt x="188" y="248"/>
                    <a:pt x="287" y="210"/>
                    <a:pt x="387" y="176"/>
                  </a:cubicBezTo>
                  <a:cubicBezTo>
                    <a:pt x="436" y="159"/>
                    <a:pt x="486" y="141"/>
                    <a:pt x="535" y="123"/>
                  </a:cubicBezTo>
                  <a:cubicBezTo>
                    <a:pt x="588" y="108"/>
                    <a:pt x="641" y="90"/>
                    <a:pt x="692" y="68"/>
                  </a:cubicBezTo>
                  <a:cubicBezTo>
                    <a:pt x="725" y="52"/>
                    <a:pt x="708" y="0"/>
                    <a:pt x="67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95" name="Google Shape;695;p52"/>
            <p:cNvSpPr/>
            <p:nvPr/>
          </p:nvSpPr>
          <p:spPr>
            <a:xfrm flipH="1">
              <a:off x="4890815" y="3231771"/>
              <a:ext cx="14875" cy="6650"/>
            </a:xfrm>
            <a:custGeom>
              <a:avLst/>
              <a:gdLst/>
              <a:ahLst/>
              <a:cxnLst/>
              <a:rect l="l" t="t" r="r" b="b"/>
              <a:pathLst>
                <a:path w="595" h="266" extrusionOk="0">
                  <a:moveTo>
                    <a:pt x="67" y="0"/>
                  </a:moveTo>
                  <a:cubicBezTo>
                    <a:pt x="41" y="0"/>
                    <a:pt x="16" y="18"/>
                    <a:pt x="9" y="45"/>
                  </a:cubicBezTo>
                  <a:cubicBezTo>
                    <a:pt x="1" y="77"/>
                    <a:pt x="20" y="111"/>
                    <a:pt x="52" y="120"/>
                  </a:cubicBezTo>
                  <a:lnTo>
                    <a:pt x="51" y="120"/>
                  </a:lnTo>
                  <a:lnTo>
                    <a:pt x="293" y="200"/>
                  </a:lnTo>
                  <a:cubicBezTo>
                    <a:pt x="332" y="214"/>
                    <a:pt x="372" y="226"/>
                    <a:pt x="413" y="237"/>
                  </a:cubicBezTo>
                  <a:lnTo>
                    <a:pt x="471" y="256"/>
                  </a:lnTo>
                  <a:cubicBezTo>
                    <a:pt x="494" y="263"/>
                    <a:pt x="519" y="266"/>
                    <a:pt x="544" y="266"/>
                  </a:cubicBezTo>
                  <a:cubicBezTo>
                    <a:pt x="565" y="266"/>
                    <a:pt x="583" y="252"/>
                    <a:pt x="590" y="231"/>
                  </a:cubicBezTo>
                  <a:cubicBezTo>
                    <a:pt x="595" y="211"/>
                    <a:pt x="585" y="190"/>
                    <a:pt x="568" y="179"/>
                  </a:cubicBezTo>
                  <a:cubicBezTo>
                    <a:pt x="560" y="172"/>
                    <a:pt x="551" y="166"/>
                    <a:pt x="542" y="160"/>
                  </a:cubicBezTo>
                  <a:cubicBezTo>
                    <a:pt x="530" y="155"/>
                    <a:pt x="517" y="150"/>
                    <a:pt x="505" y="146"/>
                  </a:cubicBezTo>
                  <a:lnTo>
                    <a:pt x="447" y="126"/>
                  </a:lnTo>
                  <a:cubicBezTo>
                    <a:pt x="407" y="111"/>
                    <a:pt x="367" y="96"/>
                    <a:pt x="325" y="82"/>
                  </a:cubicBezTo>
                  <a:lnTo>
                    <a:pt x="83" y="2"/>
                  </a:lnTo>
                  <a:cubicBezTo>
                    <a:pt x="78" y="1"/>
                    <a:pt x="73" y="0"/>
                    <a:pt x="6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5">
  <p:cSld name="CUSTOM_2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7" name="Google Shape;697;p53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98" name="Google Shape;698;p53"/>
          <p:cNvSpPr txBox="1">
            <a:spLocks noGrp="1"/>
          </p:cNvSpPr>
          <p:nvPr>
            <p:ph type="ctrTitle" idx="2"/>
          </p:nvPr>
        </p:nvSpPr>
        <p:spPr>
          <a:xfrm>
            <a:off x="1629517" y="4346871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699" name="Google Shape;699;p53"/>
          <p:cNvSpPr txBox="1">
            <a:spLocks noGrp="1"/>
          </p:cNvSpPr>
          <p:nvPr>
            <p:ph type="subTitle" idx="1"/>
          </p:nvPr>
        </p:nvSpPr>
        <p:spPr>
          <a:xfrm>
            <a:off x="1629551" y="4785592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0" name="Google Shape;700;p53"/>
          <p:cNvSpPr txBox="1">
            <a:spLocks noGrp="1"/>
          </p:cNvSpPr>
          <p:nvPr>
            <p:ph type="ctrTitle" idx="3"/>
          </p:nvPr>
        </p:nvSpPr>
        <p:spPr>
          <a:xfrm>
            <a:off x="4824913" y="4343400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701" name="Google Shape;701;p53"/>
          <p:cNvSpPr txBox="1">
            <a:spLocks noGrp="1"/>
          </p:cNvSpPr>
          <p:nvPr>
            <p:ph type="subTitle" idx="4"/>
          </p:nvPr>
        </p:nvSpPr>
        <p:spPr>
          <a:xfrm>
            <a:off x="4824932" y="47770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2" name="Google Shape;702;p53"/>
          <p:cNvSpPr txBox="1">
            <a:spLocks noGrp="1"/>
          </p:cNvSpPr>
          <p:nvPr>
            <p:ph type="ctrTitle" idx="5"/>
          </p:nvPr>
        </p:nvSpPr>
        <p:spPr>
          <a:xfrm>
            <a:off x="8020311" y="4343425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703" name="Google Shape;703;p53"/>
          <p:cNvSpPr txBox="1">
            <a:spLocks noGrp="1"/>
          </p:cNvSpPr>
          <p:nvPr>
            <p:ph type="subTitle" idx="6"/>
          </p:nvPr>
        </p:nvSpPr>
        <p:spPr>
          <a:xfrm>
            <a:off x="8020484" y="47770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12">
    <p:spTree>
      <p:nvGrpSpPr>
        <p:cNvPr id="1" name="Shape 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5" name="Google Shape;705;p54"/>
          <p:cNvSpPr txBox="1">
            <a:spLocks noGrp="1"/>
          </p:cNvSpPr>
          <p:nvPr>
            <p:ph type="ctrTitle"/>
          </p:nvPr>
        </p:nvSpPr>
        <p:spPr>
          <a:xfrm flipH="1">
            <a:off x="2582300" y="720000"/>
            <a:ext cx="4092000" cy="1354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8000"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endParaRPr/>
          </a:p>
        </p:txBody>
      </p:sp>
      <p:sp>
        <p:nvSpPr>
          <p:cNvPr id="706" name="Google Shape;706;p54"/>
          <p:cNvSpPr txBox="1">
            <a:spLocks noGrp="1"/>
          </p:cNvSpPr>
          <p:nvPr>
            <p:ph type="subTitle" idx="1"/>
          </p:nvPr>
        </p:nvSpPr>
        <p:spPr>
          <a:xfrm flipH="1">
            <a:off x="2582300" y="2529771"/>
            <a:ext cx="4092000" cy="1354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707" name="Google Shape;707;p54"/>
          <p:cNvSpPr txBox="1"/>
          <p:nvPr/>
        </p:nvSpPr>
        <p:spPr>
          <a:xfrm flipH="1">
            <a:off x="2582300" y="4716475"/>
            <a:ext cx="3100000" cy="10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rPr>
              <a:t>CREDITS: This presentation template was created by </a:t>
            </a:r>
            <a:r>
              <a:rPr lang="en" sz="1600">
                <a:solidFill>
                  <a:schemeClr val="accent4"/>
                </a:solidFill>
                <a:uFill>
                  <a:noFill/>
                </a:uFill>
                <a:latin typeface="Josefin Slab SemiBold"/>
                <a:ea typeface="Josefin Slab SemiBold"/>
                <a:cs typeface="Josefin Slab SemiBold"/>
                <a:sym typeface="Josefin Slab SemiBold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600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rPr>
              <a:t>, including icons by </a:t>
            </a:r>
            <a:r>
              <a:rPr lang="en" sz="1600">
                <a:solidFill>
                  <a:schemeClr val="accent4"/>
                </a:solidFill>
                <a:uFill>
                  <a:noFill/>
                </a:uFill>
                <a:latin typeface="Josefin Slab SemiBold"/>
                <a:ea typeface="Josefin Slab SemiBold"/>
                <a:cs typeface="Josefin Slab SemiBold"/>
                <a:sym typeface="Josefin Slab SemiBold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600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rPr>
              <a:t>, and infographics &amp; images by </a:t>
            </a:r>
            <a:r>
              <a:rPr lang="en" sz="1600">
                <a:solidFill>
                  <a:schemeClr val="accent4"/>
                </a:solidFill>
                <a:uFill>
                  <a:noFill/>
                </a:uFill>
                <a:latin typeface="Josefin Slab SemiBold"/>
                <a:ea typeface="Josefin Slab SemiBold"/>
                <a:cs typeface="Josefin Slab SemiBold"/>
                <a:sym typeface="Josefin Slab SemiBold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r>
              <a:rPr lang="en" sz="1600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rPr>
              <a:t>. </a:t>
            </a:r>
            <a:endParaRPr sz="1600">
              <a:solidFill>
                <a:schemeClr val="accent4"/>
              </a:solidFill>
              <a:latin typeface="Josefin Slab"/>
              <a:ea typeface="Josefin Slab"/>
              <a:cs typeface="Josefin Slab"/>
              <a:sym typeface="Josefin Slab"/>
            </a:endParaRPr>
          </a:p>
        </p:txBody>
      </p:sp>
    </p:spTree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4">
  <p:cSld name="CUSTOM_13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" name="Google Shape;709;p55"/>
          <p:cNvSpPr txBox="1">
            <a:spLocks noGrp="1"/>
          </p:cNvSpPr>
          <p:nvPr>
            <p:ph type="ctrTitle"/>
          </p:nvPr>
        </p:nvSpPr>
        <p:spPr>
          <a:xfrm flipH="1">
            <a:off x="7762367" y="720000"/>
            <a:ext cx="3478400" cy="19720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710" name="Google Shape;710;p55"/>
          <p:cNvSpPr txBox="1">
            <a:spLocks noGrp="1"/>
          </p:cNvSpPr>
          <p:nvPr>
            <p:ph type="body" idx="1"/>
          </p:nvPr>
        </p:nvSpPr>
        <p:spPr>
          <a:xfrm>
            <a:off x="960000" y="720000"/>
            <a:ext cx="6545600" cy="537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7252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FFB7"/>
              </a:buClr>
              <a:buSzPts val="800"/>
              <a:buFont typeface="Nunito Light"/>
              <a:buChar char="⎯"/>
              <a:defRPr sz="1867">
                <a:latin typeface="Josefin Slab"/>
                <a:ea typeface="Josefin Slab"/>
                <a:cs typeface="Josefin Slab"/>
                <a:sym typeface="Josefin Slab"/>
              </a:defRPr>
            </a:lvl1pPr>
            <a:lvl2pPr marL="1219170" lvl="1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FFC800"/>
              </a:buClr>
              <a:buSzPts val="1400"/>
              <a:buFont typeface="Nunito Light"/>
              <a:buChar char="◂"/>
              <a:defRPr>
                <a:latin typeface="Josefin Slab"/>
                <a:ea typeface="Josefin Slab"/>
                <a:cs typeface="Josefin Slab"/>
                <a:sym typeface="Josefin Slab"/>
              </a:defRPr>
            </a:lvl2pPr>
            <a:lvl3pPr marL="1828754" lvl="2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FFC800"/>
              </a:buClr>
              <a:buSzPts val="1400"/>
              <a:buFont typeface="Nunito Light"/>
              <a:buChar char="◂"/>
              <a:defRPr>
                <a:latin typeface="Josefin Slab"/>
                <a:ea typeface="Josefin Slab"/>
                <a:cs typeface="Josefin Slab"/>
                <a:sym typeface="Josefin Slab"/>
              </a:defRPr>
            </a:lvl3pPr>
            <a:lvl4pPr marL="2438339" lvl="3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FFC800"/>
              </a:buClr>
              <a:buSzPts val="1400"/>
              <a:buFont typeface="Nunito Light"/>
              <a:buChar char="◂"/>
              <a:defRPr>
                <a:latin typeface="Josefin Slab"/>
                <a:ea typeface="Josefin Slab"/>
                <a:cs typeface="Josefin Slab"/>
                <a:sym typeface="Josefin Slab"/>
              </a:defRPr>
            </a:lvl4pPr>
            <a:lvl5pPr marL="3047924" lvl="4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Nunito Light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5pPr>
            <a:lvl6pPr marL="3657509" lvl="5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Nunito Light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6pPr>
            <a:lvl7pPr marL="4267093" lvl="6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Nunito Light"/>
              <a:buChar char="●"/>
              <a:defRPr>
                <a:latin typeface="Josefin Slab"/>
                <a:ea typeface="Josefin Slab"/>
                <a:cs typeface="Josefin Slab"/>
                <a:sym typeface="Josefin Slab"/>
              </a:defRPr>
            </a:lvl7pPr>
            <a:lvl8pPr marL="4876678" lvl="7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Nunito Light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8pPr>
            <a:lvl9pPr marL="5486263" lvl="8" indent="-423323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Clr>
                <a:srgbClr val="434343"/>
              </a:buClr>
              <a:buSzPts val="1400"/>
              <a:buFont typeface="Nunito Light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5">
  <p:cSld name="CUSTOM_13_1">
    <p:spTree>
      <p:nvGrpSpPr>
        <p:cNvPr id="1" name="Shape 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2" name="Google Shape;712;p56"/>
          <p:cNvSpPr txBox="1">
            <a:spLocks noGrp="1"/>
          </p:cNvSpPr>
          <p:nvPr>
            <p:ph type="ctrTitle"/>
          </p:nvPr>
        </p:nvSpPr>
        <p:spPr>
          <a:xfrm>
            <a:off x="960000" y="720000"/>
            <a:ext cx="34784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713" name="Google Shape;713;p56"/>
          <p:cNvSpPr txBox="1">
            <a:spLocks noGrp="1"/>
          </p:cNvSpPr>
          <p:nvPr>
            <p:ph type="body" idx="1"/>
          </p:nvPr>
        </p:nvSpPr>
        <p:spPr>
          <a:xfrm flipH="1">
            <a:off x="6627967" y="720000"/>
            <a:ext cx="4612800" cy="537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Josefin Slab"/>
              <a:buChar char="●"/>
              <a:defRPr sz="1867">
                <a:latin typeface="Josefin Slab"/>
                <a:ea typeface="Josefin Slab"/>
                <a:cs typeface="Josefin Slab"/>
                <a:sym typeface="Josefin Slab"/>
              </a:defRPr>
            </a:lvl1pPr>
            <a:lvl2pPr marL="1219170" lvl="1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2pPr>
            <a:lvl3pPr marL="1828754" lvl="2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3pPr>
            <a:lvl4pPr marL="2438339" lvl="3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●"/>
              <a:defRPr>
                <a:latin typeface="Josefin Slab"/>
                <a:ea typeface="Josefin Slab"/>
                <a:cs typeface="Josefin Slab"/>
                <a:sym typeface="Josefin Slab"/>
              </a:defRPr>
            </a:lvl4pPr>
            <a:lvl5pPr marL="3047924" lvl="4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5pPr>
            <a:lvl6pPr marL="3657509" lvl="5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6pPr>
            <a:lvl7pPr marL="4267093" lvl="6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●"/>
              <a:defRPr>
                <a:latin typeface="Josefin Slab"/>
                <a:ea typeface="Josefin Slab"/>
                <a:cs typeface="Josefin Slab"/>
                <a:sym typeface="Josefin Slab"/>
              </a:defRPr>
            </a:lvl7pPr>
            <a:lvl8pPr marL="4876678" lvl="7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8pPr>
            <a:lvl9pPr marL="5486263" lvl="8" indent="-423323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Font typeface="Josefin Slab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714" name="Google Shape;714;p56"/>
          <p:cNvSpPr txBox="1">
            <a:spLocks noGrp="1"/>
          </p:cNvSpPr>
          <p:nvPr>
            <p:ph type="subTitle" idx="2"/>
          </p:nvPr>
        </p:nvSpPr>
        <p:spPr>
          <a:xfrm flipH="1">
            <a:off x="967467" y="2073733"/>
            <a:ext cx="3345600" cy="111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6">
  <p:cSld name="CUSTOM_13_1_1">
    <p:spTree>
      <p:nvGrpSpPr>
        <p:cNvPr id="1" name="Shape 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" name="Google Shape;716;p57"/>
          <p:cNvSpPr txBox="1">
            <a:spLocks noGrp="1"/>
          </p:cNvSpPr>
          <p:nvPr>
            <p:ph type="ctrTitle"/>
          </p:nvPr>
        </p:nvSpPr>
        <p:spPr>
          <a:xfrm flipH="1">
            <a:off x="7762367" y="720000"/>
            <a:ext cx="34784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717" name="Google Shape;717;p57"/>
          <p:cNvSpPr txBox="1">
            <a:spLocks noGrp="1"/>
          </p:cNvSpPr>
          <p:nvPr>
            <p:ph type="body" idx="1"/>
          </p:nvPr>
        </p:nvSpPr>
        <p:spPr>
          <a:xfrm>
            <a:off x="960000" y="720000"/>
            <a:ext cx="6545600" cy="537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7252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FFB7"/>
              </a:buClr>
              <a:buSzPts val="800"/>
              <a:buFont typeface="Nunito Light"/>
              <a:buChar char="⎯"/>
              <a:defRPr sz="1867">
                <a:latin typeface="Josefin Slab"/>
                <a:ea typeface="Josefin Slab"/>
                <a:cs typeface="Josefin Slab"/>
                <a:sym typeface="Josefin Slab"/>
              </a:defRPr>
            </a:lvl1pPr>
            <a:lvl2pPr marL="1219170" lvl="1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FFC800"/>
              </a:buClr>
              <a:buSzPts val="1400"/>
              <a:buFont typeface="Nunito Light"/>
              <a:buChar char="◂"/>
              <a:defRPr>
                <a:latin typeface="Josefin Slab"/>
                <a:ea typeface="Josefin Slab"/>
                <a:cs typeface="Josefin Slab"/>
                <a:sym typeface="Josefin Slab"/>
              </a:defRPr>
            </a:lvl2pPr>
            <a:lvl3pPr marL="1828754" lvl="2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FFC800"/>
              </a:buClr>
              <a:buSzPts val="1400"/>
              <a:buFont typeface="Nunito Light"/>
              <a:buChar char="◂"/>
              <a:defRPr>
                <a:latin typeface="Josefin Slab"/>
                <a:ea typeface="Josefin Slab"/>
                <a:cs typeface="Josefin Slab"/>
                <a:sym typeface="Josefin Slab"/>
              </a:defRPr>
            </a:lvl3pPr>
            <a:lvl4pPr marL="2438339" lvl="3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FFC800"/>
              </a:buClr>
              <a:buSzPts val="1400"/>
              <a:buFont typeface="Nunito Light"/>
              <a:buChar char="◂"/>
              <a:defRPr>
                <a:latin typeface="Josefin Slab"/>
                <a:ea typeface="Josefin Slab"/>
                <a:cs typeface="Josefin Slab"/>
                <a:sym typeface="Josefin Slab"/>
              </a:defRPr>
            </a:lvl4pPr>
            <a:lvl5pPr marL="3047924" lvl="4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Nunito Light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5pPr>
            <a:lvl6pPr marL="3657509" lvl="5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Nunito Light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6pPr>
            <a:lvl7pPr marL="4267093" lvl="6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Nunito Light"/>
              <a:buChar char="●"/>
              <a:defRPr>
                <a:latin typeface="Josefin Slab"/>
                <a:ea typeface="Josefin Slab"/>
                <a:cs typeface="Josefin Slab"/>
                <a:sym typeface="Josefin Slab"/>
              </a:defRPr>
            </a:lvl7pPr>
            <a:lvl8pPr marL="4876678" lvl="7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Nunito Light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8pPr>
            <a:lvl9pPr marL="5486263" lvl="8" indent="-423323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Clr>
                <a:srgbClr val="434343"/>
              </a:buClr>
              <a:buSzPts val="1400"/>
              <a:buFont typeface="Nunito Light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718" name="Google Shape;718;p57"/>
          <p:cNvSpPr txBox="1">
            <a:spLocks noGrp="1"/>
          </p:cNvSpPr>
          <p:nvPr>
            <p:ph type="subTitle" idx="2"/>
          </p:nvPr>
        </p:nvSpPr>
        <p:spPr>
          <a:xfrm>
            <a:off x="7887700" y="1490400"/>
            <a:ext cx="3345600" cy="111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7">
  <p:cSld name="CUSTOM_13_1_1_1">
    <p:spTree>
      <p:nvGrpSpPr>
        <p:cNvPr id="1" name="Shape 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0" name="Google Shape;720;p58"/>
          <p:cNvSpPr txBox="1">
            <a:spLocks noGrp="1"/>
          </p:cNvSpPr>
          <p:nvPr>
            <p:ph type="ctrTitle"/>
          </p:nvPr>
        </p:nvSpPr>
        <p:spPr>
          <a:xfrm>
            <a:off x="960000" y="720000"/>
            <a:ext cx="34784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721" name="Google Shape;721;p58"/>
          <p:cNvSpPr txBox="1">
            <a:spLocks noGrp="1"/>
          </p:cNvSpPr>
          <p:nvPr>
            <p:ph type="body" idx="1"/>
          </p:nvPr>
        </p:nvSpPr>
        <p:spPr>
          <a:xfrm flipH="1">
            <a:off x="6627967" y="720000"/>
            <a:ext cx="4612800" cy="537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Josefin Slab"/>
              <a:buChar char="●"/>
              <a:defRPr sz="1867">
                <a:latin typeface="Josefin Slab"/>
                <a:ea typeface="Josefin Slab"/>
                <a:cs typeface="Josefin Slab"/>
                <a:sym typeface="Josefin Slab"/>
              </a:defRPr>
            </a:lvl1pPr>
            <a:lvl2pPr marL="1219170" lvl="1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2pPr>
            <a:lvl3pPr marL="1828754" lvl="2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3pPr>
            <a:lvl4pPr marL="2438339" lvl="3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●"/>
              <a:defRPr>
                <a:latin typeface="Josefin Slab"/>
                <a:ea typeface="Josefin Slab"/>
                <a:cs typeface="Josefin Slab"/>
                <a:sym typeface="Josefin Slab"/>
              </a:defRPr>
            </a:lvl4pPr>
            <a:lvl5pPr marL="3047924" lvl="4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5pPr>
            <a:lvl6pPr marL="3657509" lvl="5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6pPr>
            <a:lvl7pPr marL="4267093" lvl="6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●"/>
              <a:defRPr>
                <a:latin typeface="Josefin Slab"/>
                <a:ea typeface="Josefin Slab"/>
                <a:cs typeface="Josefin Slab"/>
                <a:sym typeface="Josefin Slab"/>
              </a:defRPr>
            </a:lvl7pPr>
            <a:lvl8pPr marL="4876678" lvl="7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8pPr>
            <a:lvl9pPr marL="5486263" lvl="8" indent="-423323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Font typeface="Josefin Slab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722" name="Google Shape;722;p58"/>
          <p:cNvSpPr txBox="1">
            <a:spLocks noGrp="1"/>
          </p:cNvSpPr>
          <p:nvPr>
            <p:ph type="subTitle" idx="2"/>
          </p:nvPr>
        </p:nvSpPr>
        <p:spPr>
          <a:xfrm flipH="1">
            <a:off x="967467" y="1490400"/>
            <a:ext cx="3345600" cy="111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461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32.xml"/><Relationship Id="rId299" Type="http://schemas.openxmlformats.org/officeDocument/2006/relationships/slideLayout" Target="../slideLayouts/slideLayout314.xml"/><Relationship Id="rId21" Type="http://schemas.openxmlformats.org/officeDocument/2006/relationships/slideLayout" Target="../slideLayouts/slideLayout36.xml"/><Relationship Id="rId63" Type="http://schemas.openxmlformats.org/officeDocument/2006/relationships/slideLayout" Target="../slideLayouts/slideLayout78.xml"/><Relationship Id="rId159" Type="http://schemas.openxmlformats.org/officeDocument/2006/relationships/slideLayout" Target="../slideLayouts/slideLayout174.xml"/><Relationship Id="rId324" Type="http://schemas.openxmlformats.org/officeDocument/2006/relationships/slideLayout" Target="../slideLayouts/slideLayout339.xml"/><Relationship Id="rId366" Type="http://schemas.openxmlformats.org/officeDocument/2006/relationships/slideLayout" Target="../slideLayouts/slideLayout381.xml"/><Relationship Id="rId170" Type="http://schemas.openxmlformats.org/officeDocument/2006/relationships/slideLayout" Target="../slideLayouts/slideLayout185.xml"/><Relationship Id="rId226" Type="http://schemas.openxmlformats.org/officeDocument/2006/relationships/slideLayout" Target="../slideLayouts/slideLayout241.xml"/><Relationship Id="rId433" Type="http://schemas.openxmlformats.org/officeDocument/2006/relationships/slideLayout" Target="../slideLayouts/slideLayout448.xml"/><Relationship Id="rId268" Type="http://schemas.openxmlformats.org/officeDocument/2006/relationships/slideLayout" Target="../slideLayouts/slideLayout283.xml"/><Relationship Id="rId475" Type="http://schemas.openxmlformats.org/officeDocument/2006/relationships/slideLayout" Target="../slideLayouts/slideLayout490.xml"/><Relationship Id="rId32" Type="http://schemas.openxmlformats.org/officeDocument/2006/relationships/slideLayout" Target="../slideLayouts/slideLayout47.xml"/><Relationship Id="rId74" Type="http://schemas.openxmlformats.org/officeDocument/2006/relationships/slideLayout" Target="../slideLayouts/slideLayout89.xml"/><Relationship Id="rId128" Type="http://schemas.openxmlformats.org/officeDocument/2006/relationships/slideLayout" Target="../slideLayouts/slideLayout143.xml"/><Relationship Id="rId335" Type="http://schemas.openxmlformats.org/officeDocument/2006/relationships/slideLayout" Target="../slideLayouts/slideLayout350.xml"/><Relationship Id="rId377" Type="http://schemas.openxmlformats.org/officeDocument/2006/relationships/slideLayout" Target="../slideLayouts/slideLayout392.xml"/><Relationship Id="rId5" Type="http://schemas.openxmlformats.org/officeDocument/2006/relationships/slideLayout" Target="../slideLayouts/slideLayout20.xml"/><Relationship Id="rId181" Type="http://schemas.openxmlformats.org/officeDocument/2006/relationships/slideLayout" Target="../slideLayouts/slideLayout196.xml"/><Relationship Id="rId237" Type="http://schemas.openxmlformats.org/officeDocument/2006/relationships/slideLayout" Target="../slideLayouts/slideLayout252.xml"/><Relationship Id="rId402" Type="http://schemas.openxmlformats.org/officeDocument/2006/relationships/slideLayout" Target="../slideLayouts/slideLayout417.xml"/><Relationship Id="rId279" Type="http://schemas.openxmlformats.org/officeDocument/2006/relationships/slideLayout" Target="../slideLayouts/slideLayout294.xml"/><Relationship Id="rId444" Type="http://schemas.openxmlformats.org/officeDocument/2006/relationships/slideLayout" Target="../slideLayouts/slideLayout459.xml"/><Relationship Id="rId486" Type="http://schemas.openxmlformats.org/officeDocument/2006/relationships/slideLayout" Target="../slideLayouts/slideLayout501.xml"/><Relationship Id="rId43" Type="http://schemas.openxmlformats.org/officeDocument/2006/relationships/slideLayout" Target="../slideLayouts/slideLayout58.xml"/><Relationship Id="rId139" Type="http://schemas.openxmlformats.org/officeDocument/2006/relationships/slideLayout" Target="../slideLayouts/slideLayout154.xml"/><Relationship Id="rId290" Type="http://schemas.openxmlformats.org/officeDocument/2006/relationships/slideLayout" Target="../slideLayouts/slideLayout305.xml"/><Relationship Id="rId304" Type="http://schemas.openxmlformats.org/officeDocument/2006/relationships/slideLayout" Target="../slideLayouts/slideLayout319.xml"/><Relationship Id="rId346" Type="http://schemas.openxmlformats.org/officeDocument/2006/relationships/slideLayout" Target="../slideLayouts/slideLayout361.xml"/><Relationship Id="rId388" Type="http://schemas.openxmlformats.org/officeDocument/2006/relationships/slideLayout" Target="../slideLayouts/slideLayout403.xml"/><Relationship Id="rId85" Type="http://schemas.openxmlformats.org/officeDocument/2006/relationships/slideLayout" Target="../slideLayouts/slideLayout100.xml"/><Relationship Id="rId150" Type="http://schemas.openxmlformats.org/officeDocument/2006/relationships/slideLayout" Target="../slideLayouts/slideLayout165.xml"/><Relationship Id="rId192" Type="http://schemas.openxmlformats.org/officeDocument/2006/relationships/slideLayout" Target="../slideLayouts/slideLayout207.xml"/><Relationship Id="rId206" Type="http://schemas.openxmlformats.org/officeDocument/2006/relationships/slideLayout" Target="../slideLayouts/slideLayout221.xml"/><Relationship Id="rId413" Type="http://schemas.openxmlformats.org/officeDocument/2006/relationships/slideLayout" Target="../slideLayouts/slideLayout428.xml"/><Relationship Id="rId248" Type="http://schemas.openxmlformats.org/officeDocument/2006/relationships/slideLayout" Target="../slideLayouts/slideLayout263.xml"/><Relationship Id="rId455" Type="http://schemas.openxmlformats.org/officeDocument/2006/relationships/slideLayout" Target="../slideLayouts/slideLayout470.xml"/><Relationship Id="rId497" Type="http://schemas.openxmlformats.org/officeDocument/2006/relationships/slideLayout" Target="../slideLayouts/slideLayout512.xml"/><Relationship Id="rId12" Type="http://schemas.openxmlformats.org/officeDocument/2006/relationships/slideLayout" Target="../slideLayouts/slideLayout27.xml"/><Relationship Id="rId108" Type="http://schemas.openxmlformats.org/officeDocument/2006/relationships/slideLayout" Target="../slideLayouts/slideLayout123.xml"/><Relationship Id="rId315" Type="http://schemas.openxmlformats.org/officeDocument/2006/relationships/slideLayout" Target="../slideLayouts/slideLayout330.xml"/><Relationship Id="rId357" Type="http://schemas.openxmlformats.org/officeDocument/2006/relationships/slideLayout" Target="../slideLayouts/slideLayout372.xml"/><Relationship Id="rId54" Type="http://schemas.openxmlformats.org/officeDocument/2006/relationships/slideLayout" Target="../slideLayouts/slideLayout69.xml"/><Relationship Id="rId96" Type="http://schemas.openxmlformats.org/officeDocument/2006/relationships/slideLayout" Target="../slideLayouts/slideLayout111.xml"/><Relationship Id="rId161" Type="http://schemas.openxmlformats.org/officeDocument/2006/relationships/slideLayout" Target="../slideLayouts/slideLayout176.xml"/><Relationship Id="rId217" Type="http://schemas.openxmlformats.org/officeDocument/2006/relationships/slideLayout" Target="../slideLayouts/slideLayout232.xml"/><Relationship Id="rId399" Type="http://schemas.openxmlformats.org/officeDocument/2006/relationships/slideLayout" Target="../slideLayouts/slideLayout414.xml"/><Relationship Id="rId259" Type="http://schemas.openxmlformats.org/officeDocument/2006/relationships/slideLayout" Target="../slideLayouts/slideLayout274.xml"/><Relationship Id="rId424" Type="http://schemas.openxmlformats.org/officeDocument/2006/relationships/slideLayout" Target="../slideLayouts/slideLayout439.xml"/><Relationship Id="rId466" Type="http://schemas.openxmlformats.org/officeDocument/2006/relationships/slideLayout" Target="../slideLayouts/slideLayout481.xml"/><Relationship Id="rId23" Type="http://schemas.openxmlformats.org/officeDocument/2006/relationships/slideLayout" Target="../slideLayouts/slideLayout38.xml"/><Relationship Id="rId119" Type="http://schemas.openxmlformats.org/officeDocument/2006/relationships/slideLayout" Target="../slideLayouts/slideLayout134.xml"/><Relationship Id="rId270" Type="http://schemas.openxmlformats.org/officeDocument/2006/relationships/slideLayout" Target="../slideLayouts/slideLayout285.xml"/><Relationship Id="rId326" Type="http://schemas.openxmlformats.org/officeDocument/2006/relationships/slideLayout" Target="../slideLayouts/slideLayout341.xml"/><Relationship Id="rId65" Type="http://schemas.openxmlformats.org/officeDocument/2006/relationships/slideLayout" Target="../slideLayouts/slideLayout80.xml"/><Relationship Id="rId130" Type="http://schemas.openxmlformats.org/officeDocument/2006/relationships/slideLayout" Target="../slideLayouts/slideLayout145.xml"/><Relationship Id="rId368" Type="http://schemas.openxmlformats.org/officeDocument/2006/relationships/slideLayout" Target="../slideLayouts/slideLayout383.xml"/><Relationship Id="rId172" Type="http://schemas.openxmlformats.org/officeDocument/2006/relationships/slideLayout" Target="../slideLayouts/slideLayout187.xml"/><Relationship Id="rId228" Type="http://schemas.openxmlformats.org/officeDocument/2006/relationships/slideLayout" Target="../slideLayouts/slideLayout243.xml"/><Relationship Id="rId435" Type="http://schemas.openxmlformats.org/officeDocument/2006/relationships/slideLayout" Target="../slideLayouts/slideLayout450.xml"/><Relationship Id="rId477" Type="http://schemas.openxmlformats.org/officeDocument/2006/relationships/slideLayout" Target="../slideLayouts/slideLayout492.xml"/><Relationship Id="rId281" Type="http://schemas.openxmlformats.org/officeDocument/2006/relationships/slideLayout" Target="../slideLayouts/slideLayout296.xml"/><Relationship Id="rId337" Type="http://schemas.openxmlformats.org/officeDocument/2006/relationships/slideLayout" Target="../slideLayouts/slideLayout352.xml"/><Relationship Id="rId34" Type="http://schemas.openxmlformats.org/officeDocument/2006/relationships/slideLayout" Target="../slideLayouts/slideLayout49.xml"/><Relationship Id="rId76" Type="http://schemas.openxmlformats.org/officeDocument/2006/relationships/slideLayout" Target="../slideLayouts/slideLayout91.xml"/><Relationship Id="rId141" Type="http://schemas.openxmlformats.org/officeDocument/2006/relationships/slideLayout" Target="../slideLayouts/slideLayout156.xml"/><Relationship Id="rId379" Type="http://schemas.openxmlformats.org/officeDocument/2006/relationships/slideLayout" Target="../slideLayouts/slideLayout394.xml"/><Relationship Id="rId7" Type="http://schemas.openxmlformats.org/officeDocument/2006/relationships/slideLayout" Target="../slideLayouts/slideLayout22.xml"/><Relationship Id="rId183" Type="http://schemas.openxmlformats.org/officeDocument/2006/relationships/slideLayout" Target="../slideLayouts/slideLayout198.xml"/><Relationship Id="rId239" Type="http://schemas.openxmlformats.org/officeDocument/2006/relationships/slideLayout" Target="../slideLayouts/slideLayout254.xml"/><Relationship Id="rId390" Type="http://schemas.openxmlformats.org/officeDocument/2006/relationships/slideLayout" Target="../slideLayouts/slideLayout405.xml"/><Relationship Id="rId404" Type="http://schemas.openxmlformats.org/officeDocument/2006/relationships/slideLayout" Target="../slideLayouts/slideLayout419.xml"/><Relationship Id="rId446" Type="http://schemas.openxmlformats.org/officeDocument/2006/relationships/slideLayout" Target="../slideLayouts/slideLayout461.xml"/><Relationship Id="rId250" Type="http://schemas.openxmlformats.org/officeDocument/2006/relationships/slideLayout" Target="../slideLayouts/slideLayout265.xml"/><Relationship Id="rId292" Type="http://schemas.openxmlformats.org/officeDocument/2006/relationships/slideLayout" Target="../slideLayouts/slideLayout307.xml"/><Relationship Id="rId306" Type="http://schemas.openxmlformats.org/officeDocument/2006/relationships/slideLayout" Target="../slideLayouts/slideLayout321.xml"/><Relationship Id="rId488" Type="http://schemas.openxmlformats.org/officeDocument/2006/relationships/slideLayout" Target="../slideLayouts/slideLayout503.xml"/><Relationship Id="rId45" Type="http://schemas.openxmlformats.org/officeDocument/2006/relationships/slideLayout" Target="../slideLayouts/slideLayout60.xml"/><Relationship Id="rId87" Type="http://schemas.openxmlformats.org/officeDocument/2006/relationships/slideLayout" Target="../slideLayouts/slideLayout102.xml"/><Relationship Id="rId110" Type="http://schemas.openxmlformats.org/officeDocument/2006/relationships/slideLayout" Target="../slideLayouts/slideLayout125.xml"/><Relationship Id="rId348" Type="http://schemas.openxmlformats.org/officeDocument/2006/relationships/slideLayout" Target="../slideLayouts/slideLayout363.xml"/><Relationship Id="rId152" Type="http://schemas.openxmlformats.org/officeDocument/2006/relationships/slideLayout" Target="../slideLayouts/slideLayout167.xml"/><Relationship Id="rId194" Type="http://schemas.openxmlformats.org/officeDocument/2006/relationships/slideLayout" Target="../slideLayouts/slideLayout209.xml"/><Relationship Id="rId208" Type="http://schemas.openxmlformats.org/officeDocument/2006/relationships/slideLayout" Target="../slideLayouts/slideLayout223.xml"/><Relationship Id="rId415" Type="http://schemas.openxmlformats.org/officeDocument/2006/relationships/slideLayout" Target="../slideLayouts/slideLayout430.xml"/><Relationship Id="rId457" Type="http://schemas.openxmlformats.org/officeDocument/2006/relationships/slideLayout" Target="../slideLayouts/slideLayout472.xml"/><Relationship Id="rId261" Type="http://schemas.openxmlformats.org/officeDocument/2006/relationships/slideLayout" Target="../slideLayouts/slideLayout276.xml"/><Relationship Id="rId14" Type="http://schemas.openxmlformats.org/officeDocument/2006/relationships/slideLayout" Target="../slideLayouts/slideLayout29.xml"/><Relationship Id="rId56" Type="http://schemas.openxmlformats.org/officeDocument/2006/relationships/slideLayout" Target="../slideLayouts/slideLayout71.xml"/><Relationship Id="rId317" Type="http://schemas.openxmlformats.org/officeDocument/2006/relationships/slideLayout" Target="../slideLayouts/slideLayout332.xml"/><Relationship Id="rId359" Type="http://schemas.openxmlformats.org/officeDocument/2006/relationships/slideLayout" Target="../slideLayouts/slideLayout374.xml"/><Relationship Id="rId98" Type="http://schemas.openxmlformats.org/officeDocument/2006/relationships/slideLayout" Target="../slideLayouts/slideLayout113.xml"/><Relationship Id="rId121" Type="http://schemas.openxmlformats.org/officeDocument/2006/relationships/slideLayout" Target="../slideLayouts/slideLayout136.xml"/><Relationship Id="rId163" Type="http://schemas.openxmlformats.org/officeDocument/2006/relationships/slideLayout" Target="../slideLayouts/slideLayout178.xml"/><Relationship Id="rId219" Type="http://schemas.openxmlformats.org/officeDocument/2006/relationships/slideLayout" Target="../slideLayouts/slideLayout234.xml"/><Relationship Id="rId370" Type="http://schemas.openxmlformats.org/officeDocument/2006/relationships/slideLayout" Target="../slideLayouts/slideLayout385.xml"/><Relationship Id="rId426" Type="http://schemas.openxmlformats.org/officeDocument/2006/relationships/slideLayout" Target="../slideLayouts/slideLayout441.xml"/><Relationship Id="rId230" Type="http://schemas.openxmlformats.org/officeDocument/2006/relationships/slideLayout" Target="../slideLayouts/slideLayout245.xml"/><Relationship Id="rId468" Type="http://schemas.openxmlformats.org/officeDocument/2006/relationships/slideLayout" Target="../slideLayouts/slideLayout483.xml"/><Relationship Id="rId25" Type="http://schemas.openxmlformats.org/officeDocument/2006/relationships/slideLayout" Target="../slideLayouts/slideLayout40.xml"/><Relationship Id="rId67" Type="http://schemas.openxmlformats.org/officeDocument/2006/relationships/slideLayout" Target="../slideLayouts/slideLayout82.xml"/><Relationship Id="rId272" Type="http://schemas.openxmlformats.org/officeDocument/2006/relationships/slideLayout" Target="../slideLayouts/slideLayout287.xml"/><Relationship Id="rId328" Type="http://schemas.openxmlformats.org/officeDocument/2006/relationships/slideLayout" Target="../slideLayouts/slideLayout343.xml"/><Relationship Id="rId132" Type="http://schemas.openxmlformats.org/officeDocument/2006/relationships/slideLayout" Target="../slideLayouts/slideLayout147.xml"/><Relationship Id="rId174" Type="http://schemas.openxmlformats.org/officeDocument/2006/relationships/slideLayout" Target="../slideLayouts/slideLayout189.xml"/><Relationship Id="rId381" Type="http://schemas.openxmlformats.org/officeDocument/2006/relationships/slideLayout" Target="../slideLayouts/slideLayout396.xml"/><Relationship Id="rId241" Type="http://schemas.openxmlformats.org/officeDocument/2006/relationships/slideLayout" Target="../slideLayouts/slideLayout256.xml"/><Relationship Id="rId437" Type="http://schemas.openxmlformats.org/officeDocument/2006/relationships/slideLayout" Target="../slideLayouts/slideLayout452.xml"/><Relationship Id="rId479" Type="http://schemas.openxmlformats.org/officeDocument/2006/relationships/slideLayout" Target="../slideLayouts/slideLayout494.xml"/><Relationship Id="rId36" Type="http://schemas.openxmlformats.org/officeDocument/2006/relationships/slideLayout" Target="../slideLayouts/slideLayout51.xml"/><Relationship Id="rId283" Type="http://schemas.openxmlformats.org/officeDocument/2006/relationships/slideLayout" Target="../slideLayouts/slideLayout298.xml"/><Relationship Id="rId339" Type="http://schemas.openxmlformats.org/officeDocument/2006/relationships/slideLayout" Target="../slideLayouts/slideLayout354.xml"/><Relationship Id="rId490" Type="http://schemas.openxmlformats.org/officeDocument/2006/relationships/slideLayout" Target="../slideLayouts/slideLayout505.xml"/><Relationship Id="rId78" Type="http://schemas.openxmlformats.org/officeDocument/2006/relationships/slideLayout" Target="../slideLayouts/slideLayout93.xml"/><Relationship Id="rId101" Type="http://schemas.openxmlformats.org/officeDocument/2006/relationships/slideLayout" Target="../slideLayouts/slideLayout116.xml"/><Relationship Id="rId143" Type="http://schemas.openxmlformats.org/officeDocument/2006/relationships/slideLayout" Target="../slideLayouts/slideLayout158.xml"/><Relationship Id="rId185" Type="http://schemas.openxmlformats.org/officeDocument/2006/relationships/slideLayout" Target="../slideLayouts/slideLayout200.xml"/><Relationship Id="rId350" Type="http://schemas.openxmlformats.org/officeDocument/2006/relationships/slideLayout" Target="../slideLayouts/slideLayout365.xml"/><Relationship Id="rId406" Type="http://schemas.openxmlformats.org/officeDocument/2006/relationships/slideLayout" Target="../slideLayouts/slideLayout421.xml"/><Relationship Id="rId9" Type="http://schemas.openxmlformats.org/officeDocument/2006/relationships/slideLayout" Target="../slideLayouts/slideLayout24.xml"/><Relationship Id="rId210" Type="http://schemas.openxmlformats.org/officeDocument/2006/relationships/slideLayout" Target="../slideLayouts/slideLayout225.xml"/><Relationship Id="rId392" Type="http://schemas.openxmlformats.org/officeDocument/2006/relationships/slideLayout" Target="../slideLayouts/slideLayout407.xml"/><Relationship Id="rId448" Type="http://schemas.openxmlformats.org/officeDocument/2006/relationships/slideLayout" Target="../slideLayouts/slideLayout463.xml"/><Relationship Id="rId252" Type="http://schemas.openxmlformats.org/officeDocument/2006/relationships/slideLayout" Target="../slideLayouts/slideLayout267.xml"/><Relationship Id="rId294" Type="http://schemas.openxmlformats.org/officeDocument/2006/relationships/slideLayout" Target="../slideLayouts/slideLayout309.xml"/><Relationship Id="rId308" Type="http://schemas.openxmlformats.org/officeDocument/2006/relationships/slideLayout" Target="../slideLayouts/slideLayout323.xml"/><Relationship Id="rId47" Type="http://schemas.openxmlformats.org/officeDocument/2006/relationships/slideLayout" Target="../slideLayouts/slideLayout62.xml"/><Relationship Id="rId89" Type="http://schemas.openxmlformats.org/officeDocument/2006/relationships/slideLayout" Target="../slideLayouts/slideLayout104.xml"/><Relationship Id="rId112" Type="http://schemas.openxmlformats.org/officeDocument/2006/relationships/slideLayout" Target="../slideLayouts/slideLayout127.xml"/><Relationship Id="rId154" Type="http://schemas.openxmlformats.org/officeDocument/2006/relationships/slideLayout" Target="../slideLayouts/slideLayout169.xml"/><Relationship Id="rId361" Type="http://schemas.openxmlformats.org/officeDocument/2006/relationships/slideLayout" Target="../slideLayouts/slideLayout376.xml"/><Relationship Id="rId196" Type="http://schemas.openxmlformats.org/officeDocument/2006/relationships/slideLayout" Target="../slideLayouts/slideLayout211.xml"/><Relationship Id="rId417" Type="http://schemas.openxmlformats.org/officeDocument/2006/relationships/slideLayout" Target="../slideLayouts/slideLayout432.xml"/><Relationship Id="rId459" Type="http://schemas.openxmlformats.org/officeDocument/2006/relationships/slideLayout" Target="../slideLayouts/slideLayout474.xml"/><Relationship Id="rId16" Type="http://schemas.openxmlformats.org/officeDocument/2006/relationships/slideLayout" Target="../slideLayouts/slideLayout31.xml"/><Relationship Id="rId221" Type="http://schemas.openxmlformats.org/officeDocument/2006/relationships/slideLayout" Target="../slideLayouts/slideLayout236.xml"/><Relationship Id="rId263" Type="http://schemas.openxmlformats.org/officeDocument/2006/relationships/slideLayout" Target="../slideLayouts/slideLayout278.xml"/><Relationship Id="rId319" Type="http://schemas.openxmlformats.org/officeDocument/2006/relationships/slideLayout" Target="../slideLayouts/slideLayout334.xml"/><Relationship Id="rId470" Type="http://schemas.openxmlformats.org/officeDocument/2006/relationships/slideLayout" Target="../slideLayouts/slideLayout485.xml"/><Relationship Id="rId58" Type="http://schemas.openxmlformats.org/officeDocument/2006/relationships/slideLayout" Target="../slideLayouts/slideLayout73.xml"/><Relationship Id="rId123" Type="http://schemas.openxmlformats.org/officeDocument/2006/relationships/slideLayout" Target="../slideLayouts/slideLayout138.xml"/><Relationship Id="rId330" Type="http://schemas.openxmlformats.org/officeDocument/2006/relationships/slideLayout" Target="../slideLayouts/slideLayout345.xml"/><Relationship Id="rId165" Type="http://schemas.openxmlformats.org/officeDocument/2006/relationships/slideLayout" Target="../slideLayouts/slideLayout180.xml"/><Relationship Id="rId372" Type="http://schemas.openxmlformats.org/officeDocument/2006/relationships/slideLayout" Target="../slideLayouts/slideLayout387.xml"/><Relationship Id="rId428" Type="http://schemas.openxmlformats.org/officeDocument/2006/relationships/slideLayout" Target="../slideLayouts/slideLayout443.xml"/><Relationship Id="rId232" Type="http://schemas.openxmlformats.org/officeDocument/2006/relationships/slideLayout" Target="../slideLayouts/slideLayout247.xml"/><Relationship Id="rId274" Type="http://schemas.openxmlformats.org/officeDocument/2006/relationships/slideLayout" Target="../slideLayouts/slideLayout289.xml"/><Relationship Id="rId481" Type="http://schemas.openxmlformats.org/officeDocument/2006/relationships/slideLayout" Target="../slideLayouts/slideLayout496.xml"/><Relationship Id="rId27" Type="http://schemas.openxmlformats.org/officeDocument/2006/relationships/slideLayout" Target="../slideLayouts/slideLayout42.xml"/><Relationship Id="rId69" Type="http://schemas.openxmlformats.org/officeDocument/2006/relationships/slideLayout" Target="../slideLayouts/slideLayout84.xml"/><Relationship Id="rId134" Type="http://schemas.openxmlformats.org/officeDocument/2006/relationships/slideLayout" Target="../slideLayouts/slideLayout149.xml"/><Relationship Id="rId80" Type="http://schemas.openxmlformats.org/officeDocument/2006/relationships/slideLayout" Target="../slideLayouts/slideLayout95.xml"/><Relationship Id="rId176" Type="http://schemas.openxmlformats.org/officeDocument/2006/relationships/slideLayout" Target="../slideLayouts/slideLayout191.xml"/><Relationship Id="rId341" Type="http://schemas.openxmlformats.org/officeDocument/2006/relationships/slideLayout" Target="../slideLayouts/slideLayout356.xml"/><Relationship Id="rId383" Type="http://schemas.openxmlformats.org/officeDocument/2006/relationships/slideLayout" Target="../slideLayouts/slideLayout398.xml"/><Relationship Id="rId439" Type="http://schemas.openxmlformats.org/officeDocument/2006/relationships/slideLayout" Target="../slideLayouts/slideLayout454.xml"/><Relationship Id="rId201" Type="http://schemas.openxmlformats.org/officeDocument/2006/relationships/slideLayout" Target="../slideLayouts/slideLayout216.xml"/><Relationship Id="rId243" Type="http://schemas.openxmlformats.org/officeDocument/2006/relationships/slideLayout" Target="../slideLayouts/slideLayout258.xml"/><Relationship Id="rId285" Type="http://schemas.openxmlformats.org/officeDocument/2006/relationships/slideLayout" Target="../slideLayouts/slideLayout300.xml"/><Relationship Id="rId450" Type="http://schemas.openxmlformats.org/officeDocument/2006/relationships/slideLayout" Target="../slideLayouts/slideLayout465.xml"/><Relationship Id="rId38" Type="http://schemas.openxmlformats.org/officeDocument/2006/relationships/slideLayout" Target="../slideLayouts/slideLayout53.xml"/><Relationship Id="rId103" Type="http://schemas.openxmlformats.org/officeDocument/2006/relationships/slideLayout" Target="../slideLayouts/slideLayout118.xml"/><Relationship Id="rId310" Type="http://schemas.openxmlformats.org/officeDocument/2006/relationships/slideLayout" Target="../slideLayouts/slideLayout325.xml"/><Relationship Id="rId492" Type="http://schemas.openxmlformats.org/officeDocument/2006/relationships/slideLayout" Target="../slideLayouts/slideLayout507.xml"/><Relationship Id="rId91" Type="http://schemas.openxmlformats.org/officeDocument/2006/relationships/slideLayout" Target="../slideLayouts/slideLayout106.xml"/><Relationship Id="rId145" Type="http://schemas.openxmlformats.org/officeDocument/2006/relationships/slideLayout" Target="../slideLayouts/slideLayout160.xml"/><Relationship Id="rId187" Type="http://schemas.openxmlformats.org/officeDocument/2006/relationships/slideLayout" Target="../slideLayouts/slideLayout202.xml"/><Relationship Id="rId352" Type="http://schemas.openxmlformats.org/officeDocument/2006/relationships/slideLayout" Target="../slideLayouts/slideLayout367.xml"/><Relationship Id="rId394" Type="http://schemas.openxmlformats.org/officeDocument/2006/relationships/slideLayout" Target="../slideLayouts/slideLayout409.xml"/><Relationship Id="rId408" Type="http://schemas.openxmlformats.org/officeDocument/2006/relationships/slideLayout" Target="../slideLayouts/slideLayout423.xml"/><Relationship Id="rId212" Type="http://schemas.openxmlformats.org/officeDocument/2006/relationships/slideLayout" Target="../slideLayouts/slideLayout227.xml"/><Relationship Id="rId254" Type="http://schemas.openxmlformats.org/officeDocument/2006/relationships/slideLayout" Target="../slideLayouts/slideLayout269.xml"/><Relationship Id="rId49" Type="http://schemas.openxmlformats.org/officeDocument/2006/relationships/slideLayout" Target="../slideLayouts/slideLayout64.xml"/><Relationship Id="rId114" Type="http://schemas.openxmlformats.org/officeDocument/2006/relationships/slideLayout" Target="../slideLayouts/slideLayout129.xml"/><Relationship Id="rId296" Type="http://schemas.openxmlformats.org/officeDocument/2006/relationships/slideLayout" Target="../slideLayouts/slideLayout311.xml"/><Relationship Id="rId461" Type="http://schemas.openxmlformats.org/officeDocument/2006/relationships/slideLayout" Target="../slideLayouts/slideLayout476.xml"/><Relationship Id="rId60" Type="http://schemas.openxmlformats.org/officeDocument/2006/relationships/slideLayout" Target="../slideLayouts/slideLayout75.xml"/><Relationship Id="rId156" Type="http://schemas.openxmlformats.org/officeDocument/2006/relationships/slideLayout" Target="../slideLayouts/slideLayout171.xml"/><Relationship Id="rId198" Type="http://schemas.openxmlformats.org/officeDocument/2006/relationships/slideLayout" Target="../slideLayouts/slideLayout213.xml"/><Relationship Id="rId321" Type="http://schemas.openxmlformats.org/officeDocument/2006/relationships/slideLayout" Target="../slideLayouts/slideLayout336.xml"/><Relationship Id="rId363" Type="http://schemas.openxmlformats.org/officeDocument/2006/relationships/slideLayout" Target="../slideLayouts/slideLayout378.xml"/><Relationship Id="rId419" Type="http://schemas.openxmlformats.org/officeDocument/2006/relationships/slideLayout" Target="../slideLayouts/slideLayout434.xml"/><Relationship Id="rId223" Type="http://schemas.openxmlformats.org/officeDocument/2006/relationships/slideLayout" Target="../slideLayouts/slideLayout238.xml"/><Relationship Id="rId430" Type="http://schemas.openxmlformats.org/officeDocument/2006/relationships/slideLayout" Target="../slideLayouts/slideLayout445.xml"/><Relationship Id="rId18" Type="http://schemas.openxmlformats.org/officeDocument/2006/relationships/slideLayout" Target="../slideLayouts/slideLayout33.xml"/><Relationship Id="rId265" Type="http://schemas.openxmlformats.org/officeDocument/2006/relationships/slideLayout" Target="../slideLayouts/slideLayout280.xml"/><Relationship Id="rId472" Type="http://schemas.openxmlformats.org/officeDocument/2006/relationships/slideLayout" Target="../slideLayouts/slideLayout487.xml"/><Relationship Id="rId125" Type="http://schemas.openxmlformats.org/officeDocument/2006/relationships/slideLayout" Target="../slideLayouts/slideLayout140.xml"/><Relationship Id="rId167" Type="http://schemas.openxmlformats.org/officeDocument/2006/relationships/slideLayout" Target="../slideLayouts/slideLayout182.xml"/><Relationship Id="rId332" Type="http://schemas.openxmlformats.org/officeDocument/2006/relationships/slideLayout" Target="../slideLayouts/slideLayout347.xml"/><Relationship Id="rId374" Type="http://schemas.openxmlformats.org/officeDocument/2006/relationships/slideLayout" Target="../slideLayouts/slideLayout389.xml"/><Relationship Id="rId71" Type="http://schemas.openxmlformats.org/officeDocument/2006/relationships/slideLayout" Target="../slideLayouts/slideLayout86.xml"/><Relationship Id="rId234" Type="http://schemas.openxmlformats.org/officeDocument/2006/relationships/slideLayout" Target="../slideLayouts/slideLayout249.xml"/><Relationship Id="rId2" Type="http://schemas.openxmlformats.org/officeDocument/2006/relationships/slideLayout" Target="../slideLayouts/slideLayout17.xml"/><Relationship Id="rId29" Type="http://schemas.openxmlformats.org/officeDocument/2006/relationships/slideLayout" Target="../slideLayouts/slideLayout44.xml"/><Relationship Id="rId276" Type="http://schemas.openxmlformats.org/officeDocument/2006/relationships/slideLayout" Target="../slideLayouts/slideLayout291.xml"/><Relationship Id="rId441" Type="http://schemas.openxmlformats.org/officeDocument/2006/relationships/slideLayout" Target="../slideLayouts/slideLayout456.xml"/><Relationship Id="rId483" Type="http://schemas.openxmlformats.org/officeDocument/2006/relationships/slideLayout" Target="../slideLayouts/slideLayout498.xml"/><Relationship Id="rId40" Type="http://schemas.openxmlformats.org/officeDocument/2006/relationships/slideLayout" Target="../slideLayouts/slideLayout55.xml"/><Relationship Id="rId136" Type="http://schemas.openxmlformats.org/officeDocument/2006/relationships/slideLayout" Target="../slideLayouts/slideLayout151.xml"/><Relationship Id="rId178" Type="http://schemas.openxmlformats.org/officeDocument/2006/relationships/slideLayout" Target="../slideLayouts/slideLayout193.xml"/><Relationship Id="rId301" Type="http://schemas.openxmlformats.org/officeDocument/2006/relationships/slideLayout" Target="../slideLayouts/slideLayout316.xml"/><Relationship Id="rId343" Type="http://schemas.openxmlformats.org/officeDocument/2006/relationships/slideLayout" Target="../slideLayouts/slideLayout358.xml"/><Relationship Id="rId82" Type="http://schemas.openxmlformats.org/officeDocument/2006/relationships/slideLayout" Target="../slideLayouts/slideLayout97.xml"/><Relationship Id="rId203" Type="http://schemas.openxmlformats.org/officeDocument/2006/relationships/slideLayout" Target="../slideLayouts/slideLayout218.xml"/><Relationship Id="rId385" Type="http://schemas.openxmlformats.org/officeDocument/2006/relationships/slideLayout" Target="../slideLayouts/slideLayout400.xml"/><Relationship Id="rId245" Type="http://schemas.openxmlformats.org/officeDocument/2006/relationships/slideLayout" Target="../slideLayouts/slideLayout260.xml"/><Relationship Id="rId287" Type="http://schemas.openxmlformats.org/officeDocument/2006/relationships/slideLayout" Target="../slideLayouts/slideLayout302.xml"/><Relationship Id="rId410" Type="http://schemas.openxmlformats.org/officeDocument/2006/relationships/slideLayout" Target="../slideLayouts/slideLayout425.xml"/><Relationship Id="rId452" Type="http://schemas.openxmlformats.org/officeDocument/2006/relationships/slideLayout" Target="../slideLayouts/slideLayout467.xml"/><Relationship Id="rId494" Type="http://schemas.openxmlformats.org/officeDocument/2006/relationships/slideLayout" Target="../slideLayouts/slideLayout509.xml"/><Relationship Id="rId105" Type="http://schemas.openxmlformats.org/officeDocument/2006/relationships/slideLayout" Target="../slideLayouts/slideLayout120.xml"/><Relationship Id="rId147" Type="http://schemas.openxmlformats.org/officeDocument/2006/relationships/slideLayout" Target="../slideLayouts/slideLayout162.xml"/><Relationship Id="rId312" Type="http://schemas.openxmlformats.org/officeDocument/2006/relationships/slideLayout" Target="../slideLayouts/slideLayout327.xml"/><Relationship Id="rId354" Type="http://schemas.openxmlformats.org/officeDocument/2006/relationships/slideLayout" Target="../slideLayouts/slideLayout369.xml"/><Relationship Id="rId51" Type="http://schemas.openxmlformats.org/officeDocument/2006/relationships/slideLayout" Target="../slideLayouts/slideLayout66.xml"/><Relationship Id="rId93" Type="http://schemas.openxmlformats.org/officeDocument/2006/relationships/slideLayout" Target="../slideLayouts/slideLayout108.xml"/><Relationship Id="rId189" Type="http://schemas.openxmlformats.org/officeDocument/2006/relationships/slideLayout" Target="../slideLayouts/slideLayout204.xml"/><Relationship Id="rId396" Type="http://schemas.openxmlformats.org/officeDocument/2006/relationships/slideLayout" Target="../slideLayouts/slideLayout411.xml"/><Relationship Id="rId214" Type="http://schemas.openxmlformats.org/officeDocument/2006/relationships/slideLayout" Target="../slideLayouts/slideLayout229.xml"/><Relationship Id="rId256" Type="http://schemas.openxmlformats.org/officeDocument/2006/relationships/slideLayout" Target="../slideLayouts/slideLayout271.xml"/><Relationship Id="rId298" Type="http://schemas.openxmlformats.org/officeDocument/2006/relationships/slideLayout" Target="../slideLayouts/slideLayout313.xml"/><Relationship Id="rId421" Type="http://schemas.openxmlformats.org/officeDocument/2006/relationships/slideLayout" Target="../slideLayouts/slideLayout436.xml"/><Relationship Id="rId463" Type="http://schemas.openxmlformats.org/officeDocument/2006/relationships/slideLayout" Target="../slideLayouts/slideLayout478.xml"/><Relationship Id="rId116" Type="http://schemas.openxmlformats.org/officeDocument/2006/relationships/slideLayout" Target="../slideLayouts/slideLayout131.xml"/><Relationship Id="rId158" Type="http://schemas.openxmlformats.org/officeDocument/2006/relationships/slideLayout" Target="../slideLayouts/slideLayout173.xml"/><Relationship Id="rId323" Type="http://schemas.openxmlformats.org/officeDocument/2006/relationships/slideLayout" Target="../slideLayouts/slideLayout338.xml"/><Relationship Id="rId20" Type="http://schemas.openxmlformats.org/officeDocument/2006/relationships/slideLayout" Target="../slideLayouts/slideLayout35.xml"/><Relationship Id="rId62" Type="http://schemas.openxmlformats.org/officeDocument/2006/relationships/slideLayout" Target="../slideLayouts/slideLayout77.xml"/><Relationship Id="rId365" Type="http://schemas.openxmlformats.org/officeDocument/2006/relationships/slideLayout" Target="../slideLayouts/slideLayout380.xml"/><Relationship Id="rId225" Type="http://schemas.openxmlformats.org/officeDocument/2006/relationships/slideLayout" Target="../slideLayouts/slideLayout240.xml"/><Relationship Id="rId267" Type="http://schemas.openxmlformats.org/officeDocument/2006/relationships/slideLayout" Target="../slideLayouts/slideLayout282.xml"/><Relationship Id="rId432" Type="http://schemas.openxmlformats.org/officeDocument/2006/relationships/slideLayout" Target="../slideLayouts/slideLayout447.xml"/><Relationship Id="rId474" Type="http://schemas.openxmlformats.org/officeDocument/2006/relationships/slideLayout" Target="../slideLayouts/slideLayout489.xml"/><Relationship Id="rId106" Type="http://schemas.openxmlformats.org/officeDocument/2006/relationships/slideLayout" Target="../slideLayouts/slideLayout121.xml"/><Relationship Id="rId127" Type="http://schemas.openxmlformats.org/officeDocument/2006/relationships/slideLayout" Target="../slideLayouts/slideLayout142.xml"/><Relationship Id="rId313" Type="http://schemas.openxmlformats.org/officeDocument/2006/relationships/slideLayout" Target="../slideLayouts/slideLayout328.xml"/><Relationship Id="rId495" Type="http://schemas.openxmlformats.org/officeDocument/2006/relationships/slideLayout" Target="../slideLayouts/slideLayout510.xml"/><Relationship Id="rId10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46.xml"/><Relationship Id="rId52" Type="http://schemas.openxmlformats.org/officeDocument/2006/relationships/slideLayout" Target="../slideLayouts/slideLayout67.xml"/><Relationship Id="rId73" Type="http://schemas.openxmlformats.org/officeDocument/2006/relationships/slideLayout" Target="../slideLayouts/slideLayout88.xml"/><Relationship Id="rId94" Type="http://schemas.openxmlformats.org/officeDocument/2006/relationships/slideLayout" Target="../slideLayouts/slideLayout109.xml"/><Relationship Id="rId148" Type="http://schemas.openxmlformats.org/officeDocument/2006/relationships/slideLayout" Target="../slideLayouts/slideLayout163.xml"/><Relationship Id="rId169" Type="http://schemas.openxmlformats.org/officeDocument/2006/relationships/slideLayout" Target="../slideLayouts/slideLayout184.xml"/><Relationship Id="rId334" Type="http://schemas.openxmlformats.org/officeDocument/2006/relationships/slideLayout" Target="../slideLayouts/slideLayout349.xml"/><Relationship Id="rId355" Type="http://schemas.openxmlformats.org/officeDocument/2006/relationships/slideLayout" Target="../slideLayouts/slideLayout370.xml"/><Relationship Id="rId376" Type="http://schemas.openxmlformats.org/officeDocument/2006/relationships/slideLayout" Target="../slideLayouts/slideLayout391.xml"/><Relationship Id="rId397" Type="http://schemas.openxmlformats.org/officeDocument/2006/relationships/slideLayout" Target="../slideLayouts/slideLayout412.xml"/><Relationship Id="rId4" Type="http://schemas.openxmlformats.org/officeDocument/2006/relationships/slideLayout" Target="../slideLayouts/slideLayout19.xml"/><Relationship Id="rId180" Type="http://schemas.openxmlformats.org/officeDocument/2006/relationships/slideLayout" Target="../slideLayouts/slideLayout195.xml"/><Relationship Id="rId215" Type="http://schemas.openxmlformats.org/officeDocument/2006/relationships/slideLayout" Target="../slideLayouts/slideLayout230.xml"/><Relationship Id="rId236" Type="http://schemas.openxmlformats.org/officeDocument/2006/relationships/slideLayout" Target="../slideLayouts/slideLayout251.xml"/><Relationship Id="rId257" Type="http://schemas.openxmlformats.org/officeDocument/2006/relationships/slideLayout" Target="../slideLayouts/slideLayout272.xml"/><Relationship Id="rId278" Type="http://schemas.openxmlformats.org/officeDocument/2006/relationships/slideLayout" Target="../slideLayouts/slideLayout293.xml"/><Relationship Id="rId401" Type="http://schemas.openxmlformats.org/officeDocument/2006/relationships/slideLayout" Target="../slideLayouts/slideLayout416.xml"/><Relationship Id="rId422" Type="http://schemas.openxmlformats.org/officeDocument/2006/relationships/slideLayout" Target="../slideLayouts/slideLayout437.xml"/><Relationship Id="rId443" Type="http://schemas.openxmlformats.org/officeDocument/2006/relationships/slideLayout" Target="../slideLayouts/slideLayout458.xml"/><Relationship Id="rId464" Type="http://schemas.openxmlformats.org/officeDocument/2006/relationships/slideLayout" Target="../slideLayouts/slideLayout479.xml"/><Relationship Id="rId303" Type="http://schemas.openxmlformats.org/officeDocument/2006/relationships/slideLayout" Target="../slideLayouts/slideLayout318.xml"/><Relationship Id="rId485" Type="http://schemas.openxmlformats.org/officeDocument/2006/relationships/slideLayout" Target="../slideLayouts/slideLayout500.xml"/><Relationship Id="rId42" Type="http://schemas.openxmlformats.org/officeDocument/2006/relationships/slideLayout" Target="../slideLayouts/slideLayout57.xml"/><Relationship Id="rId84" Type="http://schemas.openxmlformats.org/officeDocument/2006/relationships/slideLayout" Target="../slideLayouts/slideLayout99.xml"/><Relationship Id="rId138" Type="http://schemas.openxmlformats.org/officeDocument/2006/relationships/slideLayout" Target="../slideLayouts/slideLayout153.xml"/><Relationship Id="rId345" Type="http://schemas.openxmlformats.org/officeDocument/2006/relationships/slideLayout" Target="../slideLayouts/slideLayout360.xml"/><Relationship Id="rId387" Type="http://schemas.openxmlformats.org/officeDocument/2006/relationships/slideLayout" Target="../slideLayouts/slideLayout402.xml"/><Relationship Id="rId191" Type="http://schemas.openxmlformats.org/officeDocument/2006/relationships/slideLayout" Target="../slideLayouts/slideLayout206.xml"/><Relationship Id="rId205" Type="http://schemas.openxmlformats.org/officeDocument/2006/relationships/slideLayout" Target="../slideLayouts/slideLayout220.xml"/><Relationship Id="rId247" Type="http://schemas.openxmlformats.org/officeDocument/2006/relationships/slideLayout" Target="../slideLayouts/slideLayout262.xml"/><Relationship Id="rId412" Type="http://schemas.openxmlformats.org/officeDocument/2006/relationships/slideLayout" Target="../slideLayouts/slideLayout427.xml"/><Relationship Id="rId107" Type="http://schemas.openxmlformats.org/officeDocument/2006/relationships/slideLayout" Target="../slideLayouts/slideLayout122.xml"/><Relationship Id="rId289" Type="http://schemas.openxmlformats.org/officeDocument/2006/relationships/slideLayout" Target="../slideLayouts/slideLayout304.xml"/><Relationship Id="rId454" Type="http://schemas.openxmlformats.org/officeDocument/2006/relationships/slideLayout" Target="../slideLayouts/slideLayout469.xml"/><Relationship Id="rId496" Type="http://schemas.openxmlformats.org/officeDocument/2006/relationships/slideLayout" Target="../slideLayouts/slideLayout511.xml"/><Relationship Id="rId11" Type="http://schemas.openxmlformats.org/officeDocument/2006/relationships/slideLayout" Target="../slideLayouts/slideLayout26.xml"/><Relationship Id="rId53" Type="http://schemas.openxmlformats.org/officeDocument/2006/relationships/slideLayout" Target="../slideLayouts/slideLayout68.xml"/><Relationship Id="rId149" Type="http://schemas.openxmlformats.org/officeDocument/2006/relationships/slideLayout" Target="../slideLayouts/slideLayout164.xml"/><Relationship Id="rId314" Type="http://schemas.openxmlformats.org/officeDocument/2006/relationships/slideLayout" Target="../slideLayouts/slideLayout329.xml"/><Relationship Id="rId356" Type="http://schemas.openxmlformats.org/officeDocument/2006/relationships/slideLayout" Target="../slideLayouts/slideLayout371.xml"/><Relationship Id="rId398" Type="http://schemas.openxmlformats.org/officeDocument/2006/relationships/slideLayout" Target="../slideLayouts/slideLayout413.xml"/><Relationship Id="rId95" Type="http://schemas.openxmlformats.org/officeDocument/2006/relationships/slideLayout" Target="../slideLayouts/slideLayout110.xml"/><Relationship Id="rId160" Type="http://schemas.openxmlformats.org/officeDocument/2006/relationships/slideLayout" Target="../slideLayouts/slideLayout175.xml"/><Relationship Id="rId216" Type="http://schemas.openxmlformats.org/officeDocument/2006/relationships/slideLayout" Target="../slideLayouts/slideLayout231.xml"/><Relationship Id="rId423" Type="http://schemas.openxmlformats.org/officeDocument/2006/relationships/slideLayout" Target="../slideLayouts/slideLayout438.xml"/><Relationship Id="rId258" Type="http://schemas.openxmlformats.org/officeDocument/2006/relationships/slideLayout" Target="../slideLayouts/slideLayout273.xml"/><Relationship Id="rId465" Type="http://schemas.openxmlformats.org/officeDocument/2006/relationships/slideLayout" Target="../slideLayouts/slideLayout480.xml"/><Relationship Id="rId22" Type="http://schemas.openxmlformats.org/officeDocument/2006/relationships/slideLayout" Target="../slideLayouts/slideLayout37.xml"/><Relationship Id="rId64" Type="http://schemas.openxmlformats.org/officeDocument/2006/relationships/slideLayout" Target="../slideLayouts/slideLayout79.xml"/><Relationship Id="rId118" Type="http://schemas.openxmlformats.org/officeDocument/2006/relationships/slideLayout" Target="../slideLayouts/slideLayout133.xml"/><Relationship Id="rId325" Type="http://schemas.openxmlformats.org/officeDocument/2006/relationships/slideLayout" Target="../slideLayouts/slideLayout340.xml"/><Relationship Id="rId367" Type="http://schemas.openxmlformats.org/officeDocument/2006/relationships/slideLayout" Target="../slideLayouts/slideLayout382.xml"/><Relationship Id="rId171" Type="http://schemas.openxmlformats.org/officeDocument/2006/relationships/slideLayout" Target="../slideLayouts/slideLayout186.xml"/><Relationship Id="rId227" Type="http://schemas.openxmlformats.org/officeDocument/2006/relationships/slideLayout" Target="../slideLayouts/slideLayout242.xml"/><Relationship Id="rId269" Type="http://schemas.openxmlformats.org/officeDocument/2006/relationships/slideLayout" Target="../slideLayouts/slideLayout284.xml"/><Relationship Id="rId434" Type="http://schemas.openxmlformats.org/officeDocument/2006/relationships/slideLayout" Target="../slideLayouts/slideLayout449.xml"/><Relationship Id="rId476" Type="http://schemas.openxmlformats.org/officeDocument/2006/relationships/slideLayout" Target="../slideLayouts/slideLayout491.xml"/><Relationship Id="rId33" Type="http://schemas.openxmlformats.org/officeDocument/2006/relationships/slideLayout" Target="../slideLayouts/slideLayout48.xml"/><Relationship Id="rId129" Type="http://schemas.openxmlformats.org/officeDocument/2006/relationships/slideLayout" Target="../slideLayouts/slideLayout144.xml"/><Relationship Id="rId280" Type="http://schemas.openxmlformats.org/officeDocument/2006/relationships/slideLayout" Target="../slideLayouts/slideLayout295.xml"/><Relationship Id="rId336" Type="http://schemas.openxmlformats.org/officeDocument/2006/relationships/slideLayout" Target="../slideLayouts/slideLayout351.xml"/><Relationship Id="rId75" Type="http://schemas.openxmlformats.org/officeDocument/2006/relationships/slideLayout" Target="../slideLayouts/slideLayout90.xml"/><Relationship Id="rId140" Type="http://schemas.openxmlformats.org/officeDocument/2006/relationships/slideLayout" Target="../slideLayouts/slideLayout155.xml"/><Relationship Id="rId182" Type="http://schemas.openxmlformats.org/officeDocument/2006/relationships/slideLayout" Target="../slideLayouts/slideLayout197.xml"/><Relationship Id="rId378" Type="http://schemas.openxmlformats.org/officeDocument/2006/relationships/slideLayout" Target="../slideLayouts/slideLayout393.xml"/><Relationship Id="rId403" Type="http://schemas.openxmlformats.org/officeDocument/2006/relationships/slideLayout" Target="../slideLayouts/slideLayout418.xml"/><Relationship Id="rId6" Type="http://schemas.openxmlformats.org/officeDocument/2006/relationships/slideLayout" Target="../slideLayouts/slideLayout21.xml"/><Relationship Id="rId238" Type="http://schemas.openxmlformats.org/officeDocument/2006/relationships/slideLayout" Target="../slideLayouts/slideLayout253.xml"/><Relationship Id="rId445" Type="http://schemas.openxmlformats.org/officeDocument/2006/relationships/slideLayout" Target="../slideLayouts/slideLayout460.xml"/><Relationship Id="rId487" Type="http://schemas.openxmlformats.org/officeDocument/2006/relationships/slideLayout" Target="../slideLayouts/slideLayout502.xml"/><Relationship Id="rId291" Type="http://schemas.openxmlformats.org/officeDocument/2006/relationships/slideLayout" Target="../slideLayouts/slideLayout306.xml"/><Relationship Id="rId305" Type="http://schemas.openxmlformats.org/officeDocument/2006/relationships/slideLayout" Target="../slideLayouts/slideLayout320.xml"/><Relationship Id="rId347" Type="http://schemas.openxmlformats.org/officeDocument/2006/relationships/slideLayout" Target="../slideLayouts/slideLayout362.xml"/><Relationship Id="rId44" Type="http://schemas.openxmlformats.org/officeDocument/2006/relationships/slideLayout" Target="../slideLayouts/slideLayout59.xml"/><Relationship Id="rId86" Type="http://schemas.openxmlformats.org/officeDocument/2006/relationships/slideLayout" Target="../slideLayouts/slideLayout101.xml"/><Relationship Id="rId151" Type="http://schemas.openxmlformats.org/officeDocument/2006/relationships/slideLayout" Target="../slideLayouts/slideLayout166.xml"/><Relationship Id="rId389" Type="http://schemas.openxmlformats.org/officeDocument/2006/relationships/slideLayout" Target="../slideLayouts/slideLayout404.xml"/><Relationship Id="rId193" Type="http://schemas.openxmlformats.org/officeDocument/2006/relationships/slideLayout" Target="../slideLayouts/slideLayout208.xml"/><Relationship Id="rId207" Type="http://schemas.openxmlformats.org/officeDocument/2006/relationships/slideLayout" Target="../slideLayouts/slideLayout222.xml"/><Relationship Id="rId249" Type="http://schemas.openxmlformats.org/officeDocument/2006/relationships/slideLayout" Target="../slideLayouts/slideLayout264.xml"/><Relationship Id="rId414" Type="http://schemas.openxmlformats.org/officeDocument/2006/relationships/slideLayout" Target="../slideLayouts/slideLayout429.xml"/><Relationship Id="rId456" Type="http://schemas.openxmlformats.org/officeDocument/2006/relationships/slideLayout" Target="../slideLayouts/slideLayout471.xml"/><Relationship Id="rId498" Type="http://schemas.openxmlformats.org/officeDocument/2006/relationships/theme" Target="../theme/theme2.xml"/><Relationship Id="rId13" Type="http://schemas.openxmlformats.org/officeDocument/2006/relationships/slideLayout" Target="../slideLayouts/slideLayout28.xml"/><Relationship Id="rId109" Type="http://schemas.openxmlformats.org/officeDocument/2006/relationships/slideLayout" Target="../slideLayouts/slideLayout124.xml"/><Relationship Id="rId260" Type="http://schemas.openxmlformats.org/officeDocument/2006/relationships/slideLayout" Target="../slideLayouts/slideLayout275.xml"/><Relationship Id="rId316" Type="http://schemas.openxmlformats.org/officeDocument/2006/relationships/slideLayout" Target="../slideLayouts/slideLayout331.xml"/><Relationship Id="rId55" Type="http://schemas.openxmlformats.org/officeDocument/2006/relationships/slideLayout" Target="../slideLayouts/slideLayout70.xml"/><Relationship Id="rId97" Type="http://schemas.openxmlformats.org/officeDocument/2006/relationships/slideLayout" Target="../slideLayouts/slideLayout112.xml"/><Relationship Id="rId120" Type="http://schemas.openxmlformats.org/officeDocument/2006/relationships/slideLayout" Target="../slideLayouts/slideLayout135.xml"/><Relationship Id="rId358" Type="http://schemas.openxmlformats.org/officeDocument/2006/relationships/slideLayout" Target="../slideLayouts/slideLayout373.xml"/><Relationship Id="rId162" Type="http://schemas.openxmlformats.org/officeDocument/2006/relationships/slideLayout" Target="../slideLayouts/slideLayout177.xml"/><Relationship Id="rId218" Type="http://schemas.openxmlformats.org/officeDocument/2006/relationships/slideLayout" Target="../slideLayouts/slideLayout233.xml"/><Relationship Id="rId425" Type="http://schemas.openxmlformats.org/officeDocument/2006/relationships/slideLayout" Target="../slideLayouts/slideLayout440.xml"/><Relationship Id="rId467" Type="http://schemas.openxmlformats.org/officeDocument/2006/relationships/slideLayout" Target="../slideLayouts/slideLayout482.xml"/><Relationship Id="rId271" Type="http://schemas.openxmlformats.org/officeDocument/2006/relationships/slideLayout" Target="../slideLayouts/slideLayout286.xml"/><Relationship Id="rId24" Type="http://schemas.openxmlformats.org/officeDocument/2006/relationships/slideLayout" Target="../slideLayouts/slideLayout39.xml"/><Relationship Id="rId66" Type="http://schemas.openxmlformats.org/officeDocument/2006/relationships/slideLayout" Target="../slideLayouts/slideLayout81.xml"/><Relationship Id="rId131" Type="http://schemas.openxmlformats.org/officeDocument/2006/relationships/slideLayout" Target="../slideLayouts/slideLayout146.xml"/><Relationship Id="rId327" Type="http://schemas.openxmlformats.org/officeDocument/2006/relationships/slideLayout" Target="../slideLayouts/slideLayout342.xml"/><Relationship Id="rId369" Type="http://schemas.openxmlformats.org/officeDocument/2006/relationships/slideLayout" Target="../slideLayouts/slideLayout384.xml"/><Relationship Id="rId173" Type="http://schemas.openxmlformats.org/officeDocument/2006/relationships/slideLayout" Target="../slideLayouts/slideLayout188.xml"/><Relationship Id="rId229" Type="http://schemas.openxmlformats.org/officeDocument/2006/relationships/slideLayout" Target="../slideLayouts/slideLayout244.xml"/><Relationship Id="rId380" Type="http://schemas.openxmlformats.org/officeDocument/2006/relationships/slideLayout" Target="../slideLayouts/slideLayout395.xml"/><Relationship Id="rId436" Type="http://schemas.openxmlformats.org/officeDocument/2006/relationships/slideLayout" Target="../slideLayouts/slideLayout451.xml"/><Relationship Id="rId240" Type="http://schemas.openxmlformats.org/officeDocument/2006/relationships/slideLayout" Target="../slideLayouts/slideLayout255.xml"/><Relationship Id="rId478" Type="http://schemas.openxmlformats.org/officeDocument/2006/relationships/slideLayout" Target="../slideLayouts/slideLayout493.xml"/><Relationship Id="rId35" Type="http://schemas.openxmlformats.org/officeDocument/2006/relationships/slideLayout" Target="../slideLayouts/slideLayout50.xml"/><Relationship Id="rId77" Type="http://schemas.openxmlformats.org/officeDocument/2006/relationships/slideLayout" Target="../slideLayouts/slideLayout92.xml"/><Relationship Id="rId100" Type="http://schemas.openxmlformats.org/officeDocument/2006/relationships/slideLayout" Target="../slideLayouts/slideLayout115.xml"/><Relationship Id="rId282" Type="http://schemas.openxmlformats.org/officeDocument/2006/relationships/slideLayout" Target="../slideLayouts/slideLayout297.xml"/><Relationship Id="rId338" Type="http://schemas.openxmlformats.org/officeDocument/2006/relationships/slideLayout" Target="../slideLayouts/slideLayout353.xml"/><Relationship Id="rId8" Type="http://schemas.openxmlformats.org/officeDocument/2006/relationships/slideLayout" Target="../slideLayouts/slideLayout23.xml"/><Relationship Id="rId142" Type="http://schemas.openxmlformats.org/officeDocument/2006/relationships/slideLayout" Target="../slideLayouts/slideLayout157.xml"/><Relationship Id="rId184" Type="http://schemas.openxmlformats.org/officeDocument/2006/relationships/slideLayout" Target="../slideLayouts/slideLayout199.xml"/><Relationship Id="rId391" Type="http://schemas.openxmlformats.org/officeDocument/2006/relationships/slideLayout" Target="../slideLayouts/slideLayout406.xml"/><Relationship Id="rId405" Type="http://schemas.openxmlformats.org/officeDocument/2006/relationships/slideLayout" Target="../slideLayouts/slideLayout420.xml"/><Relationship Id="rId447" Type="http://schemas.openxmlformats.org/officeDocument/2006/relationships/slideLayout" Target="../slideLayouts/slideLayout462.xml"/><Relationship Id="rId251" Type="http://schemas.openxmlformats.org/officeDocument/2006/relationships/slideLayout" Target="../slideLayouts/slideLayout266.xml"/><Relationship Id="rId489" Type="http://schemas.openxmlformats.org/officeDocument/2006/relationships/slideLayout" Target="../slideLayouts/slideLayout504.xml"/><Relationship Id="rId46" Type="http://schemas.openxmlformats.org/officeDocument/2006/relationships/slideLayout" Target="../slideLayouts/slideLayout61.xml"/><Relationship Id="rId293" Type="http://schemas.openxmlformats.org/officeDocument/2006/relationships/slideLayout" Target="../slideLayouts/slideLayout308.xml"/><Relationship Id="rId307" Type="http://schemas.openxmlformats.org/officeDocument/2006/relationships/slideLayout" Target="../slideLayouts/slideLayout322.xml"/><Relationship Id="rId349" Type="http://schemas.openxmlformats.org/officeDocument/2006/relationships/slideLayout" Target="../slideLayouts/slideLayout364.xml"/><Relationship Id="rId88" Type="http://schemas.openxmlformats.org/officeDocument/2006/relationships/slideLayout" Target="../slideLayouts/slideLayout103.xml"/><Relationship Id="rId111" Type="http://schemas.openxmlformats.org/officeDocument/2006/relationships/slideLayout" Target="../slideLayouts/slideLayout126.xml"/><Relationship Id="rId153" Type="http://schemas.openxmlformats.org/officeDocument/2006/relationships/slideLayout" Target="../slideLayouts/slideLayout168.xml"/><Relationship Id="rId195" Type="http://schemas.openxmlformats.org/officeDocument/2006/relationships/slideLayout" Target="../slideLayouts/slideLayout210.xml"/><Relationship Id="rId209" Type="http://schemas.openxmlformats.org/officeDocument/2006/relationships/slideLayout" Target="../slideLayouts/slideLayout224.xml"/><Relationship Id="rId360" Type="http://schemas.openxmlformats.org/officeDocument/2006/relationships/slideLayout" Target="../slideLayouts/slideLayout375.xml"/><Relationship Id="rId416" Type="http://schemas.openxmlformats.org/officeDocument/2006/relationships/slideLayout" Target="../slideLayouts/slideLayout431.xml"/><Relationship Id="rId220" Type="http://schemas.openxmlformats.org/officeDocument/2006/relationships/slideLayout" Target="../slideLayouts/slideLayout235.xml"/><Relationship Id="rId458" Type="http://schemas.openxmlformats.org/officeDocument/2006/relationships/slideLayout" Target="../slideLayouts/slideLayout473.xml"/><Relationship Id="rId15" Type="http://schemas.openxmlformats.org/officeDocument/2006/relationships/slideLayout" Target="../slideLayouts/slideLayout30.xml"/><Relationship Id="rId57" Type="http://schemas.openxmlformats.org/officeDocument/2006/relationships/slideLayout" Target="../slideLayouts/slideLayout72.xml"/><Relationship Id="rId262" Type="http://schemas.openxmlformats.org/officeDocument/2006/relationships/slideLayout" Target="../slideLayouts/slideLayout277.xml"/><Relationship Id="rId318" Type="http://schemas.openxmlformats.org/officeDocument/2006/relationships/slideLayout" Target="../slideLayouts/slideLayout333.xml"/><Relationship Id="rId99" Type="http://schemas.openxmlformats.org/officeDocument/2006/relationships/slideLayout" Target="../slideLayouts/slideLayout114.xml"/><Relationship Id="rId122" Type="http://schemas.openxmlformats.org/officeDocument/2006/relationships/slideLayout" Target="../slideLayouts/slideLayout137.xml"/><Relationship Id="rId164" Type="http://schemas.openxmlformats.org/officeDocument/2006/relationships/slideLayout" Target="../slideLayouts/slideLayout179.xml"/><Relationship Id="rId371" Type="http://schemas.openxmlformats.org/officeDocument/2006/relationships/slideLayout" Target="../slideLayouts/slideLayout386.xml"/><Relationship Id="rId427" Type="http://schemas.openxmlformats.org/officeDocument/2006/relationships/slideLayout" Target="../slideLayouts/slideLayout442.xml"/><Relationship Id="rId469" Type="http://schemas.openxmlformats.org/officeDocument/2006/relationships/slideLayout" Target="../slideLayouts/slideLayout484.xml"/><Relationship Id="rId26" Type="http://schemas.openxmlformats.org/officeDocument/2006/relationships/slideLayout" Target="../slideLayouts/slideLayout41.xml"/><Relationship Id="rId231" Type="http://schemas.openxmlformats.org/officeDocument/2006/relationships/slideLayout" Target="../slideLayouts/slideLayout246.xml"/><Relationship Id="rId273" Type="http://schemas.openxmlformats.org/officeDocument/2006/relationships/slideLayout" Target="../slideLayouts/slideLayout288.xml"/><Relationship Id="rId329" Type="http://schemas.openxmlformats.org/officeDocument/2006/relationships/slideLayout" Target="../slideLayouts/slideLayout344.xml"/><Relationship Id="rId480" Type="http://schemas.openxmlformats.org/officeDocument/2006/relationships/slideLayout" Target="../slideLayouts/slideLayout495.xml"/><Relationship Id="rId68" Type="http://schemas.openxmlformats.org/officeDocument/2006/relationships/slideLayout" Target="../slideLayouts/slideLayout83.xml"/><Relationship Id="rId133" Type="http://schemas.openxmlformats.org/officeDocument/2006/relationships/slideLayout" Target="../slideLayouts/slideLayout148.xml"/><Relationship Id="rId175" Type="http://schemas.openxmlformats.org/officeDocument/2006/relationships/slideLayout" Target="../slideLayouts/slideLayout190.xml"/><Relationship Id="rId340" Type="http://schemas.openxmlformats.org/officeDocument/2006/relationships/slideLayout" Target="../slideLayouts/slideLayout355.xml"/><Relationship Id="rId200" Type="http://schemas.openxmlformats.org/officeDocument/2006/relationships/slideLayout" Target="../slideLayouts/slideLayout215.xml"/><Relationship Id="rId382" Type="http://schemas.openxmlformats.org/officeDocument/2006/relationships/slideLayout" Target="../slideLayouts/slideLayout397.xml"/><Relationship Id="rId438" Type="http://schemas.openxmlformats.org/officeDocument/2006/relationships/slideLayout" Target="../slideLayouts/slideLayout453.xml"/><Relationship Id="rId242" Type="http://schemas.openxmlformats.org/officeDocument/2006/relationships/slideLayout" Target="../slideLayouts/slideLayout257.xml"/><Relationship Id="rId284" Type="http://schemas.openxmlformats.org/officeDocument/2006/relationships/slideLayout" Target="../slideLayouts/slideLayout299.xml"/><Relationship Id="rId491" Type="http://schemas.openxmlformats.org/officeDocument/2006/relationships/slideLayout" Target="../slideLayouts/slideLayout506.xml"/><Relationship Id="rId37" Type="http://schemas.openxmlformats.org/officeDocument/2006/relationships/slideLayout" Target="../slideLayouts/slideLayout52.xml"/><Relationship Id="rId79" Type="http://schemas.openxmlformats.org/officeDocument/2006/relationships/slideLayout" Target="../slideLayouts/slideLayout94.xml"/><Relationship Id="rId102" Type="http://schemas.openxmlformats.org/officeDocument/2006/relationships/slideLayout" Target="../slideLayouts/slideLayout117.xml"/><Relationship Id="rId144" Type="http://schemas.openxmlformats.org/officeDocument/2006/relationships/slideLayout" Target="../slideLayouts/slideLayout159.xml"/><Relationship Id="rId90" Type="http://schemas.openxmlformats.org/officeDocument/2006/relationships/slideLayout" Target="../slideLayouts/slideLayout105.xml"/><Relationship Id="rId186" Type="http://schemas.openxmlformats.org/officeDocument/2006/relationships/slideLayout" Target="../slideLayouts/slideLayout201.xml"/><Relationship Id="rId351" Type="http://schemas.openxmlformats.org/officeDocument/2006/relationships/slideLayout" Target="../slideLayouts/slideLayout366.xml"/><Relationship Id="rId393" Type="http://schemas.openxmlformats.org/officeDocument/2006/relationships/slideLayout" Target="../slideLayouts/slideLayout408.xml"/><Relationship Id="rId407" Type="http://schemas.openxmlformats.org/officeDocument/2006/relationships/slideLayout" Target="../slideLayouts/slideLayout422.xml"/><Relationship Id="rId449" Type="http://schemas.openxmlformats.org/officeDocument/2006/relationships/slideLayout" Target="../slideLayouts/slideLayout464.xml"/><Relationship Id="rId211" Type="http://schemas.openxmlformats.org/officeDocument/2006/relationships/slideLayout" Target="../slideLayouts/slideLayout226.xml"/><Relationship Id="rId253" Type="http://schemas.openxmlformats.org/officeDocument/2006/relationships/slideLayout" Target="../slideLayouts/slideLayout268.xml"/><Relationship Id="rId295" Type="http://schemas.openxmlformats.org/officeDocument/2006/relationships/slideLayout" Target="../slideLayouts/slideLayout310.xml"/><Relationship Id="rId309" Type="http://schemas.openxmlformats.org/officeDocument/2006/relationships/slideLayout" Target="../slideLayouts/slideLayout324.xml"/><Relationship Id="rId460" Type="http://schemas.openxmlformats.org/officeDocument/2006/relationships/slideLayout" Target="../slideLayouts/slideLayout475.xml"/><Relationship Id="rId48" Type="http://schemas.openxmlformats.org/officeDocument/2006/relationships/slideLayout" Target="../slideLayouts/slideLayout63.xml"/><Relationship Id="rId113" Type="http://schemas.openxmlformats.org/officeDocument/2006/relationships/slideLayout" Target="../slideLayouts/slideLayout128.xml"/><Relationship Id="rId320" Type="http://schemas.openxmlformats.org/officeDocument/2006/relationships/slideLayout" Target="../slideLayouts/slideLayout335.xml"/><Relationship Id="rId155" Type="http://schemas.openxmlformats.org/officeDocument/2006/relationships/slideLayout" Target="../slideLayouts/slideLayout170.xml"/><Relationship Id="rId197" Type="http://schemas.openxmlformats.org/officeDocument/2006/relationships/slideLayout" Target="../slideLayouts/slideLayout212.xml"/><Relationship Id="rId362" Type="http://schemas.openxmlformats.org/officeDocument/2006/relationships/slideLayout" Target="../slideLayouts/slideLayout377.xml"/><Relationship Id="rId418" Type="http://schemas.openxmlformats.org/officeDocument/2006/relationships/slideLayout" Target="../slideLayouts/slideLayout433.xml"/><Relationship Id="rId222" Type="http://schemas.openxmlformats.org/officeDocument/2006/relationships/slideLayout" Target="../slideLayouts/slideLayout237.xml"/><Relationship Id="rId264" Type="http://schemas.openxmlformats.org/officeDocument/2006/relationships/slideLayout" Target="../slideLayouts/slideLayout279.xml"/><Relationship Id="rId471" Type="http://schemas.openxmlformats.org/officeDocument/2006/relationships/slideLayout" Target="../slideLayouts/slideLayout486.xml"/><Relationship Id="rId17" Type="http://schemas.openxmlformats.org/officeDocument/2006/relationships/slideLayout" Target="../slideLayouts/slideLayout32.xml"/><Relationship Id="rId59" Type="http://schemas.openxmlformats.org/officeDocument/2006/relationships/slideLayout" Target="../slideLayouts/slideLayout74.xml"/><Relationship Id="rId124" Type="http://schemas.openxmlformats.org/officeDocument/2006/relationships/slideLayout" Target="../slideLayouts/slideLayout139.xml"/><Relationship Id="rId70" Type="http://schemas.openxmlformats.org/officeDocument/2006/relationships/slideLayout" Target="../slideLayouts/slideLayout85.xml"/><Relationship Id="rId166" Type="http://schemas.openxmlformats.org/officeDocument/2006/relationships/slideLayout" Target="../slideLayouts/slideLayout181.xml"/><Relationship Id="rId331" Type="http://schemas.openxmlformats.org/officeDocument/2006/relationships/slideLayout" Target="../slideLayouts/slideLayout346.xml"/><Relationship Id="rId373" Type="http://schemas.openxmlformats.org/officeDocument/2006/relationships/slideLayout" Target="../slideLayouts/slideLayout388.xml"/><Relationship Id="rId429" Type="http://schemas.openxmlformats.org/officeDocument/2006/relationships/slideLayout" Target="../slideLayouts/slideLayout444.xml"/><Relationship Id="rId1" Type="http://schemas.openxmlformats.org/officeDocument/2006/relationships/slideLayout" Target="../slideLayouts/slideLayout16.xml"/><Relationship Id="rId233" Type="http://schemas.openxmlformats.org/officeDocument/2006/relationships/slideLayout" Target="../slideLayouts/slideLayout248.xml"/><Relationship Id="rId440" Type="http://schemas.openxmlformats.org/officeDocument/2006/relationships/slideLayout" Target="../slideLayouts/slideLayout455.xml"/><Relationship Id="rId28" Type="http://schemas.openxmlformats.org/officeDocument/2006/relationships/slideLayout" Target="../slideLayouts/slideLayout43.xml"/><Relationship Id="rId275" Type="http://schemas.openxmlformats.org/officeDocument/2006/relationships/slideLayout" Target="../slideLayouts/slideLayout290.xml"/><Relationship Id="rId300" Type="http://schemas.openxmlformats.org/officeDocument/2006/relationships/slideLayout" Target="../slideLayouts/slideLayout315.xml"/><Relationship Id="rId482" Type="http://schemas.openxmlformats.org/officeDocument/2006/relationships/slideLayout" Target="../slideLayouts/slideLayout497.xml"/><Relationship Id="rId81" Type="http://schemas.openxmlformats.org/officeDocument/2006/relationships/slideLayout" Target="../slideLayouts/slideLayout96.xml"/><Relationship Id="rId135" Type="http://schemas.openxmlformats.org/officeDocument/2006/relationships/slideLayout" Target="../slideLayouts/slideLayout150.xml"/><Relationship Id="rId177" Type="http://schemas.openxmlformats.org/officeDocument/2006/relationships/slideLayout" Target="../slideLayouts/slideLayout192.xml"/><Relationship Id="rId342" Type="http://schemas.openxmlformats.org/officeDocument/2006/relationships/slideLayout" Target="../slideLayouts/slideLayout357.xml"/><Relationship Id="rId384" Type="http://schemas.openxmlformats.org/officeDocument/2006/relationships/slideLayout" Target="../slideLayouts/slideLayout399.xml"/><Relationship Id="rId202" Type="http://schemas.openxmlformats.org/officeDocument/2006/relationships/slideLayout" Target="../slideLayouts/slideLayout217.xml"/><Relationship Id="rId244" Type="http://schemas.openxmlformats.org/officeDocument/2006/relationships/slideLayout" Target="../slideLayouts/slideLayout259.xml"/><Relationship Id="rId39" Type="http://schemas.openxmlformats.org/officeDocument/2006/relationships/slideLayout" Target="../slideLayouts/slideLayout54.xml"/><Relationship Id="rId286" Type="http://schemas.openxmlformats.org/officeDocument/2006/relationships/slideLayout" Target="../slideLayouts/slideLayout301.xml"/><Relationship Id="rId451" Type="http://schemas.openxmlformats.org/officeDocument/2006/relationships/slideLayout" Target="../slideLayouts/slideLayout466.xml"/><Relationship Id="rId493" Type="http://schemas.openxmlformats.org/officeDocument/2006/relationships/slideLayout" Target="../slideLayouts/slideLayout508.xml"/><Relationship Id="rId50" Type="http://schemas.openxmlformats.org/officeDocument/2006/relationships/slideLayout" Target="../slideLayouts/slideLayout65.xml"/><Relationship Id="rId104" Type="http://schemas.openxmlformats.org/officeDocument/2006/relationships/slideLayout" Target="../slideLayouts/slideLayout119.xml"/><Relationship Id="rId146" Type="http://schemas.openxmlformats.org/officeDocument/2006/relationships/slideLayout" Target="../slideLayouts/slideLayout161.xml"/><Relationship Id="rId188" Type="http://schemas.openxmlformats.org/officeDocument/2006/relationships/slideLayout" Target="../slideLayouts/slideLayout203.xml"/><Relationship Id="rId311" Type="http://schemas.openxmlformats.org/officeDocument/2006/relationships/slideLayout" Target="../slideLayouts/slideLayout326.xml"/><Relationship Id="rId353" Type="http://schemas.openxmlformats.org/officeDocument/2006/relationships/slideLayout" Target="../slideLayouts/slideLayout368.xml"/><Relationship Id="rId395" Type="http://schemas.openxmlformats.org/officeDocument/2006/relationships/slideLayout" Target="../slideLayouts/slideLayout410.xml"/><Relationship Id="rId409" Type="http://schemas.openxmlformats.org/officeDocument/2006/relationships/slideLayout" Target="../slideLayouts/slideLayout424.xml"/><Relationship Id="rId92" Type="http://schemas.openxmlformats.org/officeDocument/2006/relationships/slideLayout" Target="../slideLayouts/slideLayout107.xml"/><Relationship Id="rId213" Type="http://schemas.openxmlformats.org/officeDocument/2006/relationships/slideLayout" Target="../slideLayouts/slideLayout228.xml"/><Relationship Id="rId420" Type="http://schemas.openxmlformats.org/officeDocument/2006/relationships/slideLayout" Target="../slideLayouts/slideLayout435.xml"/><Relationship Id="rId255" Type="http://schemas.openxmlformats.org/officeDocument/2006/relationships/slideLayout" Target="../slideLayouts/slideLayout270.xml"/><Relationship Id="rId297" Type="http://schemas.openxmlformats.org/officeDocument/2006/relationships/slideLayout" Target="../slideLayouts/slideLayout312.xml"/><Relationship Id="rId462" Type="http://schemas.openxmlformats.org/officeDocument/2006/relationships/slideLayout" Target="../slideLayouts/slideLayout477.xml"/><Relationship Id="rId115" Type="http://schemas.openxmlformats.org/officeDocument/2006/relationships/slideLayout" Target="../slideLayouts/slideLayout130.xml"/><Relationship Id="rId157" Type="http://schemas.openxmlformats.org/officeDocument/2006/relationships/slideLayout" Target="../slideLayouts/slideLayout172.xml"/><Relationship Id="rId322" Type="http://schemas.openxmlformats.org/officeDocument/2006/relationships/slideLayout" Target="../slideLayouts/slideLayout337.xml"/><Relationship Id="rId364" Type="http://schemas.openxmlformats.org/officeDocument/2006/relationships/slideLayout" Target="../slideLayouts/slideLayout379.xml"/><Relationship Id="rId61" Type="http://schemas.openxmlformats.org/officeDocument/2006/relationships/slideLayout" Target="../slideLayouts/slideLayout76.xml"/><Relationship Id="rId199" Type="http://schemas.openxmlformats.org/officeDocument/2006/relationships/slideLayout" Target="../slideLayouts/slideLayout214.xml"/><Relationship Id="rId19" Type="http://schemas.openxmlformats.org/officeDocument/2006/relationships/slideLayout" Target="../slideLayouts/slideLayout34.xml"/><Relationship Id="rId224" Type="http://schemas.openxmlformats.org/officeDocument/2006/relationships/slideLayout" Target="../slideLayouts/slideLayout239.xml"/><Relationship Id="rId266" Type="http://schemas.openxmlformats.org/officeDocument/2006/relationships/slideLayout" Target="../slideLayouts/slideLayout281.xml"/><Relationship Id="rId431" Type="http://schemas.openxmlformats.org/officeDocument/2006/relationships/slideLayout" Target="../slideLayouts/slideLayout446.xml"/><Relationship Id="rId473" Type="http://schemas.openxmlformats.org/officeDocument/2006/relationships/slideLayout" Target="../slideLayouts/slideLayout488.xml"/><Relationship Id="rId30" Type="http://schemas.openxmlformats.org/officeDocument/2006/relationships/slideLayout" Target="../slideLayouts/slideLayout45.xml"/><Relationship Id="rId126" Type="http://schemas.openxmlformats.org/officeDocument/2006/relationships/slideLayout" Target="../slideLayouts/slideLayout141.xml"/><Relationship Id="rId168" Type="http://schemas.openxmlformats.org/officeDocument/2006/relationships/slideLayout" Target="../slideLayouts/slideLayout183.xml"/><Relationship Id="rId333" Type="http://schemas.openxmlformats.org/officeDocument/2006/relationships/slideLayout" Target="../slideLayouts/slideLayout348.xml"/><Relationship Id="rId72" Type="http://schemas.openxmlformats.org/officeDocument/2006/relationships/slideLayout" Target="../slideLayouts/slideLayout87.xml"/><Relationship Id="rId375" Type="http://schemas.openxmlformats.org/officeDocument/2006/relationships/slideLayout" Target="../slideLayouts/slideLayout390.xml"/><Relationship Id="rId3" Type="http://schemas.openxmlformats.org/officeDocument/2006/relationships/slideLayout" Target="../slideLayouts/slideLayout18.xml"/><Relationship Id="rId235" Type="http://schemas.openxmlformats.org/officeDocument/2006/relationships/slideLayout" Target="../slideLayouts/slideLayout250.xml"/><Relationship Id="rId277" Type="http://schemas.openxmlformats.org/officeDocument/2006/relationships/slideLayout" Target="../slideLayouts/slideLayout292.xml"/><Relationship Id="rId400" Type="http://schemas.openxmlformats.org/officeDocument/2006/relationships/slideLayout" Target="../slideLayouts/slideLayout415.xml"/><Relationship Id="rId442" Type="http://schemas.openxmlformats.org/officeDocument/2006/relationships/slideLayout" Target="../slideLayouts/slideLayout457.xml"/><Relationship Id="rId484" Type="http://schemas.openxmlformats.org/officeDocument/2006/relationships/slideLayout" Target="../slideLayouts/slideLayout499.xml"/><Relationship Id="rId137" Type="http://schemas.openxmlformats.org/officeDocument/2006/relationships/slideLayout" Target="../slideLayouts/slideLayout152.xml"/><Relationship Id="rId302" Type="http://schemas.openxmlformats.org/officeDocument/2006/relationships/slideLayout" Target="../slideLayouts/slideLayout317.xml"/><Relationship Id="rId344" Type="http://schemas.openxmlformats.org/officeDocument/2006/relationships/slideLayout" Target="../slideLayouts/slideLayout359.xml"/><Relationship Id="rId41" Type="http://schemas.openxmlformats.org/officeDocument/2006/relationships/slideLayout" Target="../slideLayouts/slideLayout56.xml"/><Relationship Id="rId83" Type="http://schemas.openxmlformats.org/officeDocument/2006/relationships/slideLayout" Target="../slideLayouts/slideLayout98.xml"/><Relationship Id="rId179" Type="http://schemas.openxmlformats.org/officeDocument/2006/relationships/slideLayout" Target="../slideLayouts/slideLayout194.xml"/><Relationship Id="rId386" Type="http://schemas.openxmlformats.org/officeDocument/2006/relationships/slideLayout" Target="../slideLayouts/slideLayout401.xml"/><Relationship Id="rId190" Type="http://schemas.openxmlformats.org/officeDocument/2006/relationships/slideLayout" Target="../slideLayouts/slideLayout205.xml"/><Relationship Id="rId204" Type="http://schemas.openxmlformats.org/officeDocument/2006/relationships/slideLayout" Target="../slideLayouts/slideLayout219.xml"/><Relationship Id="rId246" Type="http://schemas.openxmlformats.org/officeDocument/2006/relationships/slideLayout" Target="../slideLayouts/slideLayout261.xml"/><Relationship Id="rId288" Type="http://schemas.openxmlformats.org/officeDocument/2006/relationships/slideLayout" Target="../slideLayouts/slideLayout303.xml"/><Relationship Id="rId411" Type="http://schemas.openxmlformats.org/officeDocument/2006/relationships/slideLayout" Target="../slideLayouts/slideLayout426.xml"/><Relationship Id="rId453" Type="http://schemas.openxmlformats.org/officeDocument/2006/relationships/slideLayout" Target="../slideLayouts/slideLayout468.xml"/></Relationships>
</file>

<file path=ppt/slideMasters/_rels/slideMaster3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629.xml"/><Relationship Id="rId21" Type="http://schemas.openxmlformats.org/officeDocument/2006/relationships/slideLayout" Target="../slideLayouts/slideLayout533.xml"/><Relationship Id="rId42" Type="http://schemas.openxmlformats.org/officeDocument/2006/relationships/slideLayout" Target="../slideLayouts/slideLayout554.xml"/><Relationship Id="rId63" Type="http://schemas.openxmlformats.org/officeDocument/2006/relationships/slideLayout" Target="../slideLayouts/slideLayout575.xml"/><Relationship Id="rId84" Type="http://schemas.openxmlformats.org/officeDocument/2006/relationships/slideLayout" Target="../slideLayouts/slideLayout596.xml"/><Relationship Id="rId138" Type="http://schemas.openxmlformats.org/officeDocument/2006/relationships/slideLayout" Target="../slideLayouts/slideLayout650.xml"/><Relationship Id="rId159" Type="http://schemas.openxmlformats.org/officeDocument/2006/relationships/slideLayout" Target="../slideLayouts/slideLayout671.xml"/><Relationship Id="rId170" Type="http://schemas.openxmlformats.org/officeDocument/2006/relationships/slideLayout" Target="../slideLayouts/slideLayout682.xml"/><Relationship Id="rId191" Type="http://schemas.openxmlformats.org/officeDocument/2006/relationships/slideLayout" Target="../slideLayouts/slideLayout703.xml"/><Relationship Id="rId107" Type="http://schemas.openxmlformats.org/officeDocument/2006/relationships/slideLayout" Target="../slideLayouts/slideLayout619.xml"/><Relationship Id="rId11" Type="http://schemas.openxmlformats.org/officeDocument/2006/relationships/slideLayout" Target="../slideLayouts/slideLayout523.xml"/><Relationship Id="rId32" Type="http://schemas.openxmlformats.org/officeDocument/2006/relationships/slideLayout" Target="../slideLayouts/slideLayout544.xml"/><Relationship Id="rId53" Type="http://schemas.openxmlformats.org/officeDocument/2006/relationships/slideLayout" Target="../slideLayouts/slideLayout565.xml"/><Relationship Id="rId74" Type="http://schemas.openxmlformats.org/officeDocument/2006/relationships/slideLayout" Target="../slideLayouts/slideLayout586.xml"/><Relationship Id="rId128" Type="http://schemas.openxmlformats.org/officeDocument/2006/relationships/slideLayout" Target="../slideLayouts/slideLayout640.xml"/><Relationship Id="rId149" Type="http://schemas.openxmlformats.org/officeDocument/2006/relationships/slideLayout" Target="../slideLayouts/slideLayout661.xml"/><Relationship Id="rId5" Type="http://schemas.openxmlformats.org/officeDocument/2006/relationships/slideLayout" Target="../slideLayouts/slideLayout517.xml"/><Relationship Id="rId95" Type="http://schemas.openxmlformats.org/officeDocument/2006/relationships/slideLayout" Target="../slideLayouts/slideLayout607.xml"/><Relationship Id="rId160" Type="http://schemas.openxmlformats.org/officeDocument/2006/relationships/slideLayout" Target="../slideLayouts/slideLayout672.xml"/><Relationship Id="rId181" Type="http://schemas.openxmlformats.org/officeDocument/2006/relationships/slideLayout" Target="../slideLayouts/slideLayout693.xml"/><Relationship Id="rId22" Type="http://schemas.openxmlformats.org/officeDocument/2006/relationships/slideLayout" Target="../slideLayouts/slideLayout534.xml"/><Relationship Id="rId43" Type="http://schemas.openxmlformats.org/officeDocument/2006/relationships/slideLayout" Target="../slideLayouts/slideLayout555.xml"/><Relationship Id="rId64" Type="http://schemas.openxmlformats.org/officeDocument/2006/relationships/slideLayout" Target="../slideLayouts/slideLayout576.xml"/><Relationship Id="rId118" Type="http://schemas.openxmlformats.org/officeDocument/2006/relationships/slideLayout" Target="../slideLayouts/slideLayout630.xml"/><Relationship Id="rId139" Type="http://schemas.openxmlformats.org/officeDocument/2006/relationships/slideLayout" Target="../slideLayouts/slideLayout651.xml"/><Relationship Id="rId85" Type="http://schemas.openxmlformats.org/officeDocument/2006/relationships/slideLayout" Target="../slideLayouts/slideLayout597.xml"/><Relationship Id="rId150" Type="http://schemas.openxmlformats.org/officeDocument/2006/relationships/slideLayout" Target="../slideLayouts/slideLayout662.xml"/><Relationship Id="rId171" Type="http://schemas.openxmlformats.org/officeDocument/2006/relationships/slideLayout" Target="../slideLayouts/slideLayout683.xml"/><Relationship Id="rId192" Type="http://schemas.openxmlformats.org/officeDocument/2006/relationships/slideLayout" Target="../slideLayouts/slideLayout704.xml"/><Relationship Id="rId12" Type="http://schemas.openxmlformats.org/officeDocument/2006/relationships/slideLayout" Target="../slideLayouts/slideLayout524.xml"/><Relationship Id="rId33" Type="http://schemas.openxmlformats.org/officeDocument/2006/relationships/slideLayout" Target="../slideLayouts/slideLayout545.xml"/><Relationship Id="rId108" Type="http://schemas.openxmlformats.org/officeDocument/2006/relationships/slideLayout" Target="../slideLayouts/slideLayout620.xml"/><Relationship Id="rId129" Type="http://schemas.openxmlformats.org/officeDocument/2006/relationships/slideLayout" Target="../slideLayouts/slideLayout641.xml"/><Relationship Id="rId54" Type="http://schemas.openxmlformats.org/officeDocument/2006/relationships/slideLayout" Target="../slideLayouts/slideLayout566.xml"/><Relationship Id="rId75" Type="http://schemas.openxmlformats.org/officeDocument/2006/relationships/slideLayout" Target="../slideLayouts/slideLayout587.xml"/><Relationship Id="rId96" Type="http://schemas.openxmlformats.org/officeDocument/2006/relationships/slideLayout" Target="../slideLayouts/slideLayout608.xml"/><Relationship Id="rId140" Type="http://schemas.openxmlformats.org/officeDocument/2006/relationships/slideLayout" Target="../slideLayouts/slideLayout652.xml"/><Relationship Id="rId161" Type="http://schemas.openxmlformats.org/officeDocument/2006/relationships/slideLayout" Target="../slideLayouts/slideLayout673.xml"/><Relationship Id="rId182" Type="http://schemas.openxmlformats.org/officeDocument/2006/relationships/slideLayout" Target="../slideLayouts/slideLayout694.xml"/><Relationship Id="rId6" Type="http://schemas.openxmlformats.org/officeDocument/2006/relationships/slideLayout" Target="../slideLayouts/slideLayout518.xml"/><Relationship Id="rId23" Type="http://schemas.openxmlformats.org/officeDocument/2006/relationships/slideLayout" Target="../slideLayouts/slideLayout535.xml"/><Relationship Id="rId119" Type="http://schemas.openxmlformats.org/officeDocument/2006/relationships/slideLayout" Target="../slideLayouts/slideLayout631.xml"/><Relationship Id="rId44" Type="http://schemas.openxmlformats.org/officeDocument/2006/relationships/slideLayout" Target="../slideLayouts/slideLayout556.xml"/><Relationship Id="rId65" Type="http://schemas.openxmlformats.org/officeDocument/2006/relationships/slideLayout" Target="../slideLayouts/slideLayout577.xml"/><Relationship Id="rId86" Type="http://schemas.openxmlformats.org/officeDocument/2006/relationships/slideLayout" Target="../slideLayouts/slideLayout598.xml"/><Relationship Id="rId130" Type="http://schemas.openxmlformats.org/officeDocument/2006/relationships/slideLayout" Target="../slideLayouts/slideLayout642.xml"/><Relationship Id="rId151" Type="http://schemas.openxmlformats.org/officeDocument/2006/relationships/slideLayout" Target="../slideLayouts/slideLayout663.xml"/><Relationship Id="rId172" Type="http://schemas.openxmlformats.org/officeDocument/2006/relationships/slideLayout" Target="../slideLayouts/slideLayout684.xml"/><Relationship Id="rId193" Type="http://schemas.openxmlformats.org/officeDocument/2006/relationships/slideLayout" Target="../slideLayouts/slideLayout705.xml"/><Relationship Id="rId13" Type="http://schemas.openxmlformats.org/officeDocument/2006/relationships/slideLayout" Target="../slideLayouts/slideLayout525.xml"/><Relationship Id="rId109" Type="http://schemas.openxmlformats.org/officeDocument/2006/relationships/slideLayout" Target="../slideLayouts/slideLayout621.xml"/><Relationship Id="rId34" Type="http://schemas.openxmlformats.org/officeDocument/2006/relationships/slideLayout" Target="../slideLayouts/slideLayout546.xml"/><Relationship Id="rId55" Type="http://schemas.openxmlformats.org/officeDocument/2006/relationships/slideLayout" Target="../slideLayouts/slideLayout567.xml"/><Relationship Id="rId76" Type="http://schemas.openxmlformats.org/officeDocument/2006/relationships/slideLayout" Target="../slideLayouts/slideLayout588.xml"/><Relationship Id="rId97" Type="http://schemas.openxmlformats.org/officeDocument/2006/relationships/slideLayout" Target="../slideLayouts/slideLayout609.xml"/><Relationship Id="rId120" Type="http://schemas.openxmlformats.org/officeDocument/2006/relationships/slideLayout" Target="../slideLayouts/slideLayout632.xml"/><Relationship Id="rId141" Type="http://schemas.openxmlformats.org/officeDocument/2006/relationships/slideLayout" Target="../slideLayouts/slideLayout653.xml"/><Relationship Id="rId7" Type="http://schemas.openxmlformats.org/officeDocument/2006/relationships/slideLayout" Target="../slideLayouts/slideLayout519.xml"/><Relationship Id="rId162" Type="http://schemas.openxmlformats.org/officeDocument/2006/relationships/slideLayout" Target="../slideLayouts/slideLayout674.xml"/><Relationship Id="rId183" Type="http://schemas.openxmlformats.org/officeDocument/2006/relationships/slideLayout" Target="../slideLayouts/slideLayout695.xml"/><Relationship Id="rId2" Type="http://schemas.openxmlformats.org/officeDocument/2006/relationships/slideLayout" Target="../slideLayouts/slideLayout514.xml"/><Relationship Id="rId29" Type="http://schemas.openxmlformats.org/officeDocument/2006/relationships/slideLayout" Target="../slideLayouts/slideLayout541.xml"/><Relationship Id="rId24" Type="http://schemas.openxmlformats.org/officeDocument/2006/relationships/slideLayout" Target="../slideLayouts/slideLayout536.xml"/><Relationship Id="rId40" Type="http://schemas.openxmlformats.org/officeDocument/2006/relationships/slideLayout" Target="../slideLayouts/slideLayout552.xml"/><Relationship Id="rId45" Type="http://schemas.openxmlformats.org/officeDocument/2006/relationships/slideLayout" Target="../slideLayouts/slideLayout557.xml"/><Relationship Id="rId66" Type="http://schemas.openxmlformats.org/officeDocument/2006/relationships/slideLayout" Target="../slideLayouts/slideLayout578.xml"/><Relationship Id="rId87" Type="http://schemas.openxmlformats.org/officeDocument/2006/relationships/slideLayout" Target="../slideLayouts/slideLayout599.xml"/><Relationship Id="rId110" Type="http://schemas.openxmlformats.org/officeDocument/2006/relationships/slideLayout" Target="../slideLayouts/slideLayout622.xml"/><Relationship Id="rId115" Type="http://schemas.openxmlformats.org/officeDocument/2006/relationships/slideLayout" Target="../slideLayouts/slideLayout627.xml"/><Relationship Id="rId131" Type="http://schemas.openxmlformats.org/officeDocument/2006/relationships/slideLayout" Target="../slideLayouts/slideLayout643.xml"/><Relationship Id="rId136" Type="http://schemas.openxmlformats.org/officeDocument/2006/relationships/slideLayout" Target="../slideLayouts/slideLayout648.xml"/><Relationship Id="rId157" Type="http://schemas.openxmlformats.org/officeDocument/2006/relationships/slideLayout" Target="../slideLayouts/slideLayout669.xml"/><Relationship Id="rId178" Type="http://schemas.openxmlformats.org/officeDocument/2006/relationships/slideLayout" Target="../slideLayouts/slideLayout690.xml"/><Relationship Id="rId61" Type="http://schemas.openxmlformats.org/officeDocument/2006/relationships/slideLayout" Target="../slideLayouts/slideLayout573.xml"/><Relationship Id="rId82" Type="http://schemas.openxmlformats.org/officeDocument/2006/relationships/slideLayout" Target="../slideLayouts/slideLayout594.xml"/><Relationship Id="rId152" Type="http://schemas.openxmlformats.org/officeDocument/2006/relationships/slideLayout" Target="../slideLayouts/slideLayout664.xml"/><Relationship Id="rId173" Type="http://schemas.openxmlformats.org/officeDocument/2006/relationships/slideLayout" Target="../slideLayouts/slideLayout685.xml"/><Relationship Id="rId194" Type="http://schemas.openxmlformats.org/officeDocument/2006/relationships/slideLayout" Target="../slideLayouts/slideLayout706.xml"/><Relationship Id="rId199" Type="http://schemas.openxmlformats.org/officeDocument/2006/relationships/slideLayout" Target="../slideLayouts/slideLayout711.xml"/><Relationship Id="rId19" Type="http://schemas.openxmlformats.org/officeDocument/2006/relationships/slideLayout" Target="../slideLayouts/slideLayout531.xml"/><Relationship Id="rId14" Type="http://schemas.openxmlformats.org/officeDocument/2006/relationships/slideLayout" Target="../slideLayouts/slideLayout526.xml"/><Relationship Id="rId30" Type="http://schemas.openxmlformats.org/officeDocument/2006/relationships/slideLayout" Target="../slideLayouts/slideLayout542.xml"/><Relationship Id="rId35" Type="http://schemas.openxmlformats.org/officeDocument/2006/relationships/slideLayout" Target="../slideLayouts/slideLayout547.xml"/><Relationship Id="rId56" Type="http://schemas.openxmlformats.org/officeDocument/2006/relationships/slideLayout" Target="../slideLayouts/slideLayout568.xml"/><Relationship Id="rId77" Type="http://schemas.openxmlformats.org/officeDocument/2006/relationships/slideLayout" Target="../slideLayouts/slideLayout589.xml"/><Relationship Id="rId100" Type="http://schemas.openxmlformats.org/officeDocument/2006/relationships/slideLayout" Target="../slideLayouts/slideLayout612.xml"/><Relationship Id="rId105" Type="http://schemas.openxmlformats.org/officeDocument/2006/relationships/slideLayout" Target="../slideLayouts/slideLayout617.xml"/><Relationship Id="rId126" Type="http://schemas.openxmlformats.org/officeDocument/2006/relationships/slideLayout" Target="../slideLayouts/slideLayout638.xml"/><Relationship Id="rId147" Type="http://schemas.openxmlformats.org/officeDocument/2006/relationships/slideLayout" Target="../slideLayouts/slideLayout659.xml"/><Relationship Id="rId168" Type="http://schemas.openxmlformats.org/officeDocument/2006/relationships/slideLayout" Target="../slideLayouts/slideLayout680.xml"/><Relationship Id="rId8" Type="http://schemas.openxmlformats.org/officeDocument/2006/relationships/slideLayout" Target="../slideLayouts/slideLayout520.xml"/><Relationship Id="rId51" Type="http://schemas.openxmlformats.org/officeDocument/2006/relationships/slideLayout" Target="../slideLayouts/slideLayout563.xml"/><Relationship Id="rId72" Type="http://schemas.openxmlformats.org/officeDocument/2006/relationships/slideLayout" Target="../slideLayouts/slideLayout584.xml"/><Relationship Id="rId93" Type="http://schemas.openxmlformats.org/officeDocument/2006/relationships/slideLayout" Target="../slideLayouts/slideLayout605.xml"/><Relationship Id="rId98" Type="http://schemas.openxmlformats.org/officeDocument/2006/relationships/slideLayout" Target="../slideLayouts/slideLayout610.xml"/><Relationship Id="rId121" Type="http://schemas.openxmlformats.org/officeDocument/2006/relationships/slideLayout" Target="../slideLayouts/slideLayout633.xml"/><Relationship Id="rId142" Type="http://schemas.openxmlformats.org/officeDocument/2006/relationships/slideLayout" Target="../slideLayouts/slideLayout654.xml"/><Relationship Id="rId163" Type="http://schemas.openxmlformats.org/officeDocument/2006/relationships/slideLayout" Target="../slideLayouts/slideLayout675.xml"/><Relationship Id="rId184" Type="http://schemas.openxmlformats.org/officeDocument/2006/relationships/slideLayout" Target="../slideLayouts/slideLayout696.xml"/><Relationship Id="rId189" Type="http://schemas.openxmlformats.org/officeDocument/2006/relationships/slideLayout" Target="../slideLayouts/slideLayout701.xml"/><Relationship Id="rId3" Type="http://schemas.openxmlformats.org/officeDocument/2006/relationships/slideLayout" Target="../slideLayouts/slideLayout515.xml"/><Relationship Id="rId25" Type="http://schemas.openxmlformats.org/officeDocument/2006/relationships/slideLayout" Target="../slideLayouts/slideLayout537.xml"/><Relationship Id="rId46" Type="http://schemas.openxmlformats.org/officeDocument/2006/relationships/slideLayout" Target="../slideLayouts/slideLayout558.xml"/><Relationship Id="rId67" Type="http://schemas.openxmlformats.org/officeDocument/2006/relationships/slideLayout" Target="../slideLayouts/slideLayout579.xml"/><Relationship Id="rId116" Type="http://schemas.openxmlformats.org/officeDocument/2006/relationships/slideLayout" Target="../slideLayouts/slideLayout628.xml"/><Relationship Id="rId137" Type="http://schemas.openxmlformats.org/officeDocument/2006/relationships/slideLayout" Target="../slideLayouts/slideLayout649.xml"/><Relationship Id="rId158" Type="http://schemas.openxmlformats.org/officeDocument/2006/relationships/slideLayout" Target="../slideLayouts/slideLayout670.xml"/><Relationship Id="rId20" Type="http://schemas.openxmlformats.org/officeDocument/2006/relationships/slideLayout" Target="../slideLayouts/slideLayout532.xml"/><Relationship Id="rId41" Type="http://schemas.openxmlformats.org/officeDocument/2006/relationships/slideLayout" Target="../slideLayouts/slideLayout553.xml"/><Relationship Id="rId62" Type="http://schemas.openxmlformats.org/officeDocument/2006/relationships/slideLayout" Target="../slideLayouts/slideLayout574.xml"/><Relationship Id="rId83" Type="http://schemas.openxmlformats.org/officeDocument/2006/relationships/slideLayout" Target="../slideLayouts/slideLayout595.xml"/><Relationship Id="rId88" Type="http://schemas.openxmlformats.org/officeDocument/2006/relationships/slideLayout" Target="../slideLayouts/slideLayout600.xml"/><Relationship Id="rId111" Type="http://schemas.openxmlformats.org/officeDocument/2006/relationships/slideLayout" Target="../slideLayouts/slideLayout623.xml"/><Relationship Id="rId132" Type="http://schemas.openxmlformats.org/officeDocument/2006/relationships/slideLayout" Target="../slideLayouts/slideLayout644.xml"/><Relationship Id="rId153" Type="http://schemas.openxmlformats.org/officeDocument/2006/relationships/slideLayout" Target="../slideLayouts/slideLayout665.xml"/><Relationship Id="rId174" Type="http://schemas.openxmlformats.org/officeDocument/2006/relationships/slideLayout" Target="../slideLayouts/slideLayout686.xml"/><Relationship Id="rId179" Type="http://schemas.openxmlformats.org/officeDocument/2006/relationships/slideLayout" Target="../slideLayouts/slideLayout691.xml"/><Relationship Id="rId195" Type="http://schemas.openxmlformats.org/officeDocument/2006/relationships/slideLayout" Target="../slideLayouts/slideLayout707.xml"/><Relationship Id="rId190" Type="http://schemas.openxmlformats.org/officeDocument/2006/relationships/slideLayout" Target="../slideLayouts/slideLayout702.xml"/><Relationship Id="rId15" Type="http://schemas.openxmlformats.org/officeDocument/2006/relationships/slideLayout" Target="../slideLayouts/slideLayout527.xml"/><Relationship Id="rId36" Type="http://schemas.openxmlformats.org/officeDocument/2006/relationships/slideLayout" Target="../slideLayouts/slideLayout548.xml"/><Relationship Id="rId57" Type="http://schemas.openxmlformats.org/officeDocument/2006/relationships/slideLayout" Target="../slideLayouts/slideLayout569.xml"/><Relationship Id="rId106" Type="http://schemas.openxmlformats.org/officeDocument/2006/relationships/slideLayout" Target="../slideLayouts/slideLayout618.xml"/><Relationship Id="rId127" Type="http://schemas.openxmlformats.org/officeDocument/2006/relationships/slideLayout" Target="../slideLayouts/slideLayout639.xml"/><Relationship Id="rId10" Type="http://schemas.openxmlformats.org/officeDocument/2006/relationships/slideLayout" Target="../slideLayouts/slideLayout522.xml"/><Relationship Id="rId31" Type="http://schemas.openxmlformats.org/officeDocument/2006/relationships/slideLayout" Target="../slideLayouts/slideLayout543.xml"/><Relationship Id="rId52" Type="http://schemas.openxmlformats.org/officeDocument/2006/relationships/slideLayout" Target="../slideLayouts/slideLayout564.xml"/><Relationship Id="rId73" Type="http://schemas.openxmlformats.org/officeDocument/2006/relationships/slideLayout" Target="../slideLayouts/slideLayout585.xml"/><Relationship Id="rId78" Type="http://schemas.openxmlformats.org/officeDocument/2006/relationships/slideLayout" Target="../slideLayouts/slideLayout590.xml"/><Relationship Id="rId94" Type="http://schemas.openxmlformats.org/officeDocument/2006/relationships/slideLayout" Target="../slideLayouts/slideLayout606.xml"/><Relationship Id="rId99" Type="http://schemas.openxmlformats.org/officeDocument/2006/relationships/slideLayout" Target="../slideLayouts/slideLayout611.xml"/><Relationship Id="rId101" Type="http://schemas.openxmlformats.org/officeDocument/2006/relationships/slideLayout" Target="../slideLayouts/slideLayout613.xml"/><Relationship Id="rId122" Type="http://schemas.openxmlformats.org/officeDocument/2006/relationships/slideLayout" Target="../slideLayouts/slideLayout634.xml"/><Relationship Id="rId143" Type="http://schemas.openxmlformats.org/officeDocument/2006/relationships/slideLayout" Target="../slideLayouts/slideLayout655.xml"/><Relationship Id="rId148" Type="http://schemas.openxmlformats.org/officeDocument/2006/relationships/slideLayout" Target="../slideLayouts/slideLayout660.xml"/><Relationship Id="rId164" Type="http://schemas.openxmlformats.org/officeDocument/2006/relationships/slideLayout" Target="../slideLayouts/slideLayout676.xml"/><Relationship Id="rId169" Type="http://schemas.openxmlformats.org/officeDocument/2006/relationships/slideLayout" Target="../slideLayouts/slideLayout681.xml"/><Relationship Id="rId185" Type="http://schemas.openxmlformats.org/officeDocument/2006/relationships/slideLayout" Target="../slideLayouts/slideLayout697.xml"/><Relationship Id="rId4" Type="http://schemas.openxmlformats.org/officeDocument/2006/relationships/slideLayout" Target="../slideLayouts/slideLayout516.xml"/><Relationship Id="rId9" Type="http://schemas.openxmlformats.org/officeDocument/2006/relationships/slideLayout" Target="../slideLayouts/slideLayout521.xml"/><Relationship Id="rId180" Type="http://schemas.openxmlformats.org/officeDocument/2006/relationships/slideLayout" Target="../slideLayouts/slideLayout692.xml"/><Relationship Id="rId26" Type="http://schemas.openxmlformats.org/officeDocument/2006/relationships/slideLayout" Target="../slideLayouts/slideLayout538.xml"/><Relationship Id="rId47" Type="http://schemas.openxmlformats.org/officeDocument/2006/relationships/slideLayout" Target="../slideLayouts/slideLayout559.xml"/><Relationship Id="rId68" Type="http://schemas.openxmlformats.org/officeDocument/2006/relationships/slideLayout" Target="../slideLayouts/slideLayout580.xml"/><Relationship Id="rId89" Type="http://schemas.openxmlformats.org/officeDocument/2006/relationships/slideLayout" Target="../slideLayouts/slideLayout601.xml"/><Relationship Id="rId112" Type="http://schemas.openxmlformats.org/officeDocument/2006/relationships/slideLayout" Target="../slideLayouts/slideLayout624.xml"/><Relationship Id="rId133" Type="http://schemas.openxmlformats.org/officeDocument/2006/relationships/slideLayout" Target="../slideLayouts/slideLayout645.xml"/><Relationship Id="rId154" Type="http://schemas.openxmlformats.org/officeDocument/2006/relationships/slideLayout" Target="../slideLayouts/slideLayout666.xml"/><Relationship Id="rId175" Type="http://schemas.openxmlformats.org/officeDocument/2006/relationships/slideLayout" Target="../slideLayouts/slideLayout687.xml"/><Relationship Id="rId196" Type="http://schemas.openxmlformats.org/officeDocument/2006/relationships/slideLayout" Target="../slideLayouts/slideLayout708.xml"/><Relationship Id="rId200" Type="http://schemas.openxmlformats.org/officeDocument/2006/relationships/slideLayout" Target="../slideLayouts/slideLayout712.xml"/><Relationship Id="rId16" Type="http://schemas.openxmlformats.org/officeDocument/2006/relationships/slideLayout" Target="../slideLayouts/slideLayout528.xml"/><Relationship Id="rId37" Type="http://schemas.openxmlformats.org/officeDocument/2006/relationships/slideLayout" Target="../slideLayouts/slideLayout549.xml"/><Relationship Id="rId58" Type="http://schemas.openxmlformats.org/officeDocument/2006/relationships/slideLayout" Target="../slideLayouts/slideLayout570.xml"/><Relationship Id="rId79" Type="http://schemas.openxmlformats.org/officeDocument/2006/relationships/slideLayout" Target="../slideLayouts/slideLayout591.xml"/><Relationship Id="rId102" Type="http://schemas.openxmlformats.org/officeDocument/2006/relationships/slideLayout" Target="../slideLayouts/slideLayout614.xml"/><Relationship Id="rId123" Type="http://schemas.openxmlformats.org/officeDocument/2006/relationships/slideLayout" Target="../slideLayouts/slideLayout635.xml"/><Relationship Id="rId144" Type="http://schemas.openxmlformats.org/officeDocument/2006/relationships/slideLayout" Target="../slideLayouts/slideLayout656.xml"/><Relationship Id="rId90" Type="http://schemas.openxmlformats.org/officeDocument/2006/relationships/slideLayout" Target="../slideLayouts/slideLayout602.xml"/><Relationship Id="rId165" Type="http://schemas.openxmlformats.org/officeDocument/2006/relationships/slideLayout" Target="../slideLayouts/slideLayout677.xml"/><Relationship Id="rId186" Type="http://schemas.openxmlformats.org/officeDocument/2006/relationships/slideLayout" Target="../slideLayouts/slideLayout698.xml"/><Relationship Id="rId27" Type="http://schemas.openxmlformats.org/officeDocument/2006/relationships/slideLayout" Target="../slideLayouts/slideLayout539.xml"/><Relationship Id="rId48" Type="http://schemas.openxmlformats.org/officeDocument/2006/relationships/slideLayout" Target="../slideLayouts/slideLayout560.xml"/><Relationship Id="rId69" Type="http://schemas.openxmlformats.org/officeDocument/2006/relationships/slideLayout" Target="../slideLayouts/slideLayout581.xml"/><Relationship Id="rId113" Type="http://schemas.openxmlformats.org/officeDocument/2006/relationships/slideLayout" Target="../slideLayouts/slideLayout625.xml"/><Relationship Id="rId134" Type="http://schemas.openxmlformats.org/officeDocument/2006/relationships/slideLayout" Target="../slideLayouts/slideLayout646.xml"/><Relationship Id="rId80" Type="http://schemas.openxmlformats.org/officeDocument/2006/relationships/slideLayout" Target="../slideLayouts/slideLayout592.xml"/><Relationship Id="rId155" Type="http://schemas.openxmlformats.org/officeDocument/2006/relationships/slideLayout" Target="../slideLayouts/slideLayout667.xml"/><Relationship Id="rId176" Type="http://schemas.openxmlformats.org/officeDocument/2006/relationships/slideLayout" Target="../slideLayouts/slideLayout688.xml"/><Relationship Id="rId197" Type="http://schemas.openxmlformats.org/officeDocument/2006/relationships/slideLayout" Target="../slideLayouts/slideLayout709.xml"/><Relationship Id="rId201" Type="http://schemas.openxmlformats.org/officeDocument/2006/relationships/theme" Target="../theme/theme3.xml"/><Relationship Id="rId17" Type="http://schemas.openxmlformats.org/officeDocument/2006/relationships/slideLayout" Target="../slideLayouts/slideLayout529.xml"/><Relationship Id="rId38" Type="http://schemas.openxmlformats.org/officeDocument/2006/relationships/slideLayout" Target="../slideLayouts/slideLayout550.xml"/><Relationship Id="rId59" Type="http://schemas.openxmlformats.org/officeDocument/2006/relationships/slideLayout" Target="../slideLayouts/slideLayout571.xml"/><Relationship Id="rId103" Type="http://schemas.openxmlformats.org/officeDocument/2006/relationships/slideLayout" Target="../slideLayouts/slideLayout615.xml"/><Relationship Id="rId124" Type="http://schemas.openxmlformats.org/officeDocument/2006/relationships/slideLayout" Target="../slideLayouts/slideLayout636.xml"/><Relationship Id="rId70" Type="http://schemas.openxmlformats.org/officeDocument/2006/relationships/slideLayout" Target="../slideLayouts/slideLayout582.xml"/><Relationship Id="rId91" Type="http://schemas.openxmlformats.org/officeDocument/2006/relationships/slideLayout" Target="../slideLayouts/slideLayout603.xml"/><Relationship Id="rId145" Type="http://schemas.openxmlformats.org/officeDocument/2006/relationships/slideLayout" Target="../slideLayouts/slideLayout657.xml"/><Relationship Id="rId166" Type="http://schemas.openxmlformats.org/officeDocument/2006/relationships/slideLayout" Target="../slideLayouts/slideLayout678.xml"/><Relationship Id="rId187" Type="http://schemas.openxmlformats.org/officeDocument/2006/relationships/slideLayout" Target="../slideLayouts/slideLayout699.xml"/><Relationship Id="rId1" Type="http://schemas.openxmlformats.org/officeDocument/2006/relationships/slideLayout" Target="../slideLayouts/slideLayout513.xml"/><Relationship Id="rId28" Type="http://schemas.openxmlformats.org/officeDocument/2006/relationships/slideLayout" Target="../slideLayouts/slideLayout540.xml"/><Relationship Id="rId49" Type="http://schemas.openxmlformats.org/officeDocument/2006/relationships/slideLayout" Target="../slideLayouts/slideLayout561.xml"/><Relationship Id="rId114" Type="http://schemas.openxmlformats.org/officeDocument/2006/relationships/slideLayout" Target="../slideLayouts/slideLayout626.xml"/><Relationship Id="rId60" Type="http://schemas.openxmlformats.org/officeDocument/2006/relationships/slideLayout" Target="../slideLayouts/slideLayout572.xml"/><Relationship Id="rId81" Type="http://schemas.openxmlformats.org/officeDocument/2006/relationships/slideLayout" Target="../slideLayouts/slideLayout593.xml"/><Relationship Id="rId135" Type="http://schemas.openxmlformats.org/officeDocument/2006/relationships/slideLayout" Target="../slideLayouts/slideLayout647.xml"/><Relationship Id="rId156" Type="http://schemas.openxmlformats.org/officeDocument/2006/relationships/slideLayout" Target="../slideLayouts/slideLayout668.xml"/><Relationship Id="rId177" Type="http://schemas.openxmlformats.org/officeDocument/2006/relationships/slideLayout" Target="../slideLayouts/slideLayout689.xml"/><Relationship Id="rId198" Type="http://schemas.openxmlformats.org/officeDocument/2006/relationships/slideLayout" Target="../slideLayouts/slideLayout710.xml"/><Relationship Id="rId18" Type="http://schemas.openxmlformats.org/officeDocument/2006/relationships/slideLayout" Target="../slideLayouts/slideLayout530.xml"/><Relationship Id="rId39" Type="http://schemas.openxmlformats.org/officeDocument/2006/relationships/slideLayout" Target="../slideLayouts/slideLayout551.xml"/><Relationship Id="rId50" Type="http://schemas.openxmlformats.org/officeDocument/2006/relationships/slideLayout" Target="../slideLayouts/slideLayout562.xml"/><Relationship Id="rId104" Type="http://schemas.openxmlformats.org/officeDocument/2006/relationships/slideLayout" Target="../slideLayouts/slideLayout616.xml"/><Relationship Id="rId125" Type="http://schemas.openxmlformats.org/officeDocument/2006/relationships/slideLayout" Target="../slideLayouts/slideLayout637.xml"/><Relationship Id="rId146" Type="http://schemas.openxmlformats.org/officeDocument/2006/relationships/slideLayout" Target="../slideLayouts/slideLayout658.xml"/><Relationship Id="rId167" Type="http://schemas.openxmlformats.org/officeDocument/2006/relationships/slideLayout" Target="../slideLayouts/slideLayout679.xml"/><Relationship Id="rId188" Type="http://schemas.openxmlformats.org/officeDocument/2006/relationships/slideLayout" Target="../slideLayouts/slideLayout700.xml"/><Relationship Id="rId71" Type="http://schemas.openxmlformats.org/officeDocument/2006/relationships/slideLayout" Target="../slideLayouts/slideLayout583.xml"/><Relationship Id="rId92" Type="http://schemas.openxmlformats.org/officeDocument/2006/relationships/slideLayout" Target="../slideLayouts/slideLayout604.xml"/></Relationships>
</file>

<file path=ppt/slideMasters/_rels/slideMaster4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829.xml"/><Relationship Id="rId21" Type="http://schemas.openxmlformats.org/officeDocument/2006/relationships/slideLayout" Target="../slideLayouts/slideLayout733.xml"/><Relationship Id="rId42" Type="http://schemas.openxmlformats.org/officeDocument/2006/relationships/slideLayout" Target="../slideLayouts/slideLayout754.xml"/><Relationship Id="rId63" Type="http://schemas.openxmlformats.org/officeDocument/2006/relationships/slideLayout" Target="../slideLayouts/slideLayout775.xml"/><Relationship Id="rId84" Type="http://schemas.openxmlformats.org/officeDocument/2006/relationships/slideLayout" Target="../slideLayouts/slideLayout796.xml"/><Relationship Id="rId138" Type="http://schemas.openxmlformats.org/officeDocument/2006/relationships/slideLayout" Target="../slideLayouts/slideLayout850.xml"/><Relationship Id="rId159" Type="http://schemas.openxmlformats.org/officeDocument/2006/relationships/slideLayout" Target="../slideLayouts/slideLayout871.xml"/><Relationship Id="rId170" Type="http://schemas.openxmlformats.org/officeDocument/2006/relationships/slideLayout" Target="../slideLayouts/slideLayout882.xml"/><Relationship Id="rId191" Type="http://schemas.openxmlformats.org/officeDocument/2006/relationships/slideLayout" Target="../slideLayouts/slideLayout903.xml"/><Relationship Id="rId107" Type="http://schemas.openxmlformats.org/officeDocument/2006/relationships/slideLayout" Target="../slideLayouts/slideLayout819.xml"/><Relationship Id="rId11" Type="http://schemas.openxmlformats.org/officeDocument/2006/relationships/slideLayout" Target="../slideLayouts/slideLayout723.xml"/><Relationship Id="rId32" Type="http://schemas.openxmlformats.org/officeDocument/2006/relationships/slideLayout" Target="../slideLayouts/slideLayout744.xml"/><Relationship Id="rId53" Type="http://schemas.openxmlformats.org/officeDocument/2006/relationships/slideLayout" Target="../slideLayouts/slideLayout765.xml"/><Relationship Id="rId74" Type="http://schemas.openxmlformats.org/officeDocument/2006/relationships/slideLayout" Target="../slideLayouts/slideLayout786.xml"/><Relationship Id="rId128" Type="http://schemas.openxmlformats.org/officeDocument/2006/relationships/slideLayout" Target="../slideLayouts/slideLayout840.xml"/><Relationship Id="rId149" Type="http://schemas.openxmlformats.org/officeDocument/2006/relationships/slideLayout" Target="../slideLayouts/slideLayout861.xml"/><Relationship Id="rId5" Type="http://schemas.openxmlformats.org/officeDocument/2006/relationships/slideLayout" Target="../slideLayouts/slideLayout717.xml"/><Relationship Id="rId95" Type="http://schemas.openxmlformats.org/officeDocument/2006/relationships/slideLayout" Target="../slideLayouts/slideLayout807.xml"/><Relationship Id="rId160" Type="http://schemas.openxmlformats.org/officeDocument/2006/relationships/slideLayout" Target="../slideLayouts/slideLayout872.xml"/><Relationship Id="rId181" Type="http://schemas.openxmlformats.org/officeDocument/2006/relationships/slideLayout" Target="../slideLayouts/slideLayout893.xml"/><Relationship Id="rId22" Type="http://schemas.openxmlformats.org/officeDocument/2006/relationships/slideLayout" Target="../slideLayouts/slideLayout734.xml"/><Relationship Id="rId43" Type="http://schemas.openxmlformats.org/officeDocument/2006/relationships/slideLayout" Target="../slideLayouts/slideLayout755.xml"/><Relationship Id="rId64" Type="http://schemas.openxmlformats.org/officeDocument/2006/relationships/slideLayout" Target="../slideLayouts/slideLayout776.xml"/><Relationship Id="rId118" Type="http://schemas.openxmlformats.org/officeDocument/2006/relationships/slideLayout" Target="../slideLayouts/slideLayout830.xml"/><Relationship Id="rId139" Type="http://schemas.openxmlformats.org/officeDocument/2006/relationships/slideLayout" Target="../slideLayouts/slideLayout851.xml"/><Relationship Id="rId85" Type="http://schemas.openxmlformats.org/officeDocument/2006/relationships/slideLayout" Target="../slideLayouts/slideLayout797.xml"/><Relationship Id="rId150" Type="http://schemas.openxmlformats.org/officeDocument/2006/relationships/slideLayout" Target="../slideLayouts/slideLayout862.xml"/><Relationship Id="rId171" Type="http://schemas.openxmlformats.org/officeDocument/2006/relationships/slideLayout" Target="../slideLayouts/slideLayout883.xml"/><Relationship Id="rId192" Type="http://schemas.openxmlformats.org/officeDocument/2006/relationships/slideLayout" Target="../slideLayouts/slideLayout904.xml"/><Relationship Id="rId12" Type="http://schemas.openxmlformats.org/officeDocument/2006/relationships/slideLayout" Target="../slideLayouts/slideLayout724.xml"/><Relationship Id="rId33" Type="http://schemas.openxmlformats.org/officeDocument/2006/relationships/slideLayout" Target="../slideLayouts/slideLayout745.xml"/><Relationship Id="rId108" Type="http://schemas.openxmlformats.org/officeDocument/2006/relationships/slideLayout" Target="../slideLayouts/slideLayout820.xml"/><Relationship Id="rId129" Type="http://schemas.openxmlformats.org/officeDocument/2006/relationships/slideLayout" Target="../slideLayouts/slideLayout841.xml"/><Relationship Id="rId54" Type="http://schemas.openxmlformats.org/officeDocument/2006/relationships/slideLayout" Target="../slideLayouts/slideLayout766.xml"/><Relationship Id="rId75" Type="http://schemas.openxmlformats.org/officeDocument/2006/relationships/slideLayout" Target="../slideLayouts/slideLayout787.xml"/><Relationship Id="rId96" Type="http://schemas.openxmlformats.org/officeDocument/2006/relationships/slideLayout" Target="../slideLayouts/slideLayout808.xml"/><Relationship Id="rId140" Type="http://schemas.openxmlformats.org/officeDocument/2006/relationships/slideLayout" Target="../slideLayouts/slideLayout852.xml"/><Relationship Id="rId161" Type="http://schemas.openxmlformats.org/officeDocument/2006/relationships/slideLayout" Target="../slideLayouts/slideLayout873.xml"/><Relationship Id="rId182" Type="http://schemas.openxmlformats.org/officeDocument/2006/relationships/slideLayout" Target="../slideLayouts/slideLayout894.xml"/><Relationship Id="rId6" Type="http://schemas.openxmlformats.org/officeDocument/2006/relationships/slideLayout" Target="../slideLayouts/slideLayout718.xml"/><Relationship Id="rId23" Type="http://schemas.openxmlformats.org/officeDocument/2006/relationships/slideLayout" Target="../slideLayouts/slideLayout735.xml"/><Relationship Id="rId119" Type="http://schemas.openxmlformats.org/officeDocument/2006/relationships/slideLayout" Target="../slideLayouts/slideLayout831.xml"/><Relationship Id="rId44" Type="http://schemas.openxmlformats.org/officeDocument/2006/relationships/slideLayout" Target="../slideLayouts/slideLayout756.xml"/><Relationship Id="rId65" Type="http://schemas.openxmlformats.org/officeDocument/2006/relationships/slideLayout" Target="../slideLayouts/slideLayout777.xml"/><Relationship Id="rId86" Type="http://schemas.openxmlformats.org/officeDocument/2006/relationships/slideLayout" Target="../slideLayouts/slideLayout798.xml"/><Relationship Id="rId130" Type="http://schemas.openxmlformats.org/officeDocument/2006/relationships/slideLayout" Target="../slideLayouts/slideLayout842.xml"/><Relationship Id="rId151" Type="http://schemas.openxmlformats.org/officeDocument/2006/relationships/slideLayout" Target="../slideLayouts/slideLayout863.xml"/><Relationship Id="rId172" Type="http://schemas.openxmlformats.org/officeDocument/2006/relationships/slideLayout" Target="../slideLayouts/slideLayout884.xml"/><Relationship Id="rId193" Type="http://schemas.openxmlformats.org/officeDocument/2006/relationships/slideLayout" Target="../slideLayouts/slideLayout905.xml"/><Relationship Id="rId13" Type="http://schemas.openxmlformats.org/officeDocument/2006/relationships/slideLayout" Target="../slideLayouts/slideLayout725.xml"/><Relationship Id="rId109" Type="http://schemas.openxmlformats.org/officeDocument/2006/relationships/slideLayout" Target="../slideLayouts/slideLayout821.xml"/><Relationship Id="rId34" Type="http://schemas.openxmlformats.org/officeDocument/2006/relationships/slideLayout" Target="../slideLayouts/slideLayout746.xml"/><Relationship Id="rId55" Type="http://schemas.openxmlformats.org/officeDocument/2006/relationships/slideLayout" Target="../slideLayouts/slideLayout767.xml"/><Relationship Id="rId76" Type="http://schemas.openxmlformats.org/officeDocument/2006/relationships/slideLayout" Target="../slideLayouts/slideLayout788.xml"/><Relationship Id="rId97" Type="http://schemas.openxmlformats.org/officeDocument/2006/relationships/slideLayout" Target="../slideLayouts/slideLayout809.xml"/><Relationship Id="rId120" Type="http://schemas.openxmlformats.org/officeDocument/2006/relationships/slideLayout" Target="../slideLayouts/slideLayout832.xml"/><Relationship Id="rId141" Type="http://schemas.openxmlformats.org/officeDocument/2006/relationships/slideLayout" Target="../slideLayouts/slideLayout853.xml"/><Relationship Id="rId7" Type="http://schemas.openxmlformats.org/officeDocument/2006/relationships/slideLayout" Target="../slideLayouts/slideLayout719.xml"/><Relationship Id="rId162" Type="http://schemas.openxmlformats.org/officeDocument/2006/relationships/slideLayout" Target="../slideLayouts/slideLayout874.xml"/><Relationship Id="rId183" Type="http://schemas.openxmlformats.org/officeDocument/2006/relationships/slideLayout" Target="../slideLayouts/slideLayout895.xml"/><Relationship Id="rId2" Type="http://schemas.openxmlformats.org/officeDocument/2006/relationships/slideLayout" Target="../slideLayouts/slideLayout714.xml"/><Relationship Id="rId29" Type="http://schemas.openxmlformats.org/officeDocument/2006/relationships/slideLayout" Target="../slideLayouts/slideLayout741.xml"/><Relationship Id="rId24" Type="http://schemas.openxmlformats.org/officeDocument/2006/relationships/slideLayout" Target="../slideLayouts/slideLayout736.xml"/><Relationship Id="rId40" Type="http://schemas.openxmlformats.org/officeDocument/2006/relationships/slideLayout" Target="../slideLayouts/slideLayout752.xml"/><Relationship Id="rId45" Type="http://schemas.openxmlformats.org/officeDocument/2006/relationships/slideLayout" Target="../slideLayouts/slideLayout757.xml"/><Relationship Id="rId66" Type="http://schemas.openxmlformats.org/officeDocument/2006/relationships/slideLayout" Target="../slideLayouts/slideLayout778.xml"/><Relationship Id="rId87" Type="http://schemas.openxmlformats.org/officeDocument/2006/relationships/slideLayout" Target="../slideLayouts/slideLayout799.xml"/><Relationship Id="rId110" Type="http://schemas.openxmlformats.org/officeDocument/2006/relationships/slideLayout" Target="../slideLayouts/slideLayout822.xml"/><Relationship Id="rId115" Type="http://schemas.openxmlformats.org/officeDocument/2006/relationships/slideLayout" Target="../slideLayouts/slideLayout827.xml"/><Relationship Id="rId131" Type="http://schemas.openxmlformats.org/officeDocument/2006/relationships/slideLayout" Target="../slideLayouts/slideLayout843.xml"/><Relationship Id="rId136" Type="http://schemas.openxmlformats.org/officeDocument/2006/relationships/slideLayout" Target="../slideLayouts/slideLayout848.xml"/><Relationship Id="rId157" Type="http://schemas.openxmlformats.org/officeDocument/2006/relationships/slideLayout" Target="../slideLayouts/slideLayout869.xml"/><Relationship Id="rId178" Type="http://schemas.openxmlformats.org/officeDocument/2006/relationships/slideLayout" Target="../slideLayouts/slideLayout890.xml"/><Relationship Id="rId61" Type="http://schemas.openxmlformats.org/officeDocument/2006/relationships/slideLayout" Target="../slideLayouts/slideLayout773.xml"/><Relationship Id="rId82" Type="http://schemas.openxmlformats.org/officeDocument/2006/relationships/slideLayout" Target="../slideLayouts/slideLayout794.xml"/><Relationship Id="rId152" Type="http://schemas.openxmlformats.org/officeDocument/2006/relationships/slideLayout" Target="../slideLayouts/slideLayout864.xml"/><Relationship Id="rId173" Type="http://schemas.openxmlformats.org/officeDocument/2006/relationships/slideLayout" Target="../slideLayouts/slideLayout885.xml"/><Relationship Id="rId194" Type="http://schemas.openxmlformats.org/officeDocument/2006/relationships/slideLayout" Target="../slideLayouts/slideLayout906.xml"/><Relationship Id="rId199" Type="http://schemas.openxmlformats.org/officeDocument/2006/relationships/slideLayout" Target="../slideLayouts/slideLayout911.xml"/><Relationship Id="rId203" Type="http://schemas.openxmlformats.org/officeDocument/2006/relationships/theme" Target="../theme/theme4.xml"/><Relationship Id="rId19" Type="http://schemas.openxmlformats.org/officeDocument/2006/relationships/slideLayout" Target="../slideLayouts/slideLayout731.xml"/><Relationship Id="rId14" Type="http://schemas.openxmlformats.org/officeDocument/2006/relationships/slideLayout" Target="../slideLayouts/slideLayout726.xml"/><Relationship Id="rId30" Type="http://schemas.openxmlformats.org/officeDocument/2006/relationships/slideLayout" Target="../slideLayouts/slideLayout742.xml"/><Relationship Id="rId35" Type="http://schemas.openxmlformats.org/officeDocument/2006/relationships/slideLayout" Target="../slideLayouts/slideLayout747.xml"/><Relationship Id="rId56" Type="http://schemas.openxmlformats.org/officeDocument/2006/relationships/slideLayout" Target="../slideLayouts/slideLayout768.xml"/><Relationship Id="rId77" Type="http://schemas.openxmlformats.org/officeDocument/2006/relationships/slideLayout" Target="../slideLayouts/slideLayout789.xml"/><Relationship Id="rId100" Type="http://schemas.openxmlformats.org/officeDocument/2006/relationships/slideLayout" Target="../slideLayouts/slideLayout812.xml"/><Relationship Id="rId105" Type="http://schemas.openxmlformats.org/officeDocument/2006/relationships/slideLayout" Target="../slideLayouts/slideLayout817.xml"/><Relationship Id="rId126" Type="http://schemas.openxmlformats.org/officeDocument/2006/relationships/slideLayout" Target="../slideLayouts/slideLayout838.xml"/><Relationship Id="rId147" Type="http://schemas.openxmlformats.org/officeDocument/2006/relationships/slideLayout" Target="../slideLayouts/slideLayout859.xml"/><Relationship Id="rId168" Type="http://schemas.openxmlformats.org/officeDocument/2006/relationships/slideLayout" Target="../slideLayouts/slideLayout880.xml"/><Relationship Id="rId8" Type="http://schemas.openxmlformats.org/officeDocument/2006/relationships/slideLayout" Target="../slideLayouts/slideLayout720.xml"/><Relationship Id="rId51" Type="http://schemas.openxmlformats.org/officeDocument/2006/relationships/slideLayout" Target="../slideLayouts/slideLayout763.xml"/><Relationship Id="rId72" Type="http://schemas.openxmlformats.org/officeDocument/2006/relationships/slideLayout" Target="../slideLayouts/slideLayout784.xml"/><Relationship Id="rId93" Type="http://schemas.openxmlformats.org/officeDocument/2006/relationships/slideLayout" Target="../slideLayouts/slideLayout805.xml"/><Relationship Id="rId98" Type="http://schemas.openxmlformats.org/officeDocument/2006/relationships/slideLayout" Target="../slideLayouts/slideLayout810.xml"/><Relationship Id="rId121" Type="http://schemas.openxmlformats.org/officeDocument/2006/relationships/slideLayout" Target="../slideLayouts/slideLayout833.xml"/><Relationship Id="rId142" Type="http://schemas.openxmlformats.org/officeDocument/2006/relationships/slideLayout" Target="../slideLayouts/slideLayout854.xml"/><Relationship Id="rId163" Type="http://schemas.openxmlformats.org/officeDocument/2006/relationships/slideLayout" Target="../slideLayouts/slideLayout875.xml"/><Relationship Id="rId184" Type="http://schemas.openxmlformats.org/officeDocument/2006/relationships/slideLayout" Target="../slideLayouts/slideLayout896.xml"/><Relationship Id="rId189" Type="http://schemas.openxmlformats.org/officeDocument/2006/relationships/slideLayout" Target="../slideLayouts/slideLayout901.xml"/><Relationship Id="rId3" Type="http://schemas.openxmlformats.org/officeDocument/2006/relationships/slideLayout" Target="../slideLayouts/slideLayout715.xml"/><Relationship Id="rId25" Type="http://schemas.openxmlformats.org/officeDocument/2006/relationships/slideLayout" Target="../slideLayouts/slideLayout737.xml"/><Relationship Id="rId46" Type="http://schemas.openxmlformats.org/officeDocument/2006/relationships/slideLayout" Target="../slideLayouts/slideLayout758.xml"/><Relationship Id="rId67" Type="http://schemas.openxmlformats.org/officeDocument/2006/relationships/slideLayout" Target="../slideLayouts/slideLayout779.xml"/><Relationship Id="rId116" Type="http://schemas.openxmlformats.org/officeDocument/2006/relationships/slideLayout" Target="../slideLayouts/slideLayout828.xml"/><Relationship Id="rId137" Type="http://schemas.openxmlformats.org/officeDocument/2006/relationships/slideLayout" Target="../slideLayouts/slideLayout849.xml"/><Relationship Id="rId158" Type="http://schemas.openxmlformats.org/officeDocument/2006/relationships/slideLayout" Target="../slideLayouts/slideLayout870.xml"/><Relationship Id="rId20" Type="http://schemas.openxmlformats.org/officeDocument/2006/relationships/slideLayout" Target="../slideLayouts/slideLayout732.xml"/><Relationship Id="rId41" Type="http://schemas.openxmlformats.org/officeDocument/2006/relationships/slideLayout" Target="../slideLayouts/slideLayout753.xml"/><Relationship Id="rId62" Type="http://schemas.openxmlformats.org/officeDocument/2006/relationships/slideLayout" Target="../slideLayouts/slideLayout774.xml"/><Relationship Id="rId83" Type="http://schemas.openxmlformats.org/officeDocument/2006/relationships/slideLayout" Target="../slideLayouts/slideLayout795.xml"/><Relationship Id="rId88" Type="http://schemas.openxmlformats.org/officeDocument/2006/relationships/slideLayout" Target="../slideLayouts/slideLayout800.xml"/><Relationship Id="rId111" Type="http://schemas.openxmlformats.org/officeDocument/2006/relationships/slideLayout" Target="../slideLayouts/slideLayout823.xml"/><Relationship Id="rId132" Type="http://schemas.openxmlformats.org/officeDocument/2006/relationships/slideLayout" Target="../slideLayouts/slideLayout844.xml"/><Relationship Id="rId153" Type="http://schemas.openxmlformats.org/officeDocument/2006/relationships/slideLayout" Target="../slideLayouts/slideLayout865.xml"/><Relationship Id="rId174" Type="http://schemas.openxmlformats.org/officeDocument/2006/relationships/slideLayout" Target="../slideLayouts/slideLayout886.xml"/><Relationship Id="rId179" Type="http://schemas.openxmlformats.org/officeDocument/2006/relationships/slideLayout" Target="../slideLayouts/slideLayout891.xml"/><Relationship Id="rId195" Type="http://schemas.openxmlformats.org/officeDocument/2006/relationships/slideLayout" Target="../slideLayouts/slideLayout907.xml"/><Relationship Id="rId190" Type="http://schemas.openxmlformats.org/officeDocument/2006/relationships/slideLayout" Target="../slideLayouts/slideLayout902.xml"/><Relationship Id="rId15" Type="http://schemas.openxmlformats.org/officeDocument/2006/relationships/slideLayout" Target="../slideLayouts/slideLayout727.xml"/><Relationship Id="rId36" Type="http://schemas.openxmlformats.org/officeDocument/2006/relationships/slideLayout" Target="../slideLayouts/slideLayout748.xml"/><Relationship Id="rId57" Type="http://schemas.openxmlformats.org/officeDocument/2006/relationships/slideLayout" Target="../slideLayouts/slideLayout769.xml"/><Relationship Id="rId106" Type="http://schemas.openxmlformats.org/officeDocument/2006/relationships/slideLayout" Target="../slideLayouts/slideLayout818.xml"/><Relationship Id="rId127" Type="http://schemas.openxmlformats.org/officeDocument/2006/relationships/slideLayout" Target="../slideLayouts/slideLayout839.xml"/><Relationship Id="rId10" Type="http://schemas.openxmlformats.org/officeDocument/2006/relationships/slideLayout" Target="../slideLayouts/slideLayout722.xml"/><Relationship Id="rId31" Type="http://schemas.openxmlformats.org/officeDocument/2006/relationships/slideLayout" Target="../slideLayouts/slideLayout743.xml"/><Relationship Id="rId52" Type="http://schemas.openxmlformats.org/officeDocument/2006/relationships/slideLayout" Target="../slideLayouts/slideLayout764.xml"/><Relationship Id="rId73" Type="http://schemas.openxmlformats.org/officeDocument/2006/relationships/slideLayout" Target="../slideLayouts/slideLayout785.xml"/><Relationship Id="rId78" Type="http://schemas.openxmlformats.org/officeDocument/2006/relationships/slideLayout" Target="../slideLayouts/slideLayout790.xml"/><Relationship Id="rId94" Type="http://schemas.openxmlformats.org/officeDocument/2006/relationships/slideLayout" Target="../slideLayouts/slideLayout806.xml"/><Relationship Id="rId99" Type="http://schemas.openxmlformats.org/officeDocument/2006/relationships/slideLayout" Target="../slideLayouts/slideLayout811.xml"/><Relationship Id="rId101" Type="http://schemas.openxmlformats.org/officeDocument/2006/relationships/slideLayout" Target="../slideLayouts/slideLayout813.xml"/><Relationship Id="rId122" Type="http://schemas.openxmlformats.org/officeDocument/2006/relationships/slideLayout" Target="../slideLayouts/slideLayout834.xml"/><Relationship Id="rId143" Type="http://schemas.openxmlformats.org/officeDocument/2006/relationships/slideLayout" Target="../slideLayouts/slideLayout855.xml"/><Relationship Id="rId148" Type="http://schemas.openxmlformats.org/officeDocument/2006/relationships/slideLayout" Target="../slideLayouts/slideLayout860.xml"/><Relationship Id="rId164" Type="http://schemas.openxmlformats.org/officeDocument/2006/relationships/slideLayout" Target="../slideLayouts/slideLayout876.xml"/><Relationship Id="rId169" Type="http://schemas.openxmlformats.org/officeDocument/2006/relationships/slideLayout" Target="../slideLayouts/slideLayout881.xml"/><Relationship Id="rId185" Type="http://schemas.openxmlformats.org/officeDocument/2006/relationships/slideLayout" Target="../slideLayouts/slideLayout897.xml"/><Relationship Id="rId4" Type="http://schemas.openxmlformats.org/officeDocument/2006/relationships/slideLayout" Target="../slideLayouts/slideLayout716.xml"/><Relationship Id="rId9" Type="http://schemas.openxmlformats.org/officeDocument/2006/relationships/slideLayout" Target="../slideLayouts/slideLayout721.xml"/><Relationship Id="rId180" Type="http://schemas.openxmlformats.org/officeDocument/2006/relationships/slideLayout" Target="../slideLayouts/slideLayout892.xml"/><Relationship Id="rId26" Type="http://schemas.openxmlformats.org/officeDocument/2006/relationships/slideLayout" Target="../slideLayouts/slideLayout738.xml"/><Relationship Id="rId47" Type="http://schemas.openxmlformats.org/officeDocument/2006/relationships/slideLayout" Target="../slideLayouts/slideLayout759.xml"/><Relationship Id="rId68" Type="http://schemas.openxmlformats.org/officeDocument/2006/relationships/slideLayout" Target="../slideLayouts/slideLayout780.xml"/><Relationship Id="rId89" Type="http://schemas.openxmlformats.org/officeDocument/2006/relationships/slideLayout" Target="../slideLayouts/slideLayout801.xml"/><Relationship Id="rId112" Type="http://schemas.openxmlformats.org/officeDocument/2006/relationships/slideLayout" Target="../slideLayouts/slideLayout824.xml"/><Relationship Id="rId133" Type="http://schemas.openxmlformats.org/officeDocument/2006/relationships/slideLayout" Target="../slideLayouts/slideLayout845.xml"/><Relationship Id="rId154" Type="http://schemas.openxmlformats.org/officeDocument/2006/relationships/slideLayout" Target="../slideLayouts/slideLayout866.xml"/><Relationship Id="rId175" Type="http://schemas.openxmlformats.org/officeDocument/2006/relationships/slideLayout" Target="../slideLayouts/slideLayout887.xml"/><Relationship Id="rId196" Type="http://schemas.openxmlformats.org/officeDocument/2006/relationships/slideLayout" Target="../slideLayouts/slideLayout908.xml"/><Relationship Id="rId200" Type="http://schemas.openxmlformats.org/officeDocument/2006/relationships/slideLayout" Target="../slideLayouts/slideLayout912.xml"/><Relationship Id="rId16" Type="http://schemas.openxmlformats.org/officeDocument/2006/relationships/slideLayout" Target="../slideLayouts/slideLayout728.xml"/><Relationship Id="rId37" Type="http://schemas.openxmlformats.org/officeDocument/2006/relationships/slideLayout" Target="../slideLayouts/slideLayout749.xml"/><Relationship Id="rId58" Type="http://schemas.openxmlformats.org/officeDocument/2006/relationships/slideLayout" Target="../slideLayouts/slideLayout770.xml"/><Relationship Id="rId79" Type="http://schemas.openxmlformats.org/officeDocument/2006/relationships/slideLayout" Target="../slideLayouts/slideLayout791.xml"/><Relationship Id="rId102" Type="http://schemas.openxmlformats.org/officeDocument/2006/relationships/slideLayout" Target="../slideLayouts/slideLayout814.xml"/><Relationship Id="rId123" Type="http://schemas.openxmlformats.org/officeDocument/2006/relationships/slideLayout" Target="../slideLayouts/slideLayout835.xml"/><Relationship Id="rId144" Type="http://schemas.openxmlformats.org/officeDocument/2006/relationships/slideLayout" Target="../slideLayouts/slideLayout856.xml"/><Relationship Id="rId90" Type="http://schemas.openxmlformats.org/officeDocument/2006/relationships/slideLayout" Target="../slideLayouts/slideLayout802.xml"/><Relationship Id="rId165" Type="http://schemas.openxmlformats.org/officeDocument/2006/relationships/slideLayout" Target="../slideLayouts/slideLayout877.xml"/><Relationship Id="rId186" Type="http://schemas.openxmlformats.org/officeDocument/2006/relationships/slideLayout" Target="../slideLayouts/slideLayout898.xml"/><Relationship Id="rId27" Type="http://schemas.openxmlformats.org/officeDocument/2006/relationships/slideLayout" Target="../slideLayouts/slideLayout739.xml"/><Relationship Id="rId48" Type="http://schemas.openxmlformats.org/officeDocument/2006/relationships/slideLayout" Target="../slideLayouts/slideLayout760.xml"/><Relationship Id="rId69" Type="http://schemas.openxmlformats.org/officeDocument/2006/relationships/slideLayout" Target="../slideLayouts/slideLayout781.xml"/><Relationship Id="rId113" Type="http://schemas.openxmlformats.org/officeDocument/2006/relationships/slideLayout" Target="../slideLayouts/slideLayout825.xml"/><Relationship Id="rId134" Type="http://schemas.openxmlformats.org/officeDocument/2006/relationships/slideLayout" Target="../slideLayouts/slideLayout846.xml"/><Relationship Id="rId80" Type="http://schemas.openxmlformats.org/officeDocument/2006/relationships/slideLayout" Target="../slideLayouts/slideLayout792.xml"/><Relationship Id="rId155" Type="http://schemas.openxmlformats.org/officeDocument/2006/relationships/slideLayout" Target="../slideLayouts/slideLayout867.xml"/><Relationship Id="rId176" Type="http://schemas.openxmlformats.org/officeDocument/2006/relationships/slideLayout" Target="../slideLayouts/slideLayout888.xml"/><Relationship Id="rId197" Type="http://schemas.openxmlformats.org/officeDocument/2006/relationships/slideLayout" Target="../slideLayouts/slideLayout909.xml"/><Relationship Id="rId201" Type="http://schemas.openxmlformats.org/officeDocument/2006/relationships/slideLayout" Target="../slideLayouts/slideLayout913.xml"/><Relationship Id="rId17" Type="http://schemas.openxmlformats.org/officeDocument/2006/relationships/slideLayout" Target="../slideLayouts/slideLayout729.xml"/><Relationship Id="rId38" Type="http://schemas.openxmlformats.org/officeDocument/2006/relationships/slideLayout" Target="../slideLayouts/slideLayout750.xml"/><Relationship Id="rId59" Type="http://schemas.openxmlformats.org/officeDocument/2006/relationships/slideLayout" Target="../slideLayouts/slideLayout771.xml"/><Relationship Id="rId103" Type="http://schemas.openxmlformats.org/officeDocument/2006/relationships/slideLayout" Target="../slideLayouts/slideLayout815.xml"/><Relationship Id="rId124" Type="http://schemas.openxmlformats.org/officeDocument/2006/relationships/slideLayout" Target="../slideLayouts/slideLayout836.xml"/><Relationship Id="rId70" Type="http://schemas.openxmlformats.org/officeDocument/2006/relationships/slideLayout" Target="../slideLayouts/slideLayout782.xml"/><Relationship Id="rId91" Type="http://schemas.openxmlformats.org/officeDocument/2006/relationships/slideLayout" Target="../slideLayouts/slideLayout803.xml"/><Relationship Id="rId145" Type="http://schemas.openxmlformats.org/officeDocument/2006/relationships/slideLayout" Target="../slideLayouts/slideLayout857.xml"/><Relationship Id="rId166" Type="http://schemas.openxmlformats.org/officeDocument/2006/relationships/slideLayout" Target="../slideLayouts/slideLayout878.xml"/><Relationship Id="rId187" Type="http://schemas.openxmlformats.org/officeDocument/2006/relationships/slideLayout" Target="../slideLayouts/slideLayout899.xml"/><Relationship Id="rId1" Type="http://schemas.openxmlformats.org/officeDocument/2006/relationships/slideLayout" Target="../slideLayouts/slideLayout713.xml"/><Relationship Id="rId28" Type="http://schemas.openxmlformats.org/officeDocument/2006/relationships/slideLayout" Target="../slideLayouts/slideLayout740.xml"/><Relationship Id="rId49" Type="http://schemas.openxmlformats.org/officeDocument/2006/relationships/slideLayout" Target="../slideLayouts/slideLayout761.xml"/><Relationship Id="rId114" Type="http://schemas.openxmlformats.org/officeDocument/2006/relationships/slideLayout" Target="../slideLayouts/slideLayout826.xml"/><Relationship Id="rId60" Type="http://schemas.openxmlformats.org/officeDocument/2006/relationships/slideLayout" Target="../slideLayouts/slideLayout772.xml"/><Relationship Id="rId81" Type="http://schemas.openxmlformats.org/officeDocument/2006/relationships/slideLayout" Target="../slideLayouts/slideLayout793.xml"/><Relationship Id="rId135" Type="http://schemas.openxmlformats.org/officeDocument/2006/relationships/slideLayout" Target="../slideLayouts/slideLayout847.xml"/><Relationship Id="rId156" Type="http://schemas.openxmlformats.org/officeDocument/2006/relationships/slideLayout" Target="../slideLayouts/slideLayout868.xml"/><Relationship Id="rId177" Type="http://schemas.openxmlformats.org/officeDocument/2006/relationships/slideLayout" Target="../slideLayouts/slideLayout889.xml"/><Relationship Id="rId198" Type="http://schemas.openxmlformats.org/officeDocument/2006/relationships/slideLayout" Target="../slideLayouts/slideLayout910.xml"/><Relationship Id="rId202" Type="http://schemas.openxmlformats.org/officeDocument/2006/relationships/slideLayout" Target="../slideLayouts/slideLayout914.xml"/><Relationship Id="rId18" Type="http://schemas.openxmlformats.org/officeDocument/2006/relationships/slideLayout" Target="../slideLayouts/slideLayout730.xml"/><Relationship Id="rId39" Type="http://schemas.openxmlformats.org/officeDocument/2006/relationships/slideLayout" Target="../slideLayouts/slideLayout751.xml"/><Relationship Id="rId50" Type="http://schemas.openxmlformats.org/officeDocument/2006/relationships/slideLayout" Target="../slideLayouts/slideLayout762.xml"/><Relationship Id="rId104" Type="http://schemas.openxmlformats.org/officeDocument/2006/relationships/slideLayout" Target="../slideLayouts/slideLayout816.xml"/><Relationship Id="rId125" Type="http://schemas.openxmlformats.org/officeDocument/2006/relationships/slideLayout" Target="../slideLayouts/slideLayout837.xml"/><Relationship Id="rId146" Type="http://schemas.openxmlformats.org/officeDocument/2006/relationships/slideLayout" Target="../slideLayouts/slideLayout858.xml"/><Relationship Id="rId167" Type="http://schemas.openxmlformats.org/officeDocument/2006/relationships/slideLayout" Target="../slideLayouts/slideLayout879.xml"/><Relationship Id="rId188" Type="http://schemas.openxmlformats.org/officeDocument/2006/relationships/slideLayout" Target="../slideLayouts/slideLayout900.xml"/><Relationship Id="rId71" Type="http://schemas.openxmlformats.org/officeDocument/2006/relationships/slideLayout" Target="../slideLayouts/slideLayout783.xml"/><Relationship Id="rId92" Type="http://schemas.openxmlformats.org/officeDocument/2006/relationships/slideLayout" Target="../slideLayouts/slideLayout80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27.xml"/><Relationship Id="rId18" Type="http://schemas.openxmlformats.org/officeDocument/2006/relationships/slideLayout" Target="../slideLayouts/slideLayout932.xml"/><Relationship Id="rId26" Type="http://schemas.openxmlformats.org/officeDocument/2006/relationships/slideLayout" Target="../slideLayouts/slideLayout940.xml"/><Relationship Id="rId39" Type="http://schemas.openxmlformats.org/officeDocument/2006/relationships/slideLayout" Target="../slideLayouts/slideLayout953.xml"/><Relationship Id="rId21" Type="http://schemas.openxmlformats.org/officeDocument/2006/relationships/slideLayout" Target="../slideLayouts/slideLayout935.xml"/><Relationship Id="rId34" Type="http://schemas.openxmlformats.org/officeDocument/2006/relationships/slideLayout" Target="../slideLayouts/slideLayout948.xml"/><Relationship Id="rId42" Type="http://schemas.openxmlformats.org/officeDocument/2006/relationships/slideLayout" Target="../slideLayouts/slideLayout956.xml"/><Relationship Id="rId47" Type="http://schemas.openxmlformats.org/officeDocument/2006/relationships/slideLayout" Target="../slideLayouts/slideLayout961.xml"/><Relationship Id="rId50" Type="http://schemas.openxmlformats.org/officeDocument/2006/relationships/slideLayout" Target="../slideLayouts/slideLayout964.xml"/><Relationship Id="rId55" Type="http://schemas.openxmlformats.org/officeDocument/2006/relationships/slideLayout" Target="../slideLayouts/slideLayout969.xml"/><Relationship Id="rId7" Type="http://schemas.openxmlformats.org/officeDocument/2006/relationships/slideLayout" Target="../slideLayouts/slideLayout921.xml"/><Relationship Id="rId2" Type="http://schemas.openxmlformats.org/officeDocument/2006/relationships/slideLayout" Target="../slideLayouts/slideLayout916.xml"/><Relationship Id="rId16" Type="http://schemas.openxmlformats.org/officeDocument/2006/relationships/slideLayout" Target="../slideLayouts/slideLayout930.xml"/><Relationship Id="rId29" Type="http://schemas.openxmlformats.org/officeDocument/2006/relationships/slideLayout" Target="../slideLayouts/slideLayout943.xml"/><Relationship Id="rId11" Type="http://schemas.openxmlformats.org/officeDocument/2006/relationships/slideLayout" Target="../slideLayouts/slideLayout925.xml"/><Relationship Id="rId24" Type="http://schemas.openxmlformats.org/officeDocument/2006/relationships/slideLayout" Target="../slideLayouts/slideLayout938.xml"/><Relationship Id="rId32" Type="http://schemas.openxmlformats.org/officeDocument/2006/relationships/slideLayout" Target="../slideLayouts/slideLayout946.xml"/><Relationship Id="rId37" Type="http://schemas.openxmlformats.org/officeDocument/2006/relationships/slideLayout" Target="../slideLayouts/slideLayout951.xml"/><Relationship Id="rId40" Type="http://schemas.openxmlformats.org/officeDocument/2006/relationships/slideLayout" Target="../slideLayouts/slideLayout954.xml"/><Relationship Id="rId45" Type="http://schemas.openxmlformats.org/officeDocument/2006/relationships/slideLayout" Target="../slideLayouts/slideLayout959.xml"/><Relationship Id="rId53" Type="http://schemas.openxmlformats.org/officeDocument/2006/relationships/slideLayout" Target="../slideLayouts/slideLayout967.xml"/><Relationship Id="rId58" Type="http://schemas.openxmlformats.org/officeDocument/2006/relationships/theme" Target="../theme/theme5.xml"/><Relationship Id="rId5" Type="http://schemas.openxmlformats.org/officeDocument/2006/relationships/slideLayout" Target="../slideLayouts/slideLayout919.xml"/><Relationship Id="rId19" Type="http://schemas.openxmlformats.org/officeDocument/2006/relationships/slideLayout" Target="../slideLayouts/slideLayout933.xml"/><Relationship Id="rId4" Type="http://schemas.openxmlformats.org/officeDocument/2006/relationships/slideLayout" Target="../slideLayouts/slideLayout918.xml"/><Relationship Id="rId9" Type="http://schemas.openxmlformats.org/officeDocument/2006/relationships/slideLayout" Target="../slideLayouts/slideLayout923.xml"/><Relationship Id="rId14" Type="http://schemas.openxmlformats.org/officeDocument/2006/relationships/slideLayout" Target="../slideLayouts/slideLayout928.xml"/><Relationship Id="rId22" Type="http://schemas.openxmlformats.org/officeDocument/2006/relationships/slideLayout" Target="../slideLayouts/slideLayout936.xml"/><Relationship Id="rId27" Type="http://schemas.openxmlformats.org/officeDocument/2006/relationships/slideLayout" Target="../slideLayouts/slideLayout941.xml"/><Relationship Id="rId30" Type="http://schemas.openxmlformats.org/officeDocument/2006/relationships/slideLayout" Target="../slideLayouts/slideLayout944.xml"/><Relationship Id="rId35" Type="http://schemas.openxmlformats.org/officeDocument/2006/relationships/slideLayout" Target="../slideLayouts/slideLayout949.xml"/><Relationship Id="rId43" Type="http://schemas.openxmlformats.org/officeDocument/2006/relationships/slideLayout" Target="../slideLayouts/slideLayout957.xml"/><Relationship Id="rId48" Type="http://schemas.openxmlformats.org/officeDocument/2006/relationships/slideLayout" Target="../slideLayouts/slideLayout962.xml"/><Relationship Id="rId56" Type="http://schemas.openxmlformats.org/officeDocument/2006/relationships/slideLayout" Target="../slideLayouts/slideLayout970.xml"/><Relationship Id="rId8" Type="http://schemas.openxmlformats.org/officeDocument/2006/relationships/slideLayout" Target="../slideLayouts/slideLayout922.xml"/><Relationship Id="rId51" Type="http://schemas.openxmlformats.org/officeDocument/2006/relationships/slideLayout" Target="../slideLayouts/slideLayout965.xml"/><Relationship Id="rId3" Type="http://schemas.openxmlformats.org/officeDocument/2006/relationships/slideLayout" Target="../slideLayouts/slideLayout917.xml"/><Relationship Id="rId12" Type="http://schemas.openxmlformats.org/officeDocument/2006/relationships/slideLayout" Target="../slideLayouts/slideLayout926.xml"/><Relationship Id="rId17" Type="http://schemas.openxmlformats.org/officeDocument/2006/relationships/slideLayout" Target="../slideLayouts/slideLayout931.xml"/><Relationship Id="rId25" Type="http://schemas.openxmlformats.org/officeDocument/2006/relationships/slideLayout" Target="../slideLayouts/slideLayout939.xml"/><Relationship Id="rId33" Type="http://schemas.openxmlformats.org/officeDocument/2006/relationships/slideLayout" Target="../slideLayouts/slideLayout947.xml"/><Relationship Id="rId38" Type="http://schemas.openxmlformats.org/officeDocument/2006/relationships/slideLayout" Target="../slideLayouts/slideLayout952.xml"/><Relationship Id="rId46" Type="http://schemas.openxmlformats.org/officeDocument/2006/relationships/slideLayout" Target="../slideLayouts/slideLayout960.xml"/><Relationship Id="rId20" Type="http://schemas.openxmlformats.org/officeDocument/2006/relationships/slideLayout" Target="../slideLayouts/slideLayout934.xml"/><Relationship Id="rId41" Type="http://schemas.openxmlformats.org/officeDocument/2006/relationships/slideLayout" Target="../slideLayouts/slideLayout955.xml"/><Relationship Id="rId54" Type="http://schemas.openxmlformats.org/officeDocument/2006/relationships/slideLayout" Target="../slideLayouts/slideLayout968.xml"/><Relationship Id="rId1" Type="http://schemas.openxmlformats.org/officeDocument/2006/relationships/slideLayout" Target="../slideLayouts/slideLayout915.xml"/><Relationship Id="rId6" Type="http://schemas.openxmlformats.org/officeDocument/2006/relationships/slideLayout" Target="../slideLayouts/slideLayout920.xml"/><Relationship Id="rId15" Type="http://schemas.openxmlformats.org/officeDocument/2006/relationships/slideLayout" Target="../slideLayouts/slideLayout929.xml"/><Relationship Id="rId23" Type="http://schemas.openxmlformats.org/officeDocument/2006/relationships/slideLayout" Target="../slideLayouts/slideLayout937.xml"/><Relationship Id="rId28" Type="http://schemas.openxmlformats.org/officeDocument/2006/relationships/slideLayout" Target="../slideLayouts/slideLayout942.xml"/><Relationship Id="rId36" Type="http://schemas.openxmlformats.org/officeDocument/2006/relationships/slideLayout" Target="../slideLayouts/slideLayout950.xml"/><Relationship Id="rId49" Type="http://schemas.openxmlformats.org/officeDocument/2006/relationships/slideLayout" Target="../slideLayouts/slideLayout963.xml"/><Relationship Id="rId57" Type="http://schemas.openxmlformats.org/officeDocument/2006/relationships/slideLayout" Target="../slideLayouts/slideLayout971.xml"/><Relationship Id="rId10" Type="http://schemas.openxmlformats.org/officeDocument/2006/relationships/slideLayout" Target="../slideLayouts/slideLayout924.xml"/><Relationship Id="rId31" Type="http://schemas.openxmlformats.org/officeDocument/2006/relationships/slideLayout" Target="../slideLayouts/slideLayout945.xml"/><Relationship Id="rId44" Type="http://schemas.openxmlformats.org/officeDocument/2006/relationships/slideLayout" Target="../slideLayouts/slideLayout958.xml"/><Relationship Id="rId52" Type="http://schemas.openxmlformats.org/officeDocument/2006/relationships/slideLayout" Target="../slideLayouts/slideLayout9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6/17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389" r:id="rId1"/>
    <p:sldLayoutId id="2147488390" r:id="rId2"/>
    <p:sldLayoutId id="2147488391" r:id="rId3"/>
    <p:sldLayoutId id="2147488392" r:id="rId4"/>
    <p:sldLayoutId id="2147488393" r:id="rId5"/>
    <p:sldLayoutId id="2147488338" r:id="rId6"/>
    <p:sldLayoutId id="2147488339" r:id="rId7"/>
    <p:sldLayoutId id="2147488340" r:id="rId8"/>
    <p:sldLayoutId id="2147488341" r:id="rId9"/>
    <p:sldLayoutId id="2147488342" r:id="rId10"/>
    <p:sldLayoutId id="2147488343" r:id="rId11"/>
    <p:sldLayoutId id="2147488242" r:id="rId12"/>
    <p:sldLayoutId id="2147488326" r:id="rId13"/>
    <p:sldLayoutId id="2147488244" r:id="rId14"/>
    <p:sldLayoutId id="214748824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807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8" r:id="rId1"/>
    <p:sldLayoutId id="2147485559" r:id="rId2"/>
    <p:sldLayoutId id="2147485560" r:id="rId3"/>
    <p:sldLayoutId id="2147485561" r:id="rId4"/>
    <p:sldLayoutId id="2147485562" r:id="rId5"/>
    <p:sldLayoutId id="2147485563" r:id="rId6"/>
    <p:sldLayoutId id="2147485564" r:id="rId7"/>
    <p:sldLayoutId id="2147485565" r:id="rId8"/>
    <p:sldLayoutId id="2147485566" r:id="rId9"/>
    <p:sldLayoutId id="2147485567" r:id="rId10"/>
    <p:sldLayoutId id="2147485568" r:id="rId11"/>
    <p:sldLayoutId id="2147488243" r:id="rId12"/>
    <p:sldLayoutId id="2147484557" r:id="rId13"/>
    <p:sldLayoutId id="2147484696" r:id="rId14"/>
    <p:sldLayoutId id="2147484656" r:id="rId15"/>
    <p:sldLayoutId id="2147488246" r:id="rId16"/>
    <p:sldLayoutId id="2147488247" r:id="rId17"/>
    <p:sldLayoutId id="2147488248" r:id="rId18"/>
    <p:sldLayoutId id="2147488249" r:id="rId19"/>
    <p:sldLayoutId id="2147488250" r:id="rId20"/>
    <p:sldLayoutId id="2147488251" r:id="rId21"/>
    <p:sldLayoutId id="2147488252" r:id="rId22"/>
    <p:sldLayoutId id="2147487028" r:id="rId23"/>
    <p:sldLayoutId id="2147487029" r:id="rId24"/>
    <p:sldLayoutId id="2147487030" r:id="rId25"/>
    <p:sldLayoutId id="2147487031" r:id="rId26"/>
    <p:sldLayoutId id="2147487032" r:id="rId27"/>
    <p:sldLayoutId id="2147487033" r:id="rId28"/>
    <p:sldLayoutId id="2147487034" r:id="rId29"/>
    <p:sldLayoutId id="2147487035" r:id="rId30"/>
    <p:sldLayoutId id="2147487036" r:id="rId31"/>
    <p:sldLayoutId id="2147487037" r:id="rId32"/>
    <p:sldLayoutId id="2147487038" r:id="rId33"/>
    <p:sldLayoutId id="2147487178" r:id="rId34"/>
    <p:sldLayoutId id="2147487179" r:id="rId35"/>
    <p:sldLayoutId id="2147487180" r:id="rId36"/>
    <p:sldLayoutId id="2147487039" r:id="rId37"/>
    <p:sldLayoutId id="2147487182" r:id="rId38"/>
    <p:sldLayoutId id="2147487183" r:id="rId39"/>
    <p:sldLayoutId id="2147487184" r:id="rId40"/>
    <p:sldLayoutId id="2147487185" r:id="rId41"/>
    <p:sldLayoutId id="2147487040" r:id="rId42"/>
    <p:sldLayoutId id="2147487041" r:id="rId43"/>
    <p:sldLayoutId id="2147487188" r:id="rId44"/>
    <p:sldLayoutId id="2147487189" r:id="rId45"/>
    <p:sldLayoutId id="2147487190" r:id="rId46"/>
    <p:sldLayoutId id="2147487042" r:id="rId47"/>
    <p:sldLayoutId id="2147487192" r:id="rId48"/>
    <p:sldLayoutId id="2147487193" r:id="rId49"/>
    <p:sldLayoutId id="2147487043" r:id="rId50"/>
    <p:sldLayoutId id="2147487044" r:id="rId51"/>
    <p:sldLayoutId id="2147487045" r:id="rId52"/>
    <p:sldLayoutId id="2147487046" r:id="rId53"/>
    <p:sldLayoutId id="2147487047" r:id="rId54"/>
    <p:sldLayoutId id="2147487048" r:id="rId55"/>
    <p:sldLayoutId id="2147487049" r:id="rId56"/>
    <p:sldLayoutId id="2147487050" r:id="rId57"/>
    <p:sldLayoutId id="2147487051" r:id="rId58"/>
    <p:sldLayoutId id="2147487052" r:id="rId59"/>
    <p:sldLayoutId id="2147487053" r:id="rId60"/>
    <p:sldLayoutId id="2147487205" r:id="rId61"/>
    <p:sldLayoutId id="2147487207" r:id="rId62"/>
    <p:sldLayoutId id="2147487208" r:id="rId63"/>
    <p:sldLayoutId id="2147487209" r:id="rId64"/>
    <p:sldLayoutId id="2147487210" r:id="rId65"/>
    <p:sldLayoutId id="2147487211" r:id="rId66"/>
    <p:sldLayoutId id="2147487212" r:id="rId67"/>
    <p:sldLayoutId id="2147487213" r:id="rId68"/>
    <p:sldLayoutId id="2147487214" r:id="rId69"/>
    <p:sldLayoutId id="2147487215" r:id="rId70"/>
    <p:sldLayoutId id="2147487225" r:id="rId71"/>
    <p:sldLayoutId id="2147487226" r:id="rId72"/>
    <p:sldLayoutId id="2147487227" r:id="rId73"/>
    <p:sldLayoutId id="2147487228" r:id="rId74"/>
    <p:sldLayoutId id="2147487229" r:id="rId75"/>
    <p:sldLayoutId id="2147487058" r:id="rId76"/>
    <p:sldLayoutId id="2147487231" r:id="rId77"/>
    <p:sldLayoutId id="2147487232" r:id="rId78"/>
    <p:sldLayoutId id="2147487233" r:id="rId79"/>
    <p:sldLayoutId id="2147487234" r:id="rId80"/>
    <p:sldLayoutId id="2147487235" r:id="rId81"/>
    <p:sldLayoutId id="2147487236" r:id="rId82"/>
    <p:sldLayoutId id="2147487237" r:id="rId83"/>
    <p:sldLayoutId id="2147487059" r:id="rId84"/>
    <p:sldLayoutId id="2147487060" r:id="rId85"/>
    <p:sldLayoutId id="2147487061" r:id="rId86"/>
    <p:sldLayoutId id="2147487062" r:id="rId87"/>
    <p:sldLayoutId id="2147487242" r:id="rId88"/>
    <p:sldLayoutId id="2147487063" r:id="rId89"/>
    <p:sldLayoutId id="2147487244" r:id="rId90"/>
    <p:sldLayoutId id="2147487245" r:id="rId91"/>
    <p:sldLayoutId id="2147487246" r:id="rId92"/>
    <p:sldLayoutId id="2147487064" r:id="rId93"/>
    <p:sldLayoutId id="2147487248" r:id="rId94"/>
    <p:sldLayoutId id="2147487249" r:id="rId95"/>
    <p:sldLayoutId id="2147487250" r:id="rId96"/>
    <p:sldLayoutId id="2147487251" r:id="rId97"/>
    <p:sldLayoutId id="2147487252" r:id="rId98"/>
    <p:sldLayoutId id="2147487253" r:id="rId99"/>
    <p:sldLayoutId id="2147487065" r:id="rId100"/>
    <p:sldLayoutId id="2147487066" r:id="rId101"/>
    <p:sldLayoutId id="2147487067" r:id="rId102"/>
    <p:sldLayoutId id="2147487068" r:id="rId103"/>
    <p:sldLayoutId id="2147487069" r:id="rId104"/>
    <p:sldLayoutId id="2147487070" r:id="rId105"/>
    <p:sldLayoutId id="2147487071" r:id="rId106"/>
    <p:sldLayoutId id="2147487072" r:id="rId107"/>
    <p:sldLayoutId id="2147487073" r:id="rId108"/>
    <p:sldLayoutId id="2147487074" r:id="rId109"/>
    <p:sldLayoutId id="2147487075" r:id="rId110"/>
    <p:sldLayoutId id="2147487155" r:id="rId111"/>
    <p:sldLayoutId id="2147487265" r:id="rId112"/>
    <p:sldLayoutId id="2147487266" r:id="rId113"/>
    <p:sldLayoutId id="2147487076" r:id="rId114"/>
    <p:sldLayoutId id="2147487078" r:id="rId115"/>
    <p:sldLayoutId id="2147487270" r:id="rId116"/>
    <p:sldLayoutId id="2147487271" r:id="rId117"/>
    <p:sldLayoutId id="2147487272" r:id="rId118"/>
    <p:sldLayoutId id="2147487273" r:id="rId119"/>
    <p:sldLayoutId id="2147487274" r:id="rId120"/>
    <p:sldLayoutId id="2147487275" r:id="rId121"/>
    <p:sldLayoutId id="2147487276" r:id="rId122"/>
    <p:sldLayoutId id="2147487277" r:id="rId123"/>
    <p:sldLayoutId id="2147487079" r:id="rId124"/>
    <p:sldLayoutId id="2147487080" r:id="rId125"/>
    <p:sldLayoutId id="2147487081" r:id="rId126"/>
    <p:sldLayoutId id="2147487082" r:id="rId127"/>
    <p:sldLayoutId id="2147487083" r:id="rId128"/>
    <p:sldLayoutId id="2147487084" r:id="rId129"/>
    <p:sldLayoutId id="2147487085" r:id="rId130"/>
    <p:sldLayoutId id="2147487086" r:id="rId131"/>
    <p:sldLayoutId id="2147487311" r:id="rId132"/>
    <p:sldLayoutId id="2147487096" r:id="rId133"/>
    <p:sldLayoutId id="2147487098" r:id="rId134"/>
    <p:sldLayoutId id="2147487099" r:id="rId135"/>
    <p:sldLayoutId id="2147487104" r:id="rId136"/>
    <p:sldLayoutId id="2147487326" r:id="rId137"/>
    <p:sldLayoutId id="2147487105" r:id="rId138"/>
    <p:sldLayoutId id="2147487106" r:id="rId139"/>
    <p:sldLayoutId id="2147487107" r:id="rId140"/>
    <p:sldLayoutId id="2147487108" r:id="rId141"/>
    <p:sldLayoutId id="2147487109" r:id="rId142"/>
    <p:sldLayoutId id="2147487110" r:id="rId143"/>
    <p:sldLayoutId id="2147487111" r:id="rId144"/>
    <p:sldLayoutId id="2147487112" r:id="rId145"/>
    <p:sldLayoutId id="2147487113" r:id="rId146"/>
    <p:sldLayoutId id="2147487118" r:id="rId147"/>
    <p:sldLayoutId id="2147487119" r:id="rId148"/>
    <p:sldLayoutId id="2147487120" r:id="rId149"/>
    <p:sldLayoutId id="2147487121" r:id="rId150"/>
    <p:sldLayoutId id="2147487122" r:id="rId151"/>
    <p:sldLayoutId id="2147487123" r:id="rId152"/>
    <p:sldLayoutId id="2147487346" r:id="rId153"/>
    <p:sldLayoutId id="2147487124" r:id="rId154"/>
    <p:sldLayoutId id="2147487348" r:id="rId155"/>
    <p:sldLayoutId id="2147487349" r:id="rId156"/>
    <p:sldLayoutId id="2147488352" r:id="rId157"/>
    <p:sldLayoutId id="2147488353" r:id="rId158"/>
    <p:sldLayoutId id="2147483849" r:id="rId159"/>
    <p:sldLayoutId id="2147483850" r:id="rId160"/>
    <p:sldLayoutId id="2147483862" r:id="rId161"/>
    <p:sldLayoutId id="2147483863" r:id="rId162"/>
    <p:sldLayoutId id="2147483864" r:id="rId163"/>
    <p:sldLayoutId id="2147483865" r:id="rId164"/>
    <p:sldLayoutId id="2147483866" r:id="rId165"/>
    <p:sldLayoutId id="2147483867" r:id="rId166"/>
    <p:sldLayoutId id="2147483868" r:id="rId167"/>
    <p:sldLayoutId id="2147483869" r:id="rId168"/>
    <p:sldLayoutId id="2147483870" r:id="rId169"/>
    <p:sldLayoutId id="2147483871" r:id="rId170"/>
    <p:sldLayoutId id="2147483872" r:id="rId171"/>
    <p:sldLayoutId id="2147483875" r:id="rId172"/>
    <p:sldLayoutId id="2147483876" r:id="rId173"/>
    <p:sldLayoutId id="2147488384" r:id="rId174"/>
    <p:sldLayoutId id="2147488385" r:id="rId175"/>
    <p:sldLayoutId id="2147483879" r:id="rId176"/>
    <p:sldLayoutId id="2147483880" r:id="rId177"/>
    <p:sldLayoutId id="2147483881" r:id="rId178"/>
    <p:sldLayoutId id="2147483882" r:id="rId179"/>
    <p:sldLayoutId id="2147483883" r:id="rId180"/>
    <p:sldLayoutId id="2147483884" r:id="rId181"/>
    <p:sldLayoutId id="2147483885" r:id="rId182"/>
    <p:sldLayoutId id="2147483886" r:id="rId183"/>
    <p:sldLayoutId id="2147483887" r:id="rId184"/>
    <p:sldLayoutId id="2147483888" r:id="rId185"/>
    <p:sldLayoutId id="2147483889" r:id="rId186"/>
    <p:sldLayoutId id="2147483890" r:id="rId187"/>
    <p:sldLayoutId id="2147483891" r:id="rId188"/>
    <p:sldLayoutId id="2147483892" r:id="rId189"/>
    <p:sldLayoutId id="2147483893" r:id="rId190"/>
    <p:sldLayoutId id="2147483894" r:id="rId191"/>
    <p:sldLayoutId id="2147483896" r:id="rId192"/>
    <p:sldLayoutId id="2147483897" r:id="rId193"/>
    <p:sldLayoutId id="2147483898" r:id="rId194"/>
    <p:sldLayoutId id="2147483899" r:id="rId195"/>
    <p:sldLayoutId id="2147483900" r:id="rId196"/>
    <p:sldLayoutId id="2147483901" r:id="rId197"/>
    <p:sldLayoutId id="2147483902" r:id="rId198"/>
    <p:sldLayoutId id="2147483903" r:id="rId199"/>
    <p:sldLayoutId id="2147487126" r:id="rId200"/>
    <p:sldLayoutId id="2147487128" r:id="rId201"/>
    <p:sldLayoutId id="2147487127" r:id="rId202"/>
    <p:sldLayoutId id="2147487132" r:id="rId203"/>
    <p:sldLayoutId id="2147487133" r:id="rId204"/>
    <p:sldLayoutId id="2147487134" r:id="rId205"/>
    <p:sldLayoutId id="2147487135" r:id="rId206"/>
    <p:sldLayoutId id="2147487136" r:id="rId207"/>
    <p:sldLayoutId id="2147487137" r:id="rId208"/>
    <p:sldLayoutId id="2147487138" r:id="rId209"/>
    <p:sldLayoutId id="2147487139" r:id="rId210"/>
    <p:sldLayoutId id="2147487140" r:id="rId211"/>
    <p:sldLayoutId id="2147487141" r:id="rId212"/>
    <p:sldLayoutId id="2147483934" r:id="rId213"/>
    <p:sldLayoutId id="2147483935" r:id="rId214"/>
    <p:sldLayoutId id="2147483936" r:id="rId215"/>
    <p:sldLayoutId id="2147488345" r:id="rId216"/>
    <p:sldLayoutId id="2147486987" r:id="rId217"/>
    <p:sldLayoutId id="2147487355" r:id="rId218"/>
    <p:sldLayoutId id="2147487369" r:id="rId219"/>
    <p:sldLayoutId id="2147487356" r:id="rId220"/>
    <p:sldLayoutId id="2147487357" r:id="rId221"/>
    <p:sldLayoutId id="2147487358" r:id="rId222"/>
    <p:sldLayoutId id="2147485077" r:id="rId223"/>
    <p:sldLayoutId id="2147484851" r:id="rId224"/>
    <p:sldLayoutId id="2147487362" r:id="rId225"/>
    <p:sldLayoutId id="2147487360" r:id="rId226"/>
    <p:sldLayoutId id="2147488346" r:id="rId227"/>
    <p:sldLayoutId id="2147487359" r:id="rId228"/>
    <p:sldLayoutId id="2147487361" r:id="rId229"/>
    <p:sldLayoutId id="2147484627" r:id="rId230"/>
    <p:sldLayoutId id="2147485879" r:id="rId231"/>
    <p:sldLayoutId id="2147484838" r:id="rId232"/>
    <p:sldLayoutId id="2147485857" r:id="rId233"/>
    <p:sldLayoutId id="2147485858" r:id="rId234"/>
    <p:sldLayoutId id="2147485859" r:id="rId235"/>
    <p:sldLayoutId id="2147485860" r:id="rId236"/>
    <p:sldLayoutId id="2147485861" r:id="rId237"/>
    <p:sldLayoutId id="2147484634" r:id="rId238"/>
    <p:sldLayoutId id="2147484635" r:id="rId239"/>
    <p:sldLayoutId id="2147484238" r:id="rId240"/>
    <p:sldLayoutId id="2147486915" r:id="rId241"/>
    <p:sldLayoutId id="2147484840" r:id="rId242"/>
    <p:sldLayoutId id="2147486917" r:id="rId243"/>
    <p:sldLayoutId id="2147484203" r:id="rId244"/>
    <p:sldLayoutId id="2147484204" r:id="rId245"/>
    <p:sldLayoutId id="2147484205" r:id="rId246"/>
    <p:sldLayoutId id="2147484206" r:id="rId247"/>
    <p:sldLayoutId id="2147484237" r:id="rId248"/>
    <p:sldLayoutId id="2147484208" r:id="rId249"/>
    <p:sldLayoutId id="2147485064" r:id="rId250"/>
    <p:sldLayoutId id="2147485065" r:id="rId251"/>
    <p:sldLayoutId id="2147486965" r:id="rId252"/>
    <p:sldLayoutId id="2147484682" r:id="rId253"/>
    <p:sldLayoutId id="2147484683" r:id="rId254"/>
    <p:sldLayoutId id="2147484684" r:id="rId255"/>
    <p:sldLayoutId id="2147485573" r:id="rId256"/>
    <p:sldLayoutId id="2147485574" r:id="rId257"/>
    <p:sldLayoutId id="2147484686" r:id="rId258"/>
    <p:sldLayoutId id="2147484687" r:id="rId259"/>
    <p:sldLayoutId id="2147484688" r:id="rId260"/>
    <p:sldLayoutId id="2147484689" r:id="rId261"/>
    <p:sldLayoutId id="2147484690" r:id="rId262"/>
    <p:sldLayoutId id="2147484691" r:id="rId263"/>
    <p:sldLayoutId id="2147488310" r:id="rId264"/>
    <p:sldLayoutId id="2147485575" r:id="rId265"/>
    <p:sldLayoutId id="2147485577" r:id="rId266"/>
    <p:sldLayoutId id="2147488277" r:id="rId267"/>
    <p:sldLayoutId id="2147488278" r:id="rId268"/>
    <p:sldLayoutId id="2147488279" r:id="rId269"/>
    <p:sldLayoutId id="2147485578" r:id="rId270"/>
    <p:sldLayoutId id="2147485579" r:id="rId271"/>
    <p:sldLayoutId id="2147488280" r:id="rId272"/>
    <p:sldLayoutId id="2147488281" r:id="rId273"/>
    <p:sldLayoutId id="2147488282" r:id="rId274"/>
    <p:sldLayoutId id="2147488283" r:id="rId275"/>
    <p:sldLayoutId id="2147488284" r:id="rId276"/>
    <p:sldLayoutId id="2147488285" r:id="rId277"/>
    <p:sldLayoutId id="2147485066" r:id="rId278"/>
    <p:sldLayoutId id="2147485067" r:id="rId279"/>
    <p:sldLayoutId id="2147485068" r:id="rId280"/>
    <p:sldLayoutId id="2147485069" r:id="rId281"/>
    <p:sldLayoutId id="2147485352" r:id="rId282"/>
    <p:sldLayoutId id="2147485070" r:id="rId283"/>
    <p:sldLayoutId id="2147486030" r:id="rId284"/>
    <p:sldLayoutId id="2147485585" r:id="rId285"/>
    <p:sldLayoutId id="2147485586" r:id="rId286"/>
    <p:sldLayoutId id="2147485071" r:id="rId287"/>
    <p:sldLayoutId id="2147484626" r:id="rId288"/>
    <p:sldLayoutId id="2147484839" r:id="rId289"/>
    <p:sldLayoutId id="2147485847" r:id="rId290"/>
    <p:sldLayoutId id="2147485848" r:id="rId291"/>
    <p:sldLayoutId id="2147485849" r:id="rId292"/>
    <p:sldLayoutId id="2147485850" r:id="rId293"/>
    <p:sldLayoutId id="2147485851" r:id="rId294"/>
    <p:sldLayoutId id="2147485852" r:id="rId295"/>
    <p:sldLayoutId id="2147485853" r:id="rId296"/>
    <p:sldLayoutId id="2147485854" r:id="rId297"/>
    <p:sldLayoutId id="2147485855" r:id="rId298"/>
    <p:sldLayoutId id="2147485856" r:id="rId299"/>
    <p:sldLayoutId id="2147484384" r:id="rId300"/>
    <p:sldLayoutId id="2147485405" r:id="rId301"/>
    <p:sldLayoutId id="2147484559" r:id="rId302"/>
    <p:sldLayoutId id="2147484385" r:id="rId303"/>
    <p:sldLayoutId id="2147485406" r:id="rId304"/>
    <p:sldLayoutId id="2147484387" r:id="rId305"/>
    <p:sldLayoutId id="2147484388" r:id="rId306"/>
    <p:sldLayoutId id="2147484389" r:id="rId307"/>
    <p:sldLayoutId id="2147484390" r:id="rId308"/>
    <p:sldLayoutId id="2147484391" r:id="rId309"/>
    <p:sldLayoutId id="2147484392" r:id="rId310"/>
    <p:sldLayoutId id="2147486200" r:id="rId311"/>
    <p:sldLayoutId id="2147485878" r:id="rId312"/>
    <p:sldLayoutId id="2147484654" r:id="rId313"/>
    <p:sldLayoutId id="2147484655" r:id="rId314"/>
    <p:sldLayoutId id="2147484692" r:id="rId315"/>
    <p:sldLayoutId id="2147484608" r:id="rId316"/>
    <p:sldLayoutId id="2147485213" r:id="rId317"/>
    <p:sldLayoutId id="2147485214" r:id="rId318"/>
    <p:sldLayoutId id="2147485179" r:id="rId319"/>
    <p:sldLayoutId id="2147488344" r:id="rId320"/>
    <p:sldLayoutId id="2147486360" r:id="rId321"/>
    <p:sldLayoutId id="2147488297" r:id="rId322"/>
    <p:sldLayoutId id="2147486361" r:id="rId323"/>
    <p:sldLayoutId id="2147484335" r:id="rId324"/>
    <p:sldLayoutId id="2147484336" r:id="rId325"/>
    <p:sldLayoutId id="2147484337" r:id="rId326"/>
    <p:sldLayoutId id="2147484853" r:id="rId327"/>
    <p:sldLayoutId id="2147484339" r:id="rId328"/>
    <p:sldLayoutId id="2147484340" r:id="rId329"/>
    <p:sldLayoutId id="2147484341" r:id="rId330"/>
    <p:sldLayoutId id="2147484342" r:id="rId331"/>
    <p:sldLayoutId id="2147484343" r:id="rId332"/>
    <p:sldLayoutId id="2147484344" r:id="rId333"/>
    <p:sldLayoutId id="2147483877" r:id="rId334"/>
    <p:sldLayoutId id="2147484662" r:id="rId335"/>
    <p:sldLayoutId id="2147484676" r:id="rId336"/>
    <p:sldLayoutId id="2147484677" r:id="rId337"/>
    <p:sldLayoutId id="2147484678" r:id="rId338"/>
    <p:sldLayoutId id="2147484570" r:id="rId339"/>
    <p:sldLayoutId id="2147484571" r:id="rId340"/>
    <p:sldLayoutId id="2147484572" r:id="rId341"/>
    <p:sldLayoutId id="2147488306" r:id="rId342"/>
    <p:sldLayoutId id="2147488307" r:id="rId343"/>
    <p:sldLayoutId id="2147488308" r:id="rId344"/>
    <p:sldLayoutId id="2147488309" r:id="rId345"/>
    <p:sldLayoutId id="2147485468" r:id="rId346"/>
    <p:sldLayoutId id="2147485865" r:id="rId347"/>
    <p:sldLayoutId id="2147484364" r:id="rId348"/>
    <p:sldLayoutId id="2147485358" r:id="rId349"/>
    <p:sldLayoutId id="2147485868" r:id="rId350"/>
    <p:sldLayoutId id="2147485869" r:id="rId351"/>
    <p:sldLayoutId id="2147485870" r:id="rId352"/>
    <p:sldLayoutId id="2147485385" r:id="rId353"/>
    <p:sldLayoutId id="2147485871" r:id="rId354"/>
    <p:sldLayoutId id="2147485469" r:id="rId355"/>
    <p:sldLayoutId id="2147484222" r:id="rId356"/>
    <p:sldLayoutId id="2147484854" r:id="rId357"/>
    <p:sldLayoutId id="2147484852" r:id="rId358"/>
    <p:sldLayoutId id="2147485093" r:id="rId359"/>
    <p:sldLayoutId id="2147485072" r:id="rId360"/>
    <p:sldLayoutId id="2147485355" r:id="rId361"/>
    <p:sldLayoutId id="2147484355" r:id="rId362"/>
    <p:sldLayoutId id="2147485444" r:id="rId363"/>
    <p:sldLayoutId id="2147484356" r:id="rId364"/>
    <p:sldLayoutId id="2147483860" r:id="rId365"/>
    <p:sldLayoutId id="2147484357" r:id="rId366"/>
    <p:sldLayoutId id="2147484358" r:id="rId367"/>
    <p:sldLayoutId id="2147484359" r:id="rId368"/>
    <p:sldLayoutId id="2147484360" r:id="rId369"/>
    <p:sldLayoutId id="2147484361" r:id="rId370"/>
    <p:sldLayoutId id="2147484393" r:id="rId371"/>
    <p:sldLayoutId id="2147484394" r:id="rId372"/>
    <p:sldLayoutId id="2147484566" r:id="rId373"/>
    <p:sldLayoutId id="2147485470" r:id="rId374"/>
    <p:sldLayoutId id="2147484231" r:id="rId375"/>
    <p:sldLayoutId id="2147484268" r:id="rId376"/>
    <p:sldLayoutId id="2147484235" r:id="rId377"/>
    <p:sldLayoutId id="2147484847" r:id="rId378"/>
    <p:sldLayoutId id="2147484245" r:id="rId379"/>
    <p:sldLayoutId id="2147484262" r:id="rId380"/>
    <p:sldLayoutId id="2147486955" r:id="rId381"/>
    <p:sldLayoutId id="2147485238" r:id="rId382"/>
    <p:sldLayoutId id="2147486956" r:id="rId383"/>
    <p:sldLayoutId id="2147484233" r:id="rId384"/>
    <p:sldLayoutId id="2147484577" r:id="rId385"/>
    <p:sldLayoutId id="2147488287" r:id="rId386"/>
    <p:sldLayoutId id="2147488288" r:id="rId387"/>
    <p:sldLayoutId id="2147485588" r:id="rId388"/>
    <p:sldLayoutId id="2147488289" r:id="rId389"/>
    <p:sldLayoutId id="2147488290" r:id="rId390"/>
    <p:sldLayoutId id="2147488291" r:id="rId391"/>
    <p:sldLayoutId id="2147488292" r:id="rId392"/>
    <p:sldLayoutId id="2147488293" r:id="rId393"/>
    <p:sldLayoutId id="2147484578" r:id="rId394"/>
    <p:sldLayoutId id="2147485589" r:id="rId395"/>
    <p:sldLayoutId id="2147486251" r:id="rId396"/>
    <p:sldLayoutId id="2147484334" r:id="rId397"/>
    <p:sldLayoutId id="2147487351" r:id="rId398"/>
    <p:sldLayoutId id="2147486990" r:id="rId399"/>
    <p:sldLayoutId id="2147484585" r:id="rId400"/>
    <p:sldLayoutId id="2147484586" r:id="rId401"/>
    <p:sldLayoutId id="2147484587" r:id="rId402"/>
    <p:sldLayoutId id="2147484588" r:id="rId403"/>
    <p:sldLayoutId id="2147484592" r:id="rId404"/>
    <p:sldLayoutId id="2147488383" r:id="rId405"/>
    <p:sldLayoutId id="2147484594" r:id="rId406"/>
    <p:sldLayoutId id="2147487156" r:id="rId407"/>
    <p:sldLayoutId id="2147485370" r:id="rId408"/>
    <p:sldLayoutId id="2147485872" r:id="rId409"/>
    <p:sldLayoutId id="2147486927" r:id="rId410"/>
    <p:sldLayoutId id="2147485367" r:id="rId411"/>
    <p:sldLayoutId id="2147485368" r:id="rId412"/>
    <p:sldLayoutId id="2147485369" r:id="rId413"/>
    <p:sldLayoutId id="2147485400" r:id="rId414"/>
    <p:sldLayoutId id="2147485401" r:id="rId415"/>
    <p:sldLayoutId id="2147485402" r:id="rId416"/>
    <p:sldLayoutId id="2147485403" r:id="rId417"/>
    <p:sldLayoutId id="2147488347" r:id="rId418"/>
    <p:sldLayoutId id="2147484477" r:id="rId419"/>
    <p:sldLayoutId id="2147484478" r:id="rId420"/>
    <p:sldLayoutId id="2147484260" r:id="rId421"/>
    <p:sldLayoutId id="2147484856" r:id="rId422"/>
    <p:sldLayoutId id="2147484480" r:id="rId423"/>
    <p:sldLayoutId id="2147484267" r:id="rId424"/>
    <p:sldLayoutId id="2147484481" r:id="rId425"/>
    <p:sldLayoutId id="2147484482" r:id="rId426"/>
    <p:sldLayoutId id="2147484483" r:id="rId427"/>
    <p:sldLayoutId id="2147484484" r:id="rId428"/>
    <p:sldLayoutId id="2147486991" r:id="rId429"/>
    <p:sldLayoutId id="2147486992" r:id="rId430"/>
    <p:sldLayoutId id="2147486252" r:id="rId431"/>
    <p:sldLayoutId id="2147486253" r:id="rId432"/>
    <p:sldLayoutId id="2147486363" r:id="rId433"/>
    <p:sldLayoutId id="2147487006" r:id="rId434"/>
    <p:sldLayoutId id="2147486364" r:id="rId435"/>
    <p:sldLayoutId id="2147486365" r:id="rId436"/>
    <p:sldLayoutId id="2147487007" r:id="rId437"/>
    <p:sldLayoutId id="2147488386" r:id="rId438"/>
    <p:sldLayoutId id="2147486366" r:id="rId439"/>
    <p:sldLayoutId id="2147483940" r:id="rId440"/>
    <p:sldLayoutId id="2147486367" r:id="rId441"/>
    <p:sldLayoutId id="2147486368" r:id="rId442"/>
    <p:sldLayoutId id="2147486369" r:id="rId443"/>
    <p:sldLayoutId id="2147483944" r:id="rId444"/>
    <p:sldLayoutId id="2147483945" r:id="rId445"/>
    <p:sldLayoutId id="2147483967" r:id="rId446"/>
    <p:sldLayoutId id="2147483968" r:id="rId447"/>
    <p:sldLayoutId id="2147483969" r:id="rId448"/>
    <p:sldLayoutId id="2147483970" r:id="rId449"/>
    <p:sldLayoutId id="2147483971" r:id="rId450"/>
    <p:sldLayoutId id="2147483972" r:id="rId451"/>
    <p:sldLayoutId id="2147483973" r:id="rId452"/>
    <p:sldLayoutId id="2147483976" r:id="rId453"/>
    <p:sldLayoutId id="2147483977" r:id="rId454"/>
    <p:sldLayoutId id="2147483978" r:id="rId455"/>
    <p:sldLayoutId id="2147483983" r:id="rId456"/>
    <p:sldLayoutId id="2147483984" r:id="rId457"/>
    <p:sldLayoutId id="2147483985" r:id="rId458"/>
    <p:sldLayoutId id="2147483986" r:id="rId459"/>
    <p:sldLayoutId id="2147483989" r:id="rId460"/>
    <p:sldLayoutId id="2147483990" r:id="rId461"/>
    <p:sldLayoutId id="2147483991" r:id="rId462"/>
    <p:sldLayoutId id="2147483992" r:id="rId463"/>
    <p:sldLayoutId id="2147483993" r:id="rId464"/>
    <p:sldLayoutId id="2147483996" r:id="rId465"/>
    <p:sldLayoutId id="2147483997" r:id="rId466"/>
    <p:sldLayoutId id="2147483998" r:id="rId467"/>
    <p:sldLayoutId id="2147483999" r:id="rId468"/>
    <p:sldLayoutId id="2147484000" r:id="rId469"/>
    <p:sldLayoutId id="2147484001" r:id="rId470"/>
    <p:sldLayoutId id="2147484652" r:id="rId471"/>
    <p:sldLayoutId id="2147484653" r:id="rId472"/>
    <p:sldLayoutId id="2147487008" r:id="rId473"/>
    <p:sldLayoutId id="2147487009" r:id="rId474"/>
    <p:sldLayoutId id="2147487010" r:id="rId475"/>
    <p:sldLayoutId id="2147488387" r:id="rId476"/>
    <p:sldLayoutId id="2147487011" r:id="rId477"/>
    <p:sldLayoutId id="2147487012" r:id="rId478"/>
    <p:sldLayoutId id="2147487013" r:id="rId479"/>
    <p:sldLayoutId id="2147488239" r:id="rId480"/>
    <p:sldLayoutId id="2147485425" r:id="rId481"/>
    <p:sldLayoutId id="2147485903" r:id="rId482"/>
    <p:sldLayoutId id="2147485904" r:id="rId483"/>
    <p:sldLayoutId id="2147485391" r:id="rId484"/>
    <p:sldLayoutId id="2147485392" r:id="rId485"/>
    <p:sldLayoutId id="2147484376" r:id="rId486"/>
    <p:sldLayoutId id="2147485905" r:id="rId487"/>
    <p:sldLayoutId id="2147485906" r:id="rId488"/>
    <p:sldLayoutId id="2147485394" r:id="rId489"/>
    <p:sldLayoutId id="2147485395" r:id="rId490"/>
    <p:sldLayoutId id="2147486284" r:id="rId491"/>
    <p:sldLayoutId id="2147484378" r:id="rId492"/>
    <p:sldLayoutId id="2147484379" r:id="rId493"/>
    <p:sldLayoutId id="2147485396" r:id="rId494"/>
    <p:sldLayoutId id="2147488079" r:id="rId495"/>
    <p:sldLayoutId id="2147488240" r:id="rId496"/>
    <p:sldLayoutId id="2147488241" r:id="rId49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p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0" r:id="rId52"/>
    <p:sldLayoutId id="2147483701" r:id="rId53"/>
    <p:sldLayoutId id="2147483702" r:id="rId54"/>
    <p:sldLayoutId id="2147483703" r:id="rId55"/>
    <p:sldLayoutId id="2147483704" r:id="rId56"/>
    <p:sldLayoutId id="2147483705" r:id="rId57"/>
    <p:sldLayoutId id="2147483706" r:id="rId58"/>
    <p:sldLayoutId id="2147483707" r:id="rId59"/>
    <p:sldLayoutId id="2147483708" r:id="rId60"/>
    <p:sldLayoutId id="2147483709" r:id="rId61"/>
    <p:sldLayoutId id="2147483710" r:id="rId62"/>
    <p:sldLayoutId id="2147483711" r:id="rId63"/>
    <p:sldLayoutId id="2147483712" r:id="rId64"/>
    <p:sldLayoutId id="2147483713" r:id="rId65"/>
    <p:sldLayoutId id="2147483714" r:id="rId66"/>
    <p:sldLayoutId id="2147483715" r:id="rId67"/>
    <p:sldLayoutId id="2147483716" r:id="rId68"/>
    <p:sldLayoutId id="2147483717" r:id="rId69"/>
    <p:sldLayoutId id="2147483718" r:id="rId70"/>
    <p:sldLayoutId id="2147483719" r:id="rId71"/>
    <p:sldLayoutId id="2147483720" r:id="rId72"/>
    <p:sldLayoutId id="2147483721" r:id="rId73"/>
    <p:sldLayoutId id="2147483722" r:id="rId74"/>
    <p:sldLayoutId id="2147483723" r:id="rId75"/>
    <p:sldLayoutId id="2147483724" r:id="rId76"/>
    <p:sldLayoutId id="2147483725" r:id="rId77"/>
    <p:sldLayoutId id="2147483726" r:id="rId78"/>
    <p:sldLayoutId id="2147483727" r:id="rId79"/>
    <p:sldLayoutId id="2147483728" r:id="rId80"/>
    <p:sldLayoutId id="2147483729" r:id="rId81"/>
    <p:sldLayoutId id="2147483730" r:id="rId82"/>
    <p:sldLayoutId id="2147483731" r:id="rId83"/>
    <p:sldLayoutId id="2147483732" r:id="rId84"/>
    <p:sldLayoutId id="2147483733" r:id="rId85"/>
    <p:sldLayoutId id="2147483734" r:id="rId86"/>
    <p:sldLayoutId id="2147483735" r:id="rId87"/>
    <p:sldLayoutId id="2147483736" r:id="rId88"/>
    <p:sldLayoutId id="2147483737" r:id="rId89"/>
    <p:sldLayoutId id="2147483738" r:id="rId90"/>
    <p:sldLayoutId id="2147483739" r:id="rId91"/>
    <p:sldLayoutId id="2147483740" r:id="rId92"/>
    <p:sldLayoutId id="2147483741" r:id="rId93"/>
    <p:sldLayoutId id="2147483742" r:id="rId94"/>
    <p:sldLayoutId id="2147483743" r:id="rId95"/>
    <p:sldLayoutId id="2147483744" r:id="rId96"/>
    <p:sldLayoutId id="2147483745" r:id="rId97"/>
    <p:sldLayoutId id="2147483746" r:id="rId98"/>
    <p:sldLayoutId id="2147483747" r:id="rId99"/>
    <p:sldLayoutId id="2147483748" r:id="rId100"/>
    <p:sldLayoutId id="2147483749" r:id="rId101"/>
    <p:sldLayoutId id="2147483750" r:id="rId102"/>
    <p:sldLayoutId id="2147483751" r:id="rId103"/>
    <p:sldLayoutId id="2147483752" r:id="rId104"/>
    <p:sldLayoutId id="2147483753" r:id="rId105"/>
    <p:sldLayoutId id="2147483754" r:id="rId106"/>
    <p:sldLayoutId id="2147483755" r:id="rId107"/>
    <p:sldLayoutId id="2147483756" r:id="rId108"/>
    <p:sldLayoutId id="2147483757" r:id="rId109"/>
    <p:sldLayoutId id="2147483758" r:id="rId110"/>
    <p:sldLayoutId id="2147483759" r:id="rId111"/>
    <p:sldLayoutId id="2147483760" r:id="rId112"/>
    <p:sldLayoutId id="2147483761" r:id="rId113"/>
    <p:sldLayoutId id="2147483762" r:id="rId114"/>
    <p:sldLayoutId id="2147483763" r:id="rId115"/>
    <p:sldLayoutId id="2147483764" r:id="rId116"/>
    <p:sldLayoutId id="2147483765" r:id="rId117"/>
    <p:sldLayoutId id="2147483766" r:id="rId118"/>
    <p:sldLayoutId id="2147483767" r:id="rId119"/>
    <p:sldLayoutId id="2147483768" r:id="rId120"/>
    <p:sldLayoutId id="2147483769" r:id="rId121"/>
    <p:sldLayoutId id="2147483770" r:id="rId122"/>
    <p:sldLayoutId id="2147483771" r:id="rId123"/>
    <p:sldLayoutId id="2147483772" r:id="rId124"/>
    <p:sldLayoutId id="2147483773" r:id="rId125"/>
    <p:sldLayoutId id="2147483774" r:id="rId126"/>
    <p:sldLayoutId id="2147483775" r:id="rId127"/>
    <p:sldLayoutId id="2147483776" r:id="rId128"/>
    <p:sldLayoutId id="2147483777" r:id="rId129"/>
    <p:sldLayoutId id="2147483778" r:id="rId130"/>
    <p:sldLayoutId id="2147483779" r:id="rId131"/>
    <p:sldLayoutId id="2147483780" r:id="rId132"/>
    <p:sldLayoutId id="2147483781" r:id="rId133"/>
    <p:sldLayoutId id="2147483782" r:id="rId134"/>
    <p:sldLayoutId id="2147483783" r:id="rId135"/>
    <p:sldLayoutId id="2147483784" r:id="rId136"/>
    <p:sldLayoutId id="2147483785" r:id="rId137"/>
    <p:sldLayoutId id="2147483786" r:id="rId138"/>
    <p:sldLayoutId id="2147483787" r:id="rId139"/>
    <p:sldLayoutId id="2147483788" r:id="rId140"/>
    <p:sldLayoutId id="2147483789" r:id="rId141"/>
    <p:sldLayoutId id="2147483790" r:id="rId142"/>
    <p:sldLayoutId id="2147483791" r:id="rId143"/>
    <p:sldLayoutId id="2147483792" r:id="rId144"/>
    <p:sldLayoutId id="2147483793" r:id="rId145"/>
    <p:sldLayoutId id="2147483794" r:id="rId146"/>
    <p:sldLayoutId id="2147483795" r:id="rId147"/>
    <p:sldLayoutId id="2147483796" r:id="rId148"/>
    <p:sldLayoutId id="2147483797" r:id="rId149"/>
    <p:sldLayoutId id="2147483798" r:id="rId150"/>
    <p:sldLayoutId id="2147483799" r:id="rId151"/>
    <p:sldLayoutId id="2147483800" r:id="rId152"/>
    <p:sldLayoutId id="2147483801" r:id="rId153"/>
    <p:sldLayoutId id="2147483802" r:id="rId154"/>
    <p:sldLayoutId id="2147483803" r:id="rId155"/>
    <p:sldLayoutId id="2147483804" r:id="rId156"/>
    <p:sldLayoutId id="2147483805" r:id="rId157"/>
    <p:sldLayoutId id="2147483806" r:id="rId158"/>
    <p:sldLayoutId id="2147483807" r:id="rId159"/>
    <p:sldLayoutId id="2147483808" r:id="rId160"/>
    <p:sldLayoutId id="2147483809" r:id="rId161"/>
    <p:sldLayoutId id="2147483810" r:id="rId162"/>
    <p:sldLayoutId id="2147483811" r:id="rId163"/>
    <p:sldLayoutId id="2147483812" r:id="rId164"/>
    <p:sldLayoutId id="2147483813" r:id="rId165"/>
    <p:sldLayoutId id="2147483814" r:id="rId166"/>
    <p:sldLayoutId id="2147483815" r:id="rId167"/>
    <p:sldLayoutId id="2147483816" r:id="rId168"/>
    <p:sldLayoutId id="2147483817" r:id="rId169"/>
    <p:sldLayoutId id="2147483818" r:id="rId170"/>
    <p:sldLayoutId id="2147483819" r:id="rId171"/>
    <p:sldLayoutId id="2147483820" r:id="rId172"/>
    <p:sldLayoutId id="2147483821" r:id="rId173"/>
    <p:sldLayoutId id="2147483822" r:id="rId174"/>
    <p:sldLayoutId id="2147483823" r:id="rId175"/>
    <p:sldLayoutId id="2147483824" r:id="rId176"/>
    <p:sldLayoutId id="2147483825" r:id="rId177"/>
    <p:sldLayoutId id="2147483826" r:id="rId178"/>
    <p:sldLayoutId id="2147483827" r:id="rId179"/>
    <p:sldLayoutId id="2147483828" r:id="rId180"/>
    <p:sldLayoutId id="2147483829" r:id="rId181"/>
    <p:sldLayoutId id="2147483830" r:id="rId182"/>
    <p:sldLayoutId id="2147483831" r:id="rId183"/>
    <p:sldLayoutId id="2147483832" r:id="rId184"/>
    <p:sldLayoutId id="2147483833" r:id="rId185"/>
    <p:sldLayoutId id="2147483834" r:id="rId186"/>
    <p:sldLayoutId id="2147483835" r:id="rId187"/>
    <p:sldLayoutId id="2147483836" r:id="rId188"/>
    <p:sldLayoutId id="2147483837" r:id="rId189"/>
    <p:sldLayoutId id="2147483838" r:id="rId190"/>
    <p:sldLayoutId id="2147483839" r:id="rId191"/>
    <p:sldLayoutId id="2147483840" r:id="rId192"/>
    <p:sldLayoutId id="2147483841" r:id="rId193"/>
    <p:sldLayoutId id="2147483842" r:id="rId194"/>
    <p:sldLayoutId id="2147483843" r:id="rId195"/>
    <p:sldLayoutId id="2147483844" r:id="rId196"/>
    <p:sldLayoutId id="2147483845" r:id="rId197"/>
    <p:sldLayoutId id="2147483846" r:id="rId198"/>
    <p:sldLayoutId id="2147483847" r:id="rId199"/>
    <p:sldLayoutId id="2147483848" r:id="rId20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3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p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8373" r:id="rId1"/>
    <p:sldLayoutId id="2147488374" r:id="rId2"/>
    <p:sldLayoutId id="2147488375" r:id="rId3"/>
    <p:sldLayoutId id="2147488376" r:id="rId4"/>
    <p:sldLayoutId id="2147488377" r:id="rId5"/>
    <p:sldLayoutId id="2147488378" r:id="rId6"/>
    <p:sldLayoutId id="2147488379" r:id="rId7"/>
    <p:sldLayoutId id="2147488380" r:id="rId8"/>
    <p:sldLayoutId id="2147488381" r:id="rId9"/>
    <p:sldLayoutId id="2147488382" r:id="rId10"/>
    <p:sldLayoutId id="2147488312" r:id="rId11"/>
    <p:sldLayoutId id="2147488327" r:id="rId12"/>
    <p:sldLayoutId id="2147488328" r:id="rId13"/>
    <p:sldLayoutId id="2147488329" r:id="rId14"/>
    <p:sldLayoutId id="2147488330" r:id="rId15"/>
    <p:sldLayoutId id="2147488331" r:id="rId16"/>
    <p:sldLayoutId id="2147488332" r:id="rId17"/>
    <p:sldLayoutId id="2147488333" r:id="rId18"/>
    <p:sldLayoutId id="2147488334" r:id="rId19"/>
    <p:sldLayoutId id="2147488335" r:id="rId20"/>
    <p:sldLayoutId id="2147488336" r:id="rId21"/>
    <p:sldLayoutId id="2147488337" r:id="rId22"/>
    <p:sldLayoutId id="2147488394" r:id="rId23"/>
    <p:sldLayoutId id="2147488395" r:id="rId24"/>
    <p:sldLayoutId id="2147488396" r:id="rId25"/>
    <p:sldLayoutId id="2147488323" r:id="rId26"/>
    <p:sldLayoutId id="2147488397" r:id="rId27"/>
    <p:sldLayoutId id="2147488398" r:id="rId28"/>
    <p:sldLayoutId id="2147488399" r:id="rId29"/>
    <p:sldLayoutId id="2147488400" r:id="rId30"/>
    <p:sldLayoutId id="2147488401" r:id="rId31"/>
    <p:sldLayoutId id="2147488402" r:id="rId32"/>
    <p:sldLayoutId id="2147488403" r:id="rId33"/>
    <p:sldLayoutId id="2147488404" r:id="rId34"/>
    <p:sldLayoutId id="2147488405" r:id="rId35"/>
    <p:sldLayoutId id="2147488406" r:id="rId36"/>
    <p:sldLayoutId id="2147488407" r:id="rId37"/>
    <p:sldLayoutId id="2147488408" r:id="rId38"/>
    <p:sldLayoutId id="2147488409" r:id="rId39"/>
    <p:sldLayoutId id="2147488410" r:id="rId40"/>
    <p:sldLayoutId id="2147488411" r:id="rId41"/>
    <p:sldLayoutId id="2147488412" r:id="rId42"/>
    <p:sldLayoutId id="2147488413" r:id="rId43"/>
    <p:sldLayoutId id="2147488414" r:id="rId44"/>
    <p:sldLayoutId id="2147488415" r:id="rId45"/>
    <p:sldLayoutId id="2147488416" r:id="rId46"/>
    <p:sldLayoutId id="2147488417" r:id="rId47"/>
    <p:sldLayoutId id="2147488418" r:id="rId48"/>
    <p:sldLayoutId id="2147488419" r:id="rId49"/>
    <p:sldLayoutId id="2147488420" r:id="rId50"/>
    <p:sldLayoutId id="2147488421" r:id="rId51"/>
    <p:sldLayoutId id="2147488422" r:id="rId52"/>
    <p:sldLayoutId id="2147488423" r:id="rId53"/>
    <p:sldLayoutId id="2147488424" r:id="rId54"/>
    <p:sldLayoutId id="2147488425" r:id="rId55"/>
    <p:sldLayoutId id="2147488426" r:id="rId56"/>
    <p:sldLayoutId id="2147488427" r:id="rId57"/>
    <p:sldLayoutId id="2147488428" r:id="rId58"/>
    <p:sldLayoutId id="2147488429" r:id="rId59"/>
    <p:sldLayoutId id="2147488430" r:id="rId60"/>
    <p:sldLayoutId id="2147488431" r:id="rId61"/>
    <p:sldLayoutId id="2147488432" r:id="rId62"/>
    <p:sldLayoutId id="2147488433" r:id="rId63"/>
    <p:sldLayoutId id="2147488434" r:id="rId64"/>
    <p:sldLayoutId id="2147488435" r:id="rId65"/>
    <p:sldLayoutId id="2147488436" r:id="rId66"/>
    <p:sldLayoutId id="2147488317" r:id="rId67"/>
    <p:sldLayoutId id="2147488318" r:id="rId68"/>
    <p:sldLayoutId id="2147488319" r:id="rId69"/>
    <p:sldLayoutId id="2147488437" r:id="rId70"/>
    <p:sldLayoutId id="2147488438" r:id="rId71"/>
    <p:sldLayoutId id="2147488439" r:id="rId72"/>
    <p:sldLayoutId id="2147488316" r:id="rId73"/>
    <p:sldLayoutId id="2147488440" r:id="rId74"/>
    <p:sldLayoutId id="2147488441" r:id="rId75"/>
    <p:sldLayoutId id="2147488442" r:id="rId76"/>
    <p:sldLayoutId id="2147488443" r:id="rId77"/>
    <p:sldLayoutId id="2147488444" r:id="rId78"/>
    <p:sldLayoutId id="2147488445" r:id="rId79"/>
    <p:sldLayoutId id="2147488446" r:id="rId80"/>
    <p:sldLayoutId id="2147488447" r:id="rId81"/>
    <p:sldLayoutId id="2147488448" r:id="rId82"/>
    <p:sldLayoutId id="2147488449" r:id="rId83"/>
    <p:sldLayoutId id="2147488450" r:id="rId84"/>
    <p:sldLayoutId id="2147488451" r:id="rId85"/>
    <p:sldLayoutId id="2147488452" r:id="rId86"/>
    <p:sldLayoutId id="2147488453" r:id="rId87"/>
    <p:sldLayoutId id="2147488454" r:id="rId88"/>
    <p:sldLayoutId id="2147488455" r:id="rId89"/>
    <p:sldLayoutId id="2147488456" r:id="rId90"/>
    <p:sldLayoutId id="2147488457" r:id="rId91"/>
    <p:sldLayoutId id="2147488458" r:id="rId92"/>
    <p:sldLayoutId id="2147488459" r:id="rId93"/>
    <p:sldLayoutId id="2147488460" r:id="rId94"/>
    <p:sldLayoutId id="2147488461" r:id="rId95"/>
    <p:sldLayoutId id="2147488462" r:id="rId96"/>
    <p:sldLayoutId id="2147488463" r:id="rId97"/>
    <p:sldLayoutId id="2147488464" r:id="rId98"/>
    <p:sldLayoutId id="2147488465" r:id="rId99"/>
    <p:sldLayoutId id="2147488466" r:id="rId100"/>
    <p:sldLayoutId id="2147488467" r:id="rId101"/>
    <p:sldLayoutId id="2147488468" r:id="rId102"/>
    <p:sldLayoutId id="2147488469" r:id="rId103"/>
    <p:sldLayoutId id="2147488470" r:id="rId104"/>
    <p:sldLayoutId id="2147488471" r:id="rId105"/>
    <p:sldLayoutId id="2147488472" r:id="rId106"/>
    <p:sldLayoutId id="2147488473" r:id="rId107"/>
    <p:sldLayoutId id="2147488474" r:id="rId108"/>
    <p:sldLayoutId id="2147488475" r:id="rId109"/>
    <p:sldLayoutId id="2147488476" r:id="rId110"/>
    <p:sldLayoutId id="2147488477" r:id="rId111"/>
    <p:sldLayoutId id="2147488478" r:id="rId112"/>
    <p:sldLayoutId id="2147488479" r:id="rId113"/>
    <p:sldLayoutId id="2147488480" r:id="rId114"/>
    <p:sldLayoutId id="2147488481" r:id="rId115"/>
    <p:sldLayoutId id="2147488482" r:id="rId116"/>
    <p:sldLayoutId id="2147488483" r:id="rId117"/>
    <p:sldLayoutId id="2147488484" r:id="rId118"/>
    <p:sldLayoutId id="2147488485" r:id="rId119"/>
    <p:sldLayoutId id="2147488486" r:id="rId120"/>
    <p:sldLayoutId id="2147488487" r:id="rId121"/>
    <p:sldLayoutId id="2147488488" r:id="rId122"/>
    <p:sldLayoutId id="2147488489" r:id="rId123"/>
    <p:sldLayoutId id="2147488490" r:id="rId124"/>
    <p:sldLayoutId id="2147488491" r:id="rId125"/>
    <p:sldLayoutId id="2147488492" r:id="rId126"/>
    <p:sldLayoutId id="2147488493" r:id="rId127"/>
    <p:sldLayoutId id="2147488494" r:id="rId128"/>
    <p:sldLayoutId id="2147488495" r:id="rId129"/>
    <p:sldLayoutId id="2147488496" r:id="rId130"/>
    <p:sldLayoutId id="2147488497" r:id="rId131"/>
    <p:sldLayoutId id="2147488498" r:id="rId132"/>
    <p:sldLayoutId id="2147488499" r:id="rId133"/>
    <p:sldLayoutId id="2147488500" r:id="rId134"/>
    <p:sldLayoutId id="2147488501" r:id="rId135"/>
    <p:sldLayoutId id="2147488502" r:id="rId136"/>
    <p:sldLayoutId id="2147488503" r:id="rId137"/>
    <p:sldLayoutId id="2147488504" r:id="rId138"/>
    <p:sldLayoutId id="2147488505" r:id="rId139"/>
    <p:sldLayoutId id="2147488506" r:id="rId140"/>
    <p:sldLayoutId id="2147488507" r:id="rId141"/>
    <p:sldLayoutId id="2147488508" r:id="rId142"/>
    <p:sldLayoutId id="2147488509" r:id="rId143"/>
    <p:sldLayoutId id="2147488510" r:id="rId144"/>
    <p:sldLayoutId id="2147488511" r:id="rId145"/>
    <p:sldLayoutId id="2147488512" r:id="rId146"/>
    <p:sldLayoutId id="2147488513" r:id="rId147"/>
    <p:sldLayoutId id="2147488514" r:id="rId148"/>
    <p:sldLayoutId id="2147488515" r:id="rId149"/>
    <p:sldLayoutId id="2147488516" r:id="rId150"/>
    <p:sldLayoutId id="2147488517" r:id="rId151"/>
    <p:sldLayoutId id="2147488518" r:id="rId152"/>
    <p:sldLayoutId id="2147488519" r:id="rId153"/>
    <p:sldLayoutId id="2147488520" r:id="rId154"/>
    <p:sldLayoutId id="2147488521" r:id="rId155"/>
    <p:sldLayoutId id="2147488522" r:id="rId156"/>
    <p:sldLayoutId id="2147488523" r:id="rId157"/>
    <p:sldLayoutId id="2147488524" r:id="rId158"/>
    <p:sldLayoutId id="2147488525" r:id="rId159"/>
    <p:sldLayoutId id="2147488526" r:id="rId160"/>
    <p:sldLayoutId id="2147488527" r:id="rId161"/>
    <p:sldLayoutId id="2147488528" r:id="rId162"/>
    <p:sldLayoutId id="2147488529" r:id="rId163"/>
    <p:sldLayoutId id="2147488530" r:id="rId164"/>
    <p:sldLayoutId id="2147488320" r:id="rId165"/>
    <p:sldLayoutId id="2147488321" r:id="rId166"/>
    <p:sldLayoutId id="2147488322" r:id="rId167"/>
    <p:sldLayoutId id="2147488531" r:id="rId168"/>
    <p:sldLayoutId id="2147488532" r:id="rId169"/>
    <p:sldLayoutId id="2147488533" r:id="rId170"/>
    <p:sldLayoutId id="2147488534" r:id="rId171"/>
    <p:sldLayoutId id="2147488535" r:id="rId172"/>
    <p:sldLayoutId id="2147488536" r:id="rId173"/>
    <p:sldLayoutId id="2147488537" r:id="rId174"/>
    <p:sldLayoutId id="2147488538" r:id="rId175"/>
    <p:sldLayoutId id="2147488539" r:id="rId176"/>
    <p:sldLayoutId id="2147488540" r:id="rId177"/>
    <p:sldLayoutId id="2147488541" r:id="rId178"/>
    <p:sldLayoutId id="2147488542" r:id="rId179"/>
    <p:sldLayoutId id="2147488543" r:id="rId180"/>
    <p:sldLayoutId id="2147488544" r:id="rId181"/>
    <p:sldLayoutId id="2147488545" r:id="rId182"/>
    <p:sldLayoutId id="2147488546" r:id="rId183"/>
    <p:sldLayoutId id="2147488547" r:id="rId184"/>
    <p:sldLayoutId id="2147488315" r:id="rId185"/>
    <p:sldLayoutId id="2147488548" r:id="rId186"/>
    <p:sldLayoutId id="2147488549" r:id="rId187"/>
    <p:sldLayoutId id="2147488550" r:id="rId188"/>
    <p:sldLayoutId id="2147488551" r:id="rId189"/>
    <p:sldLayoutId id="2147488552" r:id="rId190"/>
    <p:sldLayoutId id="2147488553" r:id="rId191"/>
    <p:sldLayoutId id="2147488554" r:id="rId192"/>
    <p:sldLayoutId id="2147488555" r:id="rId193"/>
    <p:sldLayoutId id="2147488556" r:id="rId194"/>
    <p:sldLayoutId id="2147488557" r:id="rId195"/>
    <p:sldLayoutId id="2147488558" r:id="rId196"/>
    <p:sldLayoutId id="2147488559" r:id="rId197"/>
    <p:sldLayoutId id="2147488313" r:id="rId198"/>
    <p:sldLayoutId id="2147488314" r:id="rId199"/>
    <p:sldLayoutId id="2147488371" r:id="rId200"/>
    <p:sldLayoutId id="2147488618" r:id="rId201"/>
    <p:sldLayoutId id="2147488619" r:id="rId20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60000" y="1536633"/>
            <a:ext cx="102720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Font typeface="Josefin Slab"/>
              <a:buChar char="●"/>
              <a:defRPr sz="1800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Char char="○"/>
              <a:defRPr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Char char="■"/>
              <a:defRPr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Char char="●"/>
              <a:defRPr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Char char="○"/>
              <a:defRPr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Char char="■"/>
              <a:defRPr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Char char="●"/>
              <a:defRPr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Char char="○"/>
              <a:defRPr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4"/>
              </a:buClr>
              <a:buSzPts val="1400"/>
              <a:buFont typeface="Josefin Slab"/>
              <a:buChar char="■"/>
              <a:defRPr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8561" r:id="rId1"/>
    <p:sldLayoutId id="2147488562" r:id="rId2"/>
    <p:sldLayoutId id="2147488563" r:id="rId3"/>
    <p:sldLayoutId id="2147488564" r:id="rId4"/>
    <p:sldLayoutId id="2147488565" r:id="rId5"/>
    <p:sldLayoutId id="2147488566" r:id="rId6"/>
    <p:sldLayoutId id="2147488567" r:id="rId7"/>
    <p:sldLayoutId id="2147488568" r:id="rId8"/>
    <p:sldLayoutId id="2147488569" r:id="rId9"/>
    <p:sldLayoutId id="2147488570" r:id="rId10"/>
    <p:sldLayoutId id="2147488571" r:id="rId11"/>
    <p:sldLayoutId id="2147488572" r:id="rId12"/>
    <p:sldLayoutId id="2147488573" r:id="rId13"/>
    <p:sldLayoutId id="2147488574" r:id="rId14"/>
    <p:sldLayoutId id="2147488575" r:id="rId15"/>
    <p:sldLayoutId id="2147488576" r:id="rId16"/>
    <p:sldLayoutId id="2147488577" r:id="rId17"/>
    <p:sldLayoutId id="2147488578" r:id="rId18"/>
    <p:sldLayoutId id="2147488579" r:id="rId19"/>
    <p:sldLayoutId id="2147488580" r:id="rId20"/>
    <p:sldLayoutId id="2147488581" r:id="rId21"/>
    <p:sldLayoutId id="2147488582" r:id="rId22"/>
    <p:sldLayoutId id="2147488583" r:id="rId23"/>
    <p:sldLayoutId id="2147488584" r:id="rId24"/>
    <p:sldLayoutId id="2147488585" r:id="rId25"/>
    <p:sldLayoutId id="2147488586" r:id="rId26"/>
    <p:sldLayoutId id="2147488587" r:id="rId27"/>
    <p:sldLayoutId id="2147488588" r:id="rId28"/>
    <p:sldLayoutId id="2147488589" r:id="rId29"/>
    <p:sldLayoutId id="2147488590" r:id="rId30"/>
    <p:sldLayoutId id="2147488591" r:id="rId31"/>
    <p:sldLayoutId id="2147488592" r:id="rId32"/>
    <p:sldLayoutId id="2147488593" r:id="rId33"/>
    <p:sldLayoutId id="2147488594" r:id="rId34"/>
    <p:sldLayoutId id="2147488595" r:id="rId35"/>
    <p:sldLayoutId id="2147488596" r:id="rId36"/>
    <p:sldLayoutId id="2147488597" r:id="rId37"/>
    <p:sldLayoutId id="2147488598" r:id="rId38"/>
    <p:sldLayoutId id="2147488599" r:id="rId39"/>
    <p:sldLayoutId id="2147488600" r:id="rId40"/>
    <p:sldLayoutId id="2147488601" r:id="rId41"/>
    <p:sldLayoutId id="2147488602" r:id="rId42"/>
    <p:sldLayoutId id="2147488603" r:id="rId43"/>
    <p:sldLayoutId id="2147488604" r:id="rId44"/>
    <p:sldLayoutId id="2147488605" r:id="rId45"/>
    <p:sldLayoutId id="2147488606" r:id="rId46"/>
    <p:sldLayoutId id="2147488607" r:id="rId47"/>
    <p:sldLayoutId id="2147488608" r:id="rId48"/>
    <p:sldLayoutId id="2147488609" r:id="rId49"/>
    <p:sldLayoutId id="2147488610" r:id="rId50"/>
    <p:sldLayoutId id="2147488611" r:id="rId51"/>
    <p:sldLayoutId id="2147488612" r:id="rId52"/>
    <p:sldLayoutId id="2147488613" r:id="rId53"/>
    <p:sldLayoutId id="2147488614" r:id="rId54"/>
    <p:sldLayoutId id="2147488615" r:id="rId55"/>
    <p:sldLayoutId id="2147488616" r:id="rId56"/>
    <p:sldLayoutId id="2147488617" r:id="rId57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7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7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svg"/><Relationship Id="rId3" Type="http://schemas.openxmlformats.org/officeDocument/2006/relationships/image" Target="../media/image96.png"/><Relationship Id="rId7" Type="http://schemas.openxmlformats.org/officeDocument/2006/relationships/image" Target="../media/image10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99.svg"/><Relationship Id="rId5" Type="http://schemas.openxmlformats.org/officeDocument/2006/relationships/image" Target="../media/image98.png"/><Relationship Id="rId4" Type="http://schemas.openxmlformats.org/officeDocument/2006/relationships/image" Target="../media/image97.svg"/><Relationship Id="rId9" Type="http://schemas.openxmlformats.org/officeDocument/2006/relationships/image" Target="../media/image9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svg"/><Relationship Id="rId13" Type="http://schemas.openxmlformats.org/officeDocument/2006/relationships/image" Target="../media/image112.png"/><Relationship Id="rId3" Type="http://schemas.openxmlformats.org/officeDocument/2006/relationships/image" Target="../media/image102.png"/><Relationship Id="rId7" Type="http://schemas.openxmlformats.org/officeDocument/2006/relationships/image" Target="../media/image106.png"/><Relationship Id="rId12" Type="http://schemas.openxmlformats.org/officeDocument/2006/relationships/image" Target="../media/image111.svg"/><Relationship Id="rId17" Type="http://schemas.openxmlformats.org/officeDocument/2006/relationships/image" Target="../media/image116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1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5.svg"/><Relationship Id="rId11" Type="http://schemas.openxmlformats.org/officeDocument/2006/relationships/image" Target="../media/image110.png"/><Relationship Id="rId5" Type="http://schemas.openxmlformats.org/officeDocument/2006/relationships/image" Target="../media/image104.png"/><Relationship Id="rId15" Type="http://schemas.openxmlformats.org/officeDocument/2006/relationships/image" Target="../media/image114.png"/><Relationship Id="rId10" Type="http://schemas.openxmlformats.org/officeDocument/2006/relationships/image" Target="../media/image109.svg"/><Relationship Id="rId4" Type="http://schemas.openxmlformats.org/officeDocument/2006/relationships/image" Target="../media/image103.svg"/><Relationship Id="rId9" Type="http://schemas.openxmlformats.org/officeDocument/2006/relationships/image" Target="../media/image108.png"/><Relationship Id="rId14" Type="http://schemas.openxmlformats.org/officeDocument/2006/relationships/image" Target="../media/image113.sv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unitedwaynca.org/blog/diversity-equity-inclusion/#:~:text=Inclusion%20is%20the%20action%20or,otherwise%20be%20excluded%20or%20marginalized.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ollaboris.com/what-are-policies/" TargetMode="External"/><Relationship Id="rId7" Type="http://schemas.openxmlformats.org/officeDocument/2006/relationships/image" Target="../media/image1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27.xml"/><Relationship Id="rId6" Type="http://schemas.openxmlformats.org/officeDocument/2006/relationships/image" Target="../media/image119.png"/><Relationship Id="rId5" Type="http://schemas.openxmlformats.org/officeDocument/2006/relationships/image" Target="../media/image118.png"/><Relationship Id="rId4" Type="http://schemas.openxmlformats.org/officeDocument/2006/relationships/image" Target="../media/image117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7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1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2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jpeg"/><Relationship Id="rId1" Type="http://schemas.openxmlformats.org/officeDocument/2006/relationships/slideLayout" Target="../slideLayouts/slideLayout92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927.xml"/><Relationship Id="rId4" Type="http://schemas.openxmlformats.org/officeDocument/2006/relationships/image" Target="../media/image12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927.xml"/><Relationship Id="rId4" Type="http://schemas.openxmlformats.org/officeDocument/2006/relationships/image" Target="../media/image126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png"/><Relationship Id="rId1" Type="http://schemas.openxmlformats.org/officeDocument/2006/relationships/slideLayout" Target="../slideLayouts/slideLayout92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2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29.xml"/><Relationship Id="rId5" Type="http://schemas.openxmlformats.org/officeDocument/2006/relationships/hyperlink" Target="https://www.minnstate.edu/system/equity/docs/Equity-Lens-to-Policy-Review2.pdf" TargetMode="External"/><Relationship Id="rId4" Type="http://schemas.openxmlformats.org/officeDocument/2006/relationships/image" Target="../media/image132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92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9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ilpqc.org" TargetMode="External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2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29.xml"/><Relationship Id="rId4" Type="http://schemas.openxmlformats.org/officeDocument/2006/relationships/image" Target="../media/image135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7.png"/><Relationship Id="rId1" Type="http://schemas.openxmlformats.org/officeDocument/2006/relationships/slideLayout" Target="../slideLayouts/slideLayout92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3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3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93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png"/><Relationship Id="rId1" Type="http://schemas.openxmlformats.org/officeDocument/2006/relationships/slideLayout" Target="../slideLayouts/slideLayout93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3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3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3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3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3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36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93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3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3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0.png"/><Relationship Id="rId1" Type="http://schemas.openxmlformats.org/officeDocument/2006/relationships/slideLayout" Target="../slideLayouts/slideLayout514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6.png"/><Relationship Id="rId3" Type="http://schemas.openxmlformats.org/officeDocument/2006/relationships/image" Target="../media/image151.png"/><Relationship Id="rId7" Type="http://schemas.openxmlformats.org/officeDocument/2006/relationships/image" Target="../media/image155.sv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54.png"/><Relationship Id="rId11" Type="http://schemas.openxmlformats.org/officeDocument/2006/relationships/image" Target="../media/image159.svg"/><Relationship Id="rId5" Type="http://schemas.openxmlformats.org/officeDocument/2006/relationships/image" Target="../media/image153.png"/><Relationship Id="rId10" Type="http://schemas.openxmlformats.org/officeDocument/2006/relationships/image" Target="../media/image158.png"/><Relationship Id="rId4" Type="http://schemas.openxmlformats.org/officeDocument/2006/relationships/image" Target="../media/image152.svg"/><Relationship Id="rId9" Type="http://schemas.openxmlformats.org/officeDocument/2006/relationships/image" Target="../media/image157.svg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2.sv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19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4.png"/><Relationship Id="rId1" Type="http://schemas.openxmlformats.org/officeDocument/2006/relationships/slideLayout" Target="../slideLayouts/slideLayout719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6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16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10" Type="http://schemas.openxmlformats.org/officeDocument/2006/relationships/image" Target="../media/image168.sv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167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3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4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image" Target="../media/image84.png"/><Relationship Id="rId7" Type="http://schemas.openxmlformats.org/officeDocument/2006/relationships/image" Target="../media/image8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19.xml"/><Relationship Id="rId6" Type="http://schemas.openxmlformats.org/officeDocument/2006/relationships/image" Target="../media/image87.svg"/><Relationship Id="rId5" Type="http://schemas.openxmlformats.org/officeDocument/2006/relationships/image" Target="../media/image86.png"/><Relationship Id="rId4" Type="http://schemas.openxmlformats.org/officeDocument/2006/relationships/image" Target="../media/image85.svg"/><Relationship Id="rId9" Type="http://schemas.openxmlformats.org/officeDocument/2006/relationships/image" Target="../media/image9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7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19.xml"/><Relationship Id="rId4" Type="http://schemas.openxmlformats.org/officeDocument/2006/relationships/image" Target="../media/image9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1224" y="3173680"/>
            <a:ext cx="5194433" cy="1826339"/>
          </a:xfrm>
        </p:spPr>
        <p:txBody>
          <a:bodyPr/>
          <a:lstStyle/>
          <a:p>
            <a:pPr lvl="1" algn="ctr"/>
            <a:r>
              <a:rPr lang="en-US" sz="4800" b="1">
                <a:solidFill>
                  <a:srgbClr val="1C498B"/>
                </a:solidFill>
                <a:latin typeface="DM Sans"/>
                <a:ea typeface="+mj-lt"/>
                <a:cs typeface="+mj-lt"/>
              </a:rPr>
              <a:t>Equity and Safe Sleep for Infant</a:t>
            </a:r>
            <a:r>
              <a:rPr lang="en-US" sz="4800" b="1">
                <a:solidFill>
                  <a:schemeClr val="accent1"/>
                </a:solidFill>
                <a:latin typeface="DM Sans"/>
                <a:ea typeface="+mj-lt"/>
                <a:cs typeface="+mj-lt"/>
              </a:rPr>
              <a:t>s</a:t>
            </a:r>
            <a:br>
              <a:rPr lang="en-US" sz="4800" b="1">
                <a:latin typeface="DM Sans"/>
                <a:ea typeface="+mj-lt"/>
                <a:cs typeface="+mj-lt"/>
              </a:rPr>
            </a:br>
            <a:br>
              <a:rPr lang="en-US" sz="3600">
                <a:latin typeface="DM Sans"/>
                <a:ea typeface="+mj-lt"/>
                <a:cs typeface="+mj-lt"/>
              </a:rPr>
            </a:br>
            <a:endParaRPr lang="en-US" sz="3600" b="0">
              <a:latin typeface="DM Sans"/>
              <a:cs typeface="Calibri"/>
            </a:endParaRPr>
          </a:p>
        </p:txBody>
      </p:sp>
      <p:pic>
        <p:nvPicPr>
          <p:cNvPr id="2" name="Picture 1" descr="A person holding a baby&#10;&#10;Description automatically generated">
            <a:extLst>
              <a:ext uri="{FF2B5EF4-FFF2-40B4-BE49-F238E27FC236}">
                <a16:creationId xmlns:a16="http://schemas.microsoft.com/office/drawing/2014/main" id="{0D7C69D0-240C-8322-D521-66F461EE341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3571" y="1815347"/>
            <a:ext cx="4425350" cy="289662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Subtitle 3">
            <a:extLst>
              <a:ext uri="{FF2B5EF4-FFF2-40B4-BE49-F238E27FC236}">
                <a16:creationId xmlns:a16="http://schemas.microsoft.com/office/drawing/2014/main" id="{7F20A429-9947-F447-2DF2-A5C17B5C6EC1}"/>
              </a:ext>
            </a:extLst>
          </p:cNvPr>
          <p:cNvSpPr>
            <a:spLocks noGrp="1"/>
          </p:cNvSpPr>
          <p:nvPr/>
        </p:nvSpPr>
        <p:spPr>
          <a:xfrm>
            <a:off x="1574463" y="4514450"/>
            <a:ext cx="5426907" cy="9865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latin typeface="DM Sans"/>
                <a:ea typeface="+mn-lt"/>
                <a:cs typeface="+mn-lt"/>
              </a:rPr>
              <a:t>June 17th, 2024 2:00 </a:t>
            </a:r>
            <a:r>
              <a:rPr lang="en-US">
                <a:latin typeface="Bierstadt Display"/>
                <a:ea typeface="+mn-lt"/>
                <a:cs typeface="+mn-lt"/>
              </a:rPr>
              <a:t>PM</a:t>
            </a:r>
            <a:r>
              <a:rPr lang="en-US">
                <a:latin typeface="DM Sans"/>
                <a:ea typeface="+mn-lt"/>
                <a:cs typeface="+mn-lt"/>
              </a:rPr>
              <a:t> </a:t>
            </a:r>
            <a:endParaRPr lang="en-US">
              <a:latin typeface="DM Sans"/>
            </a:endParaRPr>
          </a:p>
        </p:txBody>
      </p:sp>
      <p:grpSp>
        <p:nvGrpSpPr>
          <p:cNvPr id="7" name="Group 27">
            <a:extLst>
              <a:ext uri="{FF2B5EF4-FFF2-40B4-BE49-F238E27FC236}">
                <a16:creationId xmlns:a16="http://schemas.microsoft.com/office/drawing/2014/main" id="{63770316-A22E-98DA-7612-617DBB68472E}"/>
              </a:ext>
            </a:extLst>
          </p:cNvPr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5" name="Freeform 28">
              <a:extLst>
                <a:ext uri="{FF2B5EF4-FFF2-40B4-BE49-F238E27FC236}">
                  <a16:creationId xmlns:a16="http://schemas.microsoft.com/office/drawing/2014/main" id="{8E694DE2-D1B5-A619-19A6-0A53A2DE2074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TextBox 29">
              <a:extLst>
                <a:ext uri="{FF2B5EF4-FFF2-40B4-BE49-F238E27FC236}">
                  <a16:creationId xmlns:a16="http://schemas.microsoft.com/office/drawing/2014/main" id="{FE263125-2206-7D72-1BC9-C4D15DED1BBE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</p:spTree>
    <p:extLst>
      <p:ext uri="{BB962C8B-B14F-4D97-AF65-F5344CB8AC3E}">
        <p14:creationId xmlns:p14="http://schemas.microsoft.com/office/powerpoint/2010/main" val="3127921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780D40-48F4-8E39-BBD9-5C60C9EAEF1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07E828-CF20-52B2-D54A-89E86B2890C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8157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8C66E53-265C-78EE-CC7C-71B6F8B10A9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1</a:t>
            </a:fld>
            <a:endParaRPr lang="en-US"/>
          </a:p>
        </p:txBody>
      </p:sp>
      <p:pic>
        <p:nvPicPr>
          <p:cNvPr id="3" name="Picture 2" descr="A collage of a baby sleeping&#10;&#10;Description automatically generated">
            <a:extLst>
              <a:ext uri="{FF2B5EF4-FFF2-40B4-BE49-F238E27FC236}">
                <a16:creationId xmlns:a16="http://schemas.microsoft.com/office/drawing/2014/main" id="{2E5C3DC1-E8FA-844E-2C5E-0242FC11CD2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8197F23-1FA5-1CBB-3CF1-F9327B95A94C}"/>
              </a:ext>
            </a:extLst>
          </p:cNvPr>
          <p:cNvSpPr txBox="1"/>
          <p:nvPr/>
        </p:nvSpPr>
        <p:spPr>
          <a:xfrm>
            <a:off x="-10597" y="-1104"/>
            <a:ext cx="5169162" cy="3806170"/>
          </a:xfrm>
          <a:prstGeom prst="rect">
            <a:avLst/>
          </a:prstGeom>
          <a:solidFill>
            <a:schemeClr val="bg1"/>
          </a:solidFill>
          <a:ln w="12700">
            <a:solidFill>
              <a:srgbClr val="E2DDE5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>
                <a:latin typeface="Tenorite"/>
                <a:cs typeface="Arial"/>
              </a:rPr>
              <a:t>Kits included:</a:t>
            </a:r>
          </a:p>
          <a:p>
            <a:pPr marL="285750">
              <a:spcAft>
                <a:spcPts val="500"/>
              </a:spcAft>
              <a:buFont typeface="Arial"/>
              <a:buChar char="•"/>
            </a:pPr>
            <a:r>
              <a:rPr lang="en-US" sz="1600">
                <a:latin typeface="Tenorite"/>
                <a:cs typeface="Arial"/>
              </a:rPr>
              <a:t>5 posters + 200 handouts (4 tear pads of 50) in English for hospitals with a birth volume up to 800</a:t>
            </a:r>
          </a:p>
          <a:p>
            <a:pPr marL="285750">
              <a:spcAft>
                <a:spcPts val="500"/>
              </a:spcAft>
              <a:buFont typeface="Arial"/>
              <a:buChar char="•"/>
            </a:pPr>
            <a:r>
              <a:rPr lang="en-US" sz="1600">
                <a:latin typeface="Tenorite"/>
                <a:cs typeface="Arial"/>
              </a:rPr>
              <a:t>10 posters + 400 handouts  (8 tear pads of 50) in English for hospitals with a birth volume over 800.  </a:t>
            </a:r>
          </a:p>
          <a:p>
            <a:pPr marL="285750">
              <a:spcAft>
                <a:spcPts val="500"/>
              </a:spcAft>
              <a:buFont typeface="Arial"/>
              <a:buChar char="•"/>
            </a:pPr>
            <a:r>
              <a:rPr lang="en-US" sz="1600">
                <a:latin typeface="Tenorite"/>
                <a:cs typeface="Arial"/>
              </a:rPr>
              <a:t>ILPQC ESSI Initiative and Key Strategies Poster </a:t>
            </a:r>
          </a:p>
          <a:p>
            <a:pPr marL="285750">
              <a:spcAft>
                <a:spcPts val="500"/>
              </a:spcAft>
              <a:buFont typeface="Arial"/>
              <a:buChar char="•"/>
            </a:pPr>
            <a:r>
              <a:rPr lang="en-US" sz="1600">
                <a:latin typeface="Tenorite"/>
                <a:cs typeface="Arial"/>
              </a:rPr>
              <a:t>ILPQC ESSI Respectful Care Practices</a:t>
            </a:r>
          </a:p>
          <a:p>
            <a:pPr>
              <a:spcAft>
                <a:spcPts val="500"/>
              </a:spcAft>
            </a:pPr>
            <a:r>
              <a:rPr lang="en-US" sz="1600">
                <a:latin typeface="Tenorite"/>
                <a:cs typeface="Arial"/>
              </a:rPr>
              <a:t>Option to order additional handouts in the following languages: </a:t>
            </a:r>
          </a:p>
          <a:p>
            <a:pPr marL="285750">
              <a:spcAft>
                <a:spcPts val="500"/>
              </a:spcAft>
              <a:buFont typeface="Arial"/>
              <a:buChar char="•"/>
            </a:pPr>
            <a:r>
              <a:rPr lang="en-US" sz="1600">
                <a:latin typeface="Tenorite"/>
                <a:cs typeface="Arial"/>
              </a:rPr>
              <a:t>Spanish</a:t>
            </a:r>
          </a:p>
          <a:p>
            <a:pPr marL="285750">
              <a:spcAft>
                <a:spcPts val="500"/>
              </a:spcAft>
              <a:buFont typeface="Arial"/>
              <a:buChar char="•"/>
            </a:pPr>
            <a:r>
              <a:rPr lang="en-US" sz="1600">
                <a:latin typeface="Tenorite"/>
                <a:cs typeface="Arial"/>
              </a:rPr>
              <a:t>Chinese</a:t>
            </a:r>
          </a:p>
          <a:p>
            <a:pPr marL="285750">
              <a:spcAft>
                <a:spcPts val="500"/>
              </a:spcAft>
              <a:buFont typeface="Arial"/>
              <a:buChar char="•"/>
            </a:pPr>
            <a:r>
              <a:rPr lang="en-US" sz="1600">
                <a:latin typeface="Tenorite"/>
                <a:cs typeface="Arial"/>
              </a:rPr>
              <a:t>Arabic</a:t>
            </a:r>
          </a:p>
          <a:p>
            <a:pPr marL="285750">
              <a:spcAft>
                <a:spcPts val="500"/>
              </a:spcAft>
              <a:buFont typeface="Arial"/>
              <a:buChar char="•"/>
            </a:pPr>
            <a:r>
              <a:rPr lang="en-US" sz="1600">
                <a:latin typeface="Tenorite"/>
                <a:cs typeface="Arial"/>
              </a:rPr>
              <a:t>Polish </a:t>
            </a:r>
          </a:p>
        </p:txBody>
      </p:sp>
    </p:spTree>
    <p:extLst>
      <p:ext uri="{BB962C8B-B14F-4D97-AF65-F5344CB8AC3E}">
        <p14:creationId xmlns:p14="http://schemas.microsoft.com/office/powerpoint/2010/main" val="39877083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791C4-9B3C-9538-F299-A006E1E9E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942" y="704456"/>
            <a:ext cx="9365380" cy="2014679"/>
          </a:xfrm>
        </p:spPr>
        <p:txBody>
          <a:bodyPr/>
          <a:lstStyle/>
          <a:p>
            <a:r>
              <a:rPr lang="en-US">
                <a:latin typeface="Aptos"/>
                <a:ea typeface="Lato Medium"/>
                <a:cs typeface="Prompt"/>
              </a:rPr>
              <a:t>ESSI Aims and Measures</a:t>
            </a:r>
          </a:p>
        </p:txBody>
      </p:sp>
    </p:spTree>
    <p:extLst>
      <p:ext uri="{BB962C8B-B14F-4D97-AF65-F5344CB8AC3E}">
        <p14:creationId xmlns:p14="http://schemas.microsoft.com/office/powerpoint/2010/main" val="33946701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5861D58-2345-8140-2120-DC1F272BBFF2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668FC7-57F5-1E3A-49A6-53E69C2CA8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25387" y="6377437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dirty="0" smtClean="0"/>
              <a:pPr/>
              <a:t>1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D55EC6-512E-CD50-1A08-34BC71A40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7182B8-D745-6D49-E823-6B4C357520B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1628790" y="-189057"/>
            <a:ext cx="9531829" cy="1334873"/>
          </a:xfrm>
        </p:spPr>
        <p:txBody>
          <a:bodyPr/>
          <a:lstStyle/>
          <a:p>
            <a:pPr algn="ctr"/>
            <a:r>
              <a:rPr lang="en-US" sz="4800">
                <a:ea typeface="Lato Medium"/>
                <a:cs typeface="Lato Medium"/>
              </a:rPr>
              <a:t>ESSI Initiative Aims</a:t>
            </a:r>
            <a:endParaRPr lang="en-US" sz="4800"/>
          </a:p>
        </p:txBody>
      </p:sp>
      <p:grpSp>
        <p:nvGrpSpPr>
          <p:cNvPr id="12" name="Group 3">
            <a:extLst>
              <a:ext uri="{FF2B5EF4-FFF2-40B4-BE49-F238E27FC236}">
                <a16:creationId xmlns:a16="http://schemas.microsoft.com/office/drawing/2014/main" id="{A28016B6-6D80-89E3-91AF-D930E421AD61}"/>
              </a:ext>
            </a:extLst>
          </p:cNvPr>
          <p:cNvGrpSpPr/>
          <p:nvPr/>
        </p:nvGrpSpPr>
        <p:grpSpPr>
          <a:xfrm>
            <a:off x="608847" y="787285"/>
            <a:ext cx="11250165" cy="1346928"/>
            <a:chOff x="0" y="-57150"/>
            <a:chExt cx="2879117" cy="697690"/>
          </a:xfrm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966BE466-0331-E647-C2F5-1581C924B039}"/>
                </a:ext>
              </a:extLst>
            </p:cNvPr>
            <p:cNvSpPr/>
            <p:nvPr/>
          </p:nvSpPr>
          <p:spPr>
            <a:xfrm>
              <a:off x="0" y="0"/>
              <a:ext cx="2879117" cy="640540"/>
            </a:xfrm>
            <a:custGeom>
              <a:avLst/>
              <a:gdLst/>
              <a:ahLst/>
              <a:cxnLst/>
              <a:rect l="l" t="t" r="r" b="b"/>
              <a:pathLst>
                <a:path w="2879117" h="640540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604421"/>
                  </a:lnTo>
                  <a:cubicBezTo>
                    <a:pt x="2879117" y="614001"/>
                    <a:pt x="2875312" y="623188"/>
                    <a:pt x="2868538" y="629961"/>
                  </a:cubicBezTo>
                  <a:cubicBezTo>
                    <a:pt x="2861764" y="636735"/>
                    <a:pt x="2852578" y="640540"/>
                    <a:pt x="2842998" y="640540"/>
                  </a:cubicBezTo>
                  <a:lnTo>
                    <a:pt x="36119" y="640540"/>
                  </a:lnTo>
                  <a:cubicBezTo>
                    <a:pt x="26539" y="640540"/>
                    <a:pt x="17353" y="636735"/>
                    <a:pt x="10579" y="629961"/>
                  </a:cubicBezTo>
                  <a:cubicBezTo>
                    <a:pt x="3805" y="623188"/>
                    <a:pt x="0" y="614001"/>
                    <a:pt x="0" y="604421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6B95FD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B604E516-649C-1FD9-2519-CEA85AA2096B}"/>
                </a:ext>
              </a:extLst>
            </p:cNvPr>
            <p:cNvSpPr txBox="1"/>
            <p:nvPr/>
          </p:nvSpPr>
          <p:spPr>
            <a:xfrm>
              <a:off x="0" y="-57150"/>
              <a:ext cx="2879117" cy="69769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16" name="Group 6">
            <a:extLst>
              <a:ext uri="{FF2B5EF4-FFF2-40B4-BE49-F238E27FC236}">
                <a16:creationId xmlns:a16="http://schemas.microsoft.com/office/drawing/2014/main" id="{80963B6F-3E16-814E-7593-2BE3F5176BAA}"/>
              </a:ext>
            </a:extLst>
          </p:cNvPr>
          <p:cNvGrpSpPr/>
          <p:nvPr/>
        </p:nvGrpSpPr>
        <p:grpSpPr>
          <a:xfrm>
            <a:off x="608847" y="2215964"/>
            <a:ext cx="11288265" cy="1272328"/>
            <a:chOff x="0" y="-57150"/>
            <a:chExt cx="2879117" cy="547803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A080C1E4-8D81-DC7D-733F-543A19CACC97}"/>
                </a:ext>
              </a:extLst>
            </p:cNvPr>
            <p:cNvSpPr/>
            <p:nvPr/>
          </p:nvSpPr>
          <p:spPr>
            <a:xfrm>
              <a:off x="0" y="0"/>
              <a:ext cx="2879117" cy="490653"/>
            </a:xfrm>
            <a:custGeom>
              <a:avLst/>
              <a:gdLst/>
              <a:ahLst/>
              <a:cxnLst/>
              <a:rect l="l" t="t" r="r" b="b"/>
              <a:pathLst>
                <a:path w="2879117" h="490653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454535"/>
                  </a:lnTo>
                  <a:cubicBezTo>
                    <a:pt x="2879117" y="464114"/>
                    <a:pt x="2875312" y="473301"/>
                    <a:pt x="2868538" y="480074"/>
                  </a:cubicBezTo>
                  <a:cubicBezTo>
                    <a:pt x="2861764" y="486848"/>
                    <a:pt x="2852578" y="490653"/>
                    <a:pt x="2842998" y="490653"/>
                  </a:cubicBezTo>
                  <a:lnTo>
                    <a:pt x="36119" y="490653"/>
                  </a:lnTo>
                  <a:cubicBezTo>
                    <a:pt x="26539" y="490653"/>
                    <a:pt x="17353" y="486848"/>
                    <a:pt x="10579" y="480074"/>
                  </a:cubicBezTo>
                  <a:cubicBezTo>
                    <a:pt x="3805" y="473301"/>
                    <a:pt x="0" y="464114"/>
                    <a:pt x="0" y="454535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1C498B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TextBox 8">
              <a:extLst>
                <a:ext uri="{FF2B5EF4-FFF2-40B4-BE49-F238E27FC236}">
                  <a16:creationId xmlns:a16="http://schemas.microsoft.com/office/drawing/2014/main" id="{41866C53-10BB-5C7A-FBB8-8B559FBF4543}"/>
                </a:ext>
              </a:extLst>
            </p:cNvPr>
            <p:cNvSpPr txBox="1"/>
            <p:nvPr/>
          </p:nvSpPr>
          <p:spPr>
            <a:xfrm>
              <a:off x="0" y="-57150"/>
              <a:ext cx="2879117" cy="54780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20" name="Group 9">
            <a:extLst>
              <a:ext uri="{FF2B5EF4-FFF2-40B4-BE49-F238E27FC236}">
                <a16:creationId xmlns:a16="http://schemas.microsoft.com/office/drawing/2014/main" id="{57B897C2-5645-67EB-E870-DDA8EEAA309C}"/>
              </a:ext>
            </a:extLst>
          </p:cNvPr>
          <p:cNvGrpSpPr/>
          <p:nvPr/>
        </p:nvGrpSpPr>
        <p:grpSpPr>
          <a:xfrm>
            <a:off x="91329" y="1152079"/>
            <a:ext cx="812800" cy="825500"/>
            <a:chOff x="0" y="0"/>
            <a:chExt cx="812800" cy="812800"/>
          </a:xfrm>
        </p:grpSpPr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C87BADC8-1879-2359-C52E-E819876B32FA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TextBox 11">
              <a:extLst>
                <a:ext uri="{FF2B5EF4-FFF2-40B4-BE49-F238E27FC236}">
                  <a16:creationId xmlns:a16="http://schemas.microsoft.com/office/drawing/2014/main" id="{AF32047E-EB6B-BD4B-76DD-7D47B980544C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26" name="TextBox 15">
            <a:extLst>
              <a:ext uri="{FF2B5EF4-FFF2-40B4-BE49-F238E27FC236}">
                <a16:creationId xmlns:a16="http://schemas.microsoft.com/office/drawing/2014/main" id="{E9780070-BCB0-A4DC-93F5-6A72106D04EE}"/>
              </a:ext>
            </a:extLst>
          </p:cNvPr>
          <p:cNvSpPr txBox="1"/>
          <p:nvPr/>
        </p:nvSpPr>
        <p:spPr>
          <a:xfrm>
            <a:off x="992051" y="1158360"/>
            <a:ext cx="10796527" cy="9517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70% of Illinois birthing and children’s hospitals will address disparities and promote neonatal equity by actively participating in the ESSI initiative.​</a:t>
            </a:r>
          </a:p>
          <a:p>
            <a:pPr>
              <a:lnSpc>
                <a:spcPts val="2167"/>
              </a:lnSpc>
            </a:pPr>
            <a:endParaRPr lang="en-US" sz="2000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:a16="http://schemas.microsoft.com/office/drawing/2014/main" id="{8C1D734D-3C73-E6F6-D1A8-CF64A5F8112D}"/>
              </a:ext>
            </a:extLst>
          </p:cNvPr>
          <p:cNvSpPr txBox="1"/>
          <p:nvPr/>
        </p:nvSpPr>
        <p:spPr>
          <a:xfrm>
            <a:off x="1111307" y="2549809"/>
            <a:ext cx="10558015" cy="6567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80% of infants will be discharged from ILPQC hospitals with a completed ESSI Bundle.</a:t>
            </a:r>
          </a:p>
        </p:txBody>
      </p:sp>
      <p:sp>
        <p:nvSpPr>
          <p:cNvPr id="30" name="Freeform 17">
            <a:extLst>
              <a:ext uri="{FF2B5EF4-FFF2-40B4-BE49-F238E27FC236}">
                <a16:creationId xmlns:a16="http://schemas.microsoft.com/office/drawing/2014/main" id="{807B8E33-7EFF-7586-9B2A-EEB15CC8C381}"/>
              </a:ext>
            </a:extLst>
          </p:cNvPr>
          <p:cNvSpPr/>
          <p:nvPr/>
        </p:nvSpPr>
        <p:spPr>
          <a:xfrm>
            <a:off x="886026" y="4618936"/>
            <a:ext cx="3150228" cy="608867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80"/>
                </a:lnTo>
                <a:lnTo>
                  <a:pt x="0" y="78078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TextBox 18">
            <a:extLst>
              <a:ext uri="{FF2B5EF4-FFF2-40B4-BE49-F238E27FC236}">
                <a16:creationId xmlns:a16="http://schemas.microsoft.com/office/drawing/2014/main" id="{A29085F2-BEE6-99AF-40AD-620EFEAA68F9}"/>
              </a:ext>
            </a:extLst>
          </p:cNvPr>
          <p:cNvSpPr txBox="1"/>
          <p:nvPr/>
        </p:nvSpPr>
        <p:spPr>
          <a:xfrm>
            <a:off x="1387344" y="4808167"/>
            <a:ext cx="2028316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READINESS</a:t>
            </a:r>
          </a:p>
        </p:txBody>
      </p:sp>
      <p:sp>
        <p:nvSpPr>
          <p:cNvPr id="34" name="Freeform 19">
            <a:extLst>
              <a:ext uri="{FF2B5EF4-FFF2-40B4-BE49-F238E27FC236}">
                <a16:creationId xmlns:a16="http://schemas.microsoft.com/office/drawing/2014/main" id="{27AAACD0-2AD9-0861-FD85-F167BEEF8D8C}"/>
              </a:ext>
            </a:extLst>
          </p:cNvPr>
          <p:cNvSpPr/>
          <p:nvPr/>
        </p:nvSpPr>
        <p:spPr>
          <a:xfrm>
            <a:off x="893425" y="5385726"/>
            <a:ext cx="3150228" cy="627629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79"/>
                </a:lnTo>
                <a:lnTo>
                  <a:pt x="0" y="780779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73602F57-63E5-AD2C-8F35-EEE5A55C03B9}"/>
              </a:ext>
            </a:extLst>
          </p:cNvPr>
          <p:cNvSpPr txBox="1"/>
          <p:nvPr/>
        </p:nvSpPr>
        <p:spPr>
          <a:xfrm>
            <a:off x="836786" y="5577580"/>
            <a:ext cx="3206735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TRANSFER OF CARE</a:t>
            </a:r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B9969608-898E-6FC6-1F08-56733F2AA44B}"/>
              </a:ext>
            </a:extLst>
          </p:cNvPr>
          <p:cNvSpPr/>
          <p:nvPr/>
        </p:nvSpPr>
        <p:spPr>
          <a:xfrm>
            <a:off x="888227" y="3819390"/>
            <a:ext cx="3148028" cy="608493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0" name="TextBox 22">
            <a:extLst>
              <a:ext uri="{FF2B5EF4-FFF2-40B4-BE49-F238E27FC236}">
                <a16:creationId xmlns:a16="http://schemas.microsoft.com/office/drawing/2014/main" id="{9869AD74-D8A3-0B44-10F4-685B412FCB24}"/>
              </a:ext>
            </a:extLst>
          </p:cNvPr>
          <p:cNvSpPr txBox="1"/>
          <p:nvPr/>
        </p:nvSpPr>
        <p:spPr>
          <a:xfrm>
            <a:off x="298855" y="947398"/>
            <a:ext cx="410448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1</a:t>
            </a:r>
          </a:p>
        </p:txBody>
      </p:sp>
      <p:sp>
        <p:nvSpPr>
          <p:cNvPr id="44" name="TextBox 24">
            <a:extLst>
              <a:ext uri="{FF2B5EF4-FFF2-40B4-BE49-F238E27FC236}">
                <a16:creationId xmlns:a16="http://schemas.microsoft.com/office/drawing/2014/main" id="{E3D868BB-9056-5F85-37FB-DC17C2377580}"/>
              </a:ext>
            </a:extLst>
          </p:cNvPr>
          <p:cNvSpPr txBox="1"/>
          <p:nvPr/>
        </p:nvSpPr>
        <p:spPr>
          <a:xfrm>
            <a:off x="1488052" y="4008485"/>
            <a:ext cx="1951014" cy="3112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AWARENESS</a:t>
            </a:r>
          </a:p>
        </p:txBody>
      </p:sp>
      <p:sp>
        <p:nvSpPr>
          <p:cNvPr id="46" name="TextBox 25">
            <a:extLst>
              <a:ext uri="{FF2B5EF4-FFF2-40B4-BE49-F238E27FC236}">
                <a16:creationId xmlns:a16="http://schemas.microsoft.com/office/drawing/2014/main" id="{1072F846-48B0-2F56-6528-205809296213}"/>
              </a:ext>
            </a:extLst>
          </p:cNvPr>
          <p:cNvSpPr txBox="1"/>
          <p:nvPr/>
        </p:nvSpPr>
        <p:spPr>
          <a:xfrm>
            <a:off x="4312052" y="3863840"/>
            <a:ext cx="7763339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/>
                <a:ea typeface="Calibri"/>
                <a:cs typeface="Calibri"/>
              </a:rPr>
              <a:t>Parents or caregivers report an understanding of a safe sleep environment.</a:t>
            </a:r>
          </a:p>
        </p:txBody>
      </p:sp>
      <p:sp>
        <p:nvSpPr>
          <p:cNvPr id="48" name="TextBox 26">
            <a:extLst>
              <a:ext uri="{FF2B5EF4-FFF2-40B4-BE49-F238E27FC236}">
                <a16:creationId xmlns:a16="http://schemas.microsoft.com/office/drawing/2014/main" id="{9DA002CE-213B-0EFE-03DC-C3DB65BCF003}"/>
              </a:ext>
            </a:extLst>
          </p:cNvPr>
          <p:cNvSpPr txBox="1"/>
          <p:nvPr/>
        </p:nvSpPr>
        <p:spPr>
          <a:xfrm>
            <a:off x="4311686" y="4691360"/>
            <a:ext cx="7409744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Family is prepared for a transition to home, including </a:t>
            </a:r>
            <a:r>
              <a:rPr lang="en-US" sz="2200" err="1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SDoH</a:t>
            </a:r>
            <a:r>
              <a:rPr lang="en-US" sz="2200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 screening and resource linkage.</a:t>
            </a:r>
            <a:endParaRPr lang="en-US" sz="2200">
              <a:solidFill>
                <a:srgbClr val="000000"/>
              </a:solidFill>
              <a:latin typeface="DM Sans"/>
            </a:endParaRPr>
          </a:p>
        </p:txBody>
      </p:sp>
      <p:sp>
        <p:nvSpPr>
          <p:cNvPr id="50" name="TextBox 27">
            <a:extLst>
              <a:ext uri="{FF2B5EF4-FFF2-40B4-BE49-F238E27FC236}">
                <a16:creationId xmlns:a16="http://schemas.microsoft.com/office/drawing/2014/main" id="{484FA518-5005-04AD-A148-23B555389D18}"/>
              </a:ext>
            </a:extLst>
          </p:cNvPr>
          <p:cNvSpPr txBox="1"/>
          <p:nvPr/>
        </p:nvSpPr>
        <p:spPr>
          <a:xfrm>
            <a:off x="4314936" y="5564972"/>
            <a:ext cx="7457964" cy="292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/>
                <a:ea typeface="Calibri"/>
                <a:cs typeface="Calibri"/>
              </a:rPr>
              <a:t>Communication to primary care provider completed.</a:t>
            </a:r>
            <a:endParaRPr lang="en-US" sz="2200">
              <a:latin typeface="DM Sans"/>
              <a:cs typeface="Calibri"/>
            </a:endParaRPr>
          </a:p>
        </p:txBody>
      </p:sp>
      <p:grpSp>
        <p:nvGrpSpPr>
          <p:cNvPr id="7" name="Group 9">
            <a:extLst>
              <a:ext uri="{FF2B5EF4-FFF2-40B4-BE49-F238E27FC236}">
                <a16:creationId xmlns:a16="http://schemas.microsoft.com/office/drawing/2014/main" id="{59DCCF77-1BDF-BB49-8752-58A43F365FAC}"/>
              </a:ext>
            </a:extLst>
          </p:cNvPr>
          <p:cNvGrpSpPr/>
          <p:nvPr/>
        </p:nvGrpSpPr>
        <p:grpSpPr>
          <a:xfrm>
            <a:off x="91329" y="2498278"/>
            <a:ext cx="812800" cy="825500"/>
            <a:chOff x="0" y="0"/>
            <a:chExt cx="812800" cy="812800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E15AE669-9885-B6BE-D637-60B38E0F95F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TextBox 11">
              <a:extLst>
                <a:ext uri="{FF2B5EF4-FFF2-40B4-BE49-F238E27FC236}">
                  <a16:creationId xmlns:a16="http://schemas.microsoft.com/office/drawing/2014/main" id="{2EC913AF-9BAA-D267-4DAB-C2EAAC071B91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42" name="TextBox 23">
            <a:extLst>
              <a:ext uri="{FF2B5EF4-FFF2-40B4-BE49-F238E27FC236}">
                <a16:creationId xmlns:a16="http://schemas.microsoft.com/office/drawing/2014/main" id="{FB430A34-582F-067B-AEF5-DB4764FC6C5A}"/>
              </a:ext>
            </a:extLst>
          </p:cNvPr>
          <p:cNvSpPr txBox="1"/>
          <p:nvPr/>
        </p:nvSpPr>
        <p:spPr>
          <a:xfrm>
            <a:off x="290166" y="2295809"/>
            <a:ext cx="434023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2</a:t>
            </a: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3BDDD164-0124-FE54-AD8E-88B343F5817D}"/>
              </a:ext>
            </a:extLst>
          </p:cNvPr>
          <p:cNvSpPr/>
          <p:nvPr/>
        </p:nvSpPr>
        <p:spPr>
          <a:xfrm>
            <a:off x="9566983" y="166209"/>
            <a:ext cx="1520914" cy="655191"/>
          </a:xfrm>
          <a:custGeom>
            <a:avLst/>
            <a:gdLst/>
            <a:ahLst/>
            <a:cxnLst/>
            <a:rect l="l" t="t" r="r" b="b"/>
            <a:pathLst>
              <a:path w="2281371" h="982786">
                <a:moveTo>
                  <a:pt x="0" y="0"/>
                </a:moveTo>
                <a:lnTo>
                  <a:pt x="2281372" y="0"/>
                </a:lnTo>
                <a:lnTo>
                  <a:pt x="2281372" y="982786"/>
                </a:lnTo>
                <a:lnTo>
                  <a:pt x="0" y="982786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7560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845693" y="484263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1845693" y="1550509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8"/>
                </a:lnTo>
                <a:lnTo>
                  <a:pt x="0" y="1027868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1845693" y="261675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1845693" y="371997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Freeform 6"/>
          <p:cNvSpPr/>
          <p:nvPr/>
        </p:nvSpPr>
        <p:spPr>
          <a:xfrm>
            <a:off x="1845693" y="4786220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Freeform 7"/>
          <p:cNvSpPr/>
          <p:nvPr/>
        </p:nvSpPr>
        <p:spPr>
          <a:xfrm>
            <a:off x="4269331" y="1475298"/>
            <a:ext cx="1176995" cy="835667"/>
          </a:xfrm>
          <a:custGeom>
            <a:avLst/>
            <a:gdLst/>
            <a:ahLst/>
            <a:cxnLst/>
            <a:rect l="l" t="t" r="r" b="b"/>
            <a:pathLst>
              <a:path w="1765493" h="1253500">
                <a:moveTo>
                  <a:pt x="0" y="0"/>
                </a:moveTo>
                <a:lnTo>
                  <a:pt x="1765493" y="0"/>
                </a:lnTo>
                <a:lnTo>
                  <a:pt x="1765493" y="1253500"/>
                </a:lnTo>
                <a:lnTo>
                  <a:pt x="0" y="125350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Freeform 8"/>
          <p:cNvSpPr/>
          <p:nvPr/>
        </p:nvSpPr>
        <p:spPr>
          <a:xfrm>
            <a:off x="4435542" y="337989"/>
            <a:ext cx="844571" cy="977795"/>
          </a:xfrm>
          <a:custGeom>
            <a:avLst/>
            <a:gdLst/>
            <a:ahLst/>
            <a:cxnLst/>
            <a:rect l="l" t="t" r="r" b="b"/>
            <a:pathLst>
              <a:path w="1266856" h="1466693">
                <a:moveTo>
                  <a:pt x="0" y="0"/>
                </a:moveTo>
                <a:lnTo>
                  <a:pt x="1266857" y="0"/>
                </a:lnTo>
                <a:lnTo>
                  <a:pt x="1266857" y="1466693"/>
                </a:lnTo>
                <a:lnTo>
                  <a:pt x="0" y="1466693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9" name="Freeform 9"/>
          <p:cNvSpPr/>
          <p:nvPr/>
        </p:nvSpPr>
        <p:spPr>
          <a:xfrm>
            <a:off x="4359071" y="2554817"/>
            <a:ext cx="997512" cy="874183"/>
          </a:xfrm>
          <a:custGeom>
            <a:avLst/>
            <a:gdLst/>
            <a:ahLst/>
            <a:cxnLst/>
            <a:rect l="l" t="t" r="r" b="b"/>
            <a:pathLst>
              <a:path w="1496268" h="1311275">
                <a:moveTo>
                  <a:pt x="0" y="0"/>
                </a:moveTo>
                <a:lnTo>
                  <a:pt x="1496269" y="0"/>
                </a:lnTo>
                <a:lnTo>
                  <a:pt x="1496269" y="1311275"/>
                </a:lnTo>
                <a:lnTo>
                  <a:pt x="0" y="1311275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0" name="Freeform 10"/>
          <p:cNvSpPr/>
          <p:nvPr/>
        </p:nvSpPr>
        <p:spPr>
          <a:xfrm>
            <a:off x="4335393" y="3532928"/>
            <a:ext cx="1021191" cy="1080626"/>
          </a:xfrm>
          <a:custGeom>
            <a:avLst/>
            <a:gdLst/>
            <a:ahLst/>
            <a:cxnLst/>
            <a:rect l="l" t="t" r="r" b="b"/>
            <a:pathLst>
              <a:path w="1531787" h="1620939">
                <a:moveTo>
                  <a:pt x="0" y="0"/>
                </a:moveTo>
                <a:lnTo>
                  <a:pt x="1531787" y="0"/>
                </a:lnTo>
                <a:lnTo>
                  <a:pt x="1531787" y="1620939"/>
                </a:lnTo>
                <a:lnTo>
                  <a:pt x="0" y="1620939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1" name="Freeform 11"/>
          <p:cNvSpPr/>
          <p:nvPr/>
        </p:nvSpPr>
        <p:spPr>
          <a:xfrm>
            <a:off x="4437945" y="4715153"/>
            <a:ext cx="1008380" cy="1016000"/>
          </a:xfrm>
          <a:custGeom>
            <a:avLst/>
            <a:gdLst/>
            <a:ahLst/>
            <a:cxnLst/>
            <a:rect l="l" t="t" r="r" b="b"/>
            <a:pathLst>
              <a:path w="1512570" h="1524000">
                <a:moveTo>
                  <a:pt x="0" y="0"/>
                </a:moveTo>
                <a:lnTo>
                  <a:pt x="1512570" y="0"/>
                </a:lnTo>
                <a:lnTo>
                  <a:pt x="1512570" y="1524000"/>
                </a:lnTo>
                <a:lnTo>
                  <a:pt x="0" y="1524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2" name="TextBox 12"/>
          <p:cNvSpPr txBox="1"/>
          <p:nvPr/>
        </p:nvSpPr>
        <p:spPr>
          <a:xfrm>
            <a:off x="2074739" y="646616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1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2074739" y="1684639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2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2074739" y="2750885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3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6096000" y="711200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  <a:cs typeface="Calibri"/>
              </a:rPr>
              <a:t>Healthcare Professional Commitment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6096000" y="1727818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Inclusive Clinical Environment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6096000" y="2825179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  <a:cs typeface="Calibri"/>
              </a:rPr>
              <a:t>Parents and Caregiver Empowerment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2074739" y="3854105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4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2074739" y="4957670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5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6096000" y="5000849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Healthcare Data Utilization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6096000" y="3903413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Community Partnerships</a:t>
            </a:r>
          </a:p>
        </p:txBody>
      </p:sp>
      <p:sp>
        <p:nvSpPr>
          <p:cNvPr id="23" name="Rounded Rectangle 6">
            <a:extLst>
              <a:ext uri="{FF2B5EF4-FFF2-40B4-BE49-F238E27FC236}">
                <a16:creationId xmlns:a16="http://schemas.microsoft.com/office/drawing/2014/main" id="{78B5A3B7-0107-74A6-42BE-EFADF14BEC3D}"/>
              </a:ext>
            </a:extLst>
          </p:cNvPr>
          <p:cNvSpPr/>
          <p:nvPr/>
        </p:nvSpPr>
        <p:spPr>
          <a:xfrm>
            <a:off x="1606157" y="1324990"/>
            <a:ext cx="10059729" cy="1157652"/>
          </a:xfrm>
          <a:prstGeom prst="roundRect">
            <a:avLst/>
          </a:prstGeom>
          <a:noFill/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endParaRPr lang="en-US" sz="1500">
              <a:ea typeface="Calibri"/>
              <a:cs typeface="Calibri"/>
            </a:endParaRPr>
          </a:p>
        </p:txBody>
      </p:sp>
      <p:pic>
        <p:nvPicPr>
          <p:cNvPr id="24" name="Picture 23" descr="A logo with a person in the middle&#10;&#10;Description automatically generated">
            <a:extLst>
              <a:ext uri="{FF2B5EF4-FFF2-40B4-BE49-F238E27FC236}">
                <a16:creationId xmlns:a16="http://schemas.microsoft.com/office/drawing/2014/main" id="{BB2CB55F-0790-7175-FF6E-777FF2A900CC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023" y="5872540"/>
            <a:ext cx="1889972" cy="886710"/>
          </a:xfrm>
          <a:prstGeom prst="rect">
            <a:avLst/>
          </a:prstGeom>
        </p:spPr>
      </p:pic>
      <p:sp>
        <p:nvSpPr>
          <p:cNvPr id="26" name="Freeform 23">
            <a:extLst>
              <a:ext uri="{FF2B5EF4-FFF2-40B4-BE49-F238E27FC236}">
                <a16:creationId xmlns:a16="http://schemas.microsoft.com/office/drawing/2014/main" id="{AE550962-E289-5DDA-2AB0-8CBF44084B7E}"/>
              </a:ext>
            </a:extLst>
          </p:cNvPr>
          <p:cNvSpPr/>
          <p:nvPr/>
        </p:nvSpPr>
        <p:spPr>
          <a:xfrm flipV="1">
            <a:off x="11688331" y="2293443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3639618"/>
                </a:moveTo>
                <a:lnTo>
                  <a:pt x="1674224" y="3639618"/>
                </a:lnTo>
                <a:lnTo>
                  <a:pt x="1674224" y="0"/>
                </a:lnTo>
                <a:lnTo>
                  <a:pt x="0" y="0"/>
                </a:lnTo>
                <a:lnTo>
                  <a:pt x="0" y="3639618"/>
                </a:lnTo>
                <a:close/>
              </a:path>
            </a:pathLst>
          </a:custGeom>
          <a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9" name="Footer Placeholder 4">
            <a:extLst>
              <a:ext uri="{FF2B5EF4-FFF2-40B4-BE49-F238E27FC236}">
                <a16:creationId xmlns:a16="http://schemas.microsoft.com/office/drawing/2014/main" id="{F497B51E-B23E-81E6-6EEC-C84EF82FCD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546836" y="648780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12</a:t>
            </a:r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0A25492-F368-5A21-5DC6-845AD3571FD6}"/>
              </a:ext>
            </a:extLst>
          </p:cNvPr>
          <p:cNvSpPr txBox="1">
            <a:spLocks/>
          </p:cNvSpPr>
          <p:nvPr/>
        </p:nvSpPr>
        <p:spPr>
          <a:xfrm>
            <a:off x="4995333" y="65440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418135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AA70D-3B97-AAF4-599A-5BEF539C23C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844675"/>
            <a:ext cx="2805113" cy="1347788"/>
          </a:xfrm>
        </p:spPr>
        <p:txBody>
          <a:bodyPr/>
          <a:lstStyle/>
          <a:p>
            <a:pPr algn="ctr"/>
            <a:r>
              <a:rPr lang="en-US" sz="4000">
                <a:latin typeface="DM Sans"/>
                <a:ea typeface="Lato Medium"/>
                <a:cs typeface="Lato Medium"/>
              </a:rPr>
              <a:t>Key Driver Diagram</a:t>
            </a:r>
            <a:endParaRPr lang="en-US" sz="4000"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148D1D-0EE2-FC94-7AFE-82D9E9F0BFF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042025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dirty="0" smtClean="0"/>
              <a:pPr/>
              <a:t>1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4FBFB-1843-9ED4-705E-449C6A1AC84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40556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</a:rPr>
              <a:t>Illinois Perinatal Quality Collaborativ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8BEB2-2B67-CEC7-F7A5-CA6255803980}"/>
              </a:ext>
            </a:extLst>
          </p:cNvPr>
          <p:cNvSpPr/>
          <p:nvPr/>
        </p:nvSpPr>
        <p:spPr>
          <a:xfrm>
            <a:off x="2857500" y="5654009"/>
            <a:ext cx="9144000" cy="890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EB9283BE-051A-06BD-CAA6-184C9D686C2F}"/>
              </a:ext>
            </a:extLst>
          </p:cNvPr>
          <p:cNvSpPr/>
          <p:nvPr/>
        </p:nvSpPr>
        <p:spPr>
          <a:xfrm>
            <a:off x="2804105" y="646630"/>
            <a:ext cx="1922145" cy="47625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r>
              <a:rPr lang="en-US" sz="1500">
                <a:latin typeface="Calibri"/>
                <a:cs typeface="Calibri"/>
              </a:rPr>
              <a:t>By December 2025: </a:t>
            </a:r>
            <a:endParaRPr lang="en-US" sz="1500">
              <a:latin typeface="Calibri"/>
              <a:ea typeface="Calibri"/>
              <a:cs typeface="Calibri"/>
            </a:endParaRPr>
          </a:p>
          <a:p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1. Greater than 70% of Illinois birthing and children’s hospitals will address disparities and promote neonatal equity by actively participating in the ESSI initiative.</a:t>
            </a:r>
            <a:endParaRPr lang="en-US" sz="1500">
              <a:latin typeface="Calibri"/>
              <a:ea typeface="Calibri"/>
              <a:cs typeface="Calibri"/>
            </a:endParaRPr>
          </a:p>
          <a:p>
            <a:pPr marL="342900" indent="-342900">
              <a:buAutoNum type="arabicParenR"/>
            </a:pPr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2. Greater than 80% of infants will be discharged from ILPQC hospitals with a completed ESSI bundle. </a:t>
            </a:r>
            <a:r>
              <a:rPr lang="en-US" sz="1500"/>
              <a:t> </a:t>
            </a:r>
            <a:endParaRPr lang="en-US" sz="1500"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80EE81-4D08-B0DE-D216-FE8E15396519}"/>
              </a:ext>
            </a:extLst>
          </p:cNvPr>
          <p:cNvSpPr txBox="1"/>
          <p:nvPr/>
        </p:nvSpPr>
        <p:spPr>
          <a:xfrm>
            <a:off x="3247926" y="273053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Aims</a:t>
            </a:r>
            <a:endParaRPr lang="en-US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8A4033-3B68-E3F4-A3B5-A12C5ED59569}"/>
              </a:ext>
            </a:extLst>
          </p:cNvPr>
          <p:cNvSpPr txBox="1"/>
          <p:nvPr/>
        </p:nvSpPr>
        <p:spPr>
          <a:xfrm>
            <a:off x="4717812" y="276098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Primary Drivers</a:t>
            </a:r>
          </a:p>
        </p:txBody>
      </p:sp>
      <p:sp>
        <p:nvSpPr>
          <p:cNvPr id="18" name="Rounded Rectangle 22">
            <a:extLst>
              <a:ext uri="{FF2B5EF4-FFF2-40B4-BE49-F238E27FC236}">
                <a16:creationId xmlns:a16="http://schemas.microsoft.com/office/drawing/2014/main" id="{C3730C62-AFAC-21AA-3E7A-7AEAD34CE3BE}"/>
              </a:ext>
            </a:extLst>
          </p:cNvPr>
          <p:cNvSpPr/>
          <p:nvPr/>
        </p:nvSpPr>
        <p:spPr>
          <a:xfrm>
            <a:off x="4785239" y="800214"/>
            <a:ext cx="1661844" cy="6997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Healthcare Professional Commitment</a:t>
            </a:r>
          </a:p>
        </p:txBody>
      </p:sp>
      <p:sp>
        <p:nvSpPr>
          <p:cNvPr id="20" name="Rounded Rectangle 76">
            <a:extLst>
              <a:ext uri="{FF2B5EF4-FFF2-40B4-BE49-F238E27FC236}">
                <a16:creationId xmlns:a16="http://schemas.microsoft.com/office/drawing/2014/main" id="{B73A5A2B-E8B2-3A4D-6254-3A3DB1483B77}"/>
              </a:ext>
            </a:extLst>
          </p:cNvPr>
          <p:cNvSpPr/>
          <p:nvPr/>
        </p:nvSpPr>
        <p:spPr>
          <a:xfrm>
            <a:off x="4785172" y="1778930"/>
            <a:ext cx="16618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Inclusive Clinical Environment</a:t>
            </a:r>
          </a:p>
        </p:txBody>
      </p:sp>
      <p:sp>
        <p:nvSpPr>
          <p:cNvPr id="22" name="Rounded Rectangle 83">
            <a:extLst>
              <a:ext uri="{FF2B5EF4-FFF2-40B4-BE49-F238E27FC236}">
                <a16:creationId xmlns:a16="http://schemas.microsoft.com/office/drawing/2014/main" id="{DCD883C2-E6A5-6751-C6D1-3BC19BAEBB65}"/>
              </a:ext>
            </a:extLst>
          </p:cNvPr>
          <p:cNvSpPr/>
          <p:nvPr/>
        </p:nvSpPr>
        <p:spPr>
          <a:xfrm>
            <a:off x="4789674" y="2711059"/>
            <a:ext cx="1674544" cy="7929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Parent and Caregiver Empowerment</a:t>
            </a:r>
            <a:endParaRPr lang="en-US" sz="1600">
              <a:latin typeface="Calibri"/>
              <a:ea typeface="Calibri"/>
              <a:cs typeface="Calibri"/>
            </a:endParaRPr>
          </a:p>
        </p:txBody>
      </p:sp>
      <p:sp>
        <p:nvSpPr>
          <p:cNvPr id="24" name="Rounded Rectangle 84">
            <a:extLst>
              <a:ext uri="{FF2B5EF4-FFF2-40B4-BE49-F238E27FC236}">
                <a16:creationId xmlns:a16="http://schemas.microsoft.com/office/drawing/2014/main" id="{C9EDA1B8-B2B5-4AB7-BE28-FD2E702400CA}"/>
              </a:ext>
            </a:extLst>
          </p:cNvPr>
          <p:cNvSpPr/>
          <p:nvPr/>
        </p:nvSpPr>
        <p:spPr>
          <a:xfrm>
            <a:off x="4789268" y="3771300"/>
            <a:ext cx="1674544" cy="6814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Community </a:t>
            </a:r>
            <a:r>
              <a:rPr lang="en-US" sz="160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lang="en-US" sz="1600">
                <a:solidFill>
                  <a:schemeClr val="tx1"/>
                </a:solidFill>
                <a:latin typeface="Calibri"/>
                <a:cs typeface="Calibri"/>
              </a:rPr>
              <a:t>Partnerships</a:t>
            </a:r>
            <a:endParaRPr lang="en-US" sz="16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6" name="Rounded Rectangle 85">
            <a:extLst>
              <a:ext uri="{FF2B5EF4-FFF2-40B4-BE49-F238E27FC236}">
                <a16:creationId xmlns:a16="http://schemas.microsoft.com/office/drawing/2014/main" id="{78A60644-0FDA-E9A5-A8A9-AB39830E7D17}"/>
              </a:ext>
            </a:extLst>
          </p:cNvPr>
          <p:cNvSpPr/>
          <p:nvPr/>
        </p:nvSpPr>
        <p:spPr>
          <a:xfrm>
            <a:off x="4795447" y="4698068"/>
            <a:ext cx="16872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Healthcare Data Utilization</a:t>
            </a:r>
          </a:p>
        </p:txBody>
      </p:sp>
      <p:sp>
        <p:nvSpPr>
          <p:cNvPr id="28" name="Rounded Rectangle 87">
            <a:extLst>
              <a:ext uri="{FF2B5EF4-FFF2-40B4-BE49-F238E27FC236}">
                <a16:creationId xmlns:a16="http://schemas.microsoft.com/office/drawing/2014/main" id="{4DD97BA5-B3EA-9953-A828-AC4406353BE4}"/>
              </a:ext>
            </a:extLst>
          </p:cNvPr>
          <p:cNvSpPr/>
          <p:nvPr/>
        </p:nvSpPr>
        <p:spPr>
          <a:xfrm>
            <a:off x="6543427" y="858378"/>
            <a:ext cx="5529655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Equitable and Respectful Care Education and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Safe Sleep Environment Education and Implement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297887-83BD-82E8-1C79-F8E9E0836828}"/>
              </a:ext>
            </a:extLst>
          </p:cNvPr>
          <p:cNvSpPr txBox="1"/>
          <p:nvPr/>
        </p:nvSpPr>
        <p:spPr>
          <a:xfrm>
            <a:off x="7972721" y="274352"/>
            <a:ext cx="266752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Secondary Drivers</a:t>
            </a:r>
          </a:p>
        </p:txBody>
      </p:sp>
      <p:sp>
        <p:nvSpPr>
          <p:cNvPr id="32" name="Rounded Rectangle 89">
            <a:extLst>
              <a:ext uri="{FF2B5EF4-FFF2-40B4-BE49-F238E27FC236}">
                <a16:creationId xmlns:a16="http://schemas.microsoft.com/office/drawing/2014/main" id="{8449D5CB-7C16-EDDA-3100-9116410AABE0}"/>
              </a:ext>
            </a:extLst>
          </p:cNvPr>
          <p:cNvSpPr/>
          <p:nvPr/>
        </p:nvSpPr>
        <p:spPr>
          <a:xfrm>
            <a:off x="6602417" y="1710625"/>
            <a:ext cx="5480760" cy="7390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ea typeface="+mn-lt"/>
                <a:cs typeface="+mn-lt"/>
              </a:rPr>
              <a:t>Equitable and Inclusive Unit Policies</a:t>
            </a:r>
            <a:endParaRPr lang="en-US" b="1">
              <a:ea typeface="+mn-lt"/>
              <a:cs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Organizational Leadership Commitment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Parent and Caregiver Experience Prioritization</a:t>
            </a:r>
            <a:endParaRPr lang="en-US" sz="1400" err="1">
              <a:latin typeface="Calibri"/>
              <a:ea typeface="Calibri"/>
              <a:cs typeface="Calibri"/>
            </a:endParaRPr>
          </a:p>
        </p:txBody>
      </p:sp>
      <p:sp>
        <p:nvSpPr>
          <p:cNvPr id="34" name="Rounded Rectangle 90">
            <a:extLst>
              <a:ext uri="{FF2B5EF4-FFF2-40B4-BE49-F238E27FC236}">
                <a16:creationId xmlns:a16="http://schemas.microsoft.com/office/drawing/2014/main" id="{CB726A25-CFF2-A633-BB75-01000B742058}"/>
              </a:ext>
            </a:extLst>
          </p:cNvPr>
          <p:cNvSpPr/>
          <p:nvPr/>
        </p:nvSpPr>
        <p:spPr>
          <a:xfrm>
            <a:off x="6611873" y="2704406"/>
            <a:ext cx="5476926" cy="78884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Respectful Parent and Caregiver Partnerships</a:t>
            </a:r>
            <a:endParaRPr lang="en-US" sz="1400">
              <a:solidFill>
                <a:srgbClr val="FF0000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Safe Sleep Awaren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Calibri"/>
                <a:cs typeface="Calibri"/>
              </a:rPr>
              <a:t>Transition to Home, including </a:t>
            </a:r>
            <a:r>
              <a:rPr lang="en-US" sz="1400" err="1">
                <a:solidFill>
                  <a:schemeClr val="tx1"/>
                </a:solidFill>
                <a:latin typeface="Calibri"/>
                <a:cs typeface="Calibri"/>
              </a:rPr>
              <a:t>SDoH</a:t>
            </a:r>
            <a:r>
              <a:rPr lang="en-US" sz="1400">
                <a:solidFill>
                  <a:schemeClr val="tx1"/>
                </a:solidFill>
                <a:latin typeface="Calibri"/>
                <a:cs typeface="Calibri"/>
              </a:rPr>
              <a:t> 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Screening and Resource Linkage</a:t>
            </a:r>
            <a:endParaRPr lang="en-US" sz="14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36" name="Rounded Rectangle 91">
            <a:extLst>
              <a:ext uri="{FF2B5EF4-FFF2-40B4-BE49-F238E27FC236}">
                <a16:creationId xmlns:a16="http://schemas.microsoft.com/office/drawing/2014/main" id="{C5BA209B-6AD7-115B-8383-D8382814ACEE}"/>
              </a:ext>
            </a:extLst>
          </p:cNvPr>
          <p:cNvSpPr/>
          <p:nvPr/>
        </p:nvSpPr>
        <p:spPr>
          <a:xfrm>
            <a:off x="6606479" y="3667823"/>
            <a:ext cx="5474238" cy="78537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Resource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Building Relationships with Community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ransfer of Care to Community Providers</a:t>
            </a:r>
          </a:p>
        </p:txBody>
      </p:sp>
      <p:sp>
        <p:nvSpPr>
          <p:cNvPr id="38" name="Rounded Rectangle 92">
            <a:extLst>
              <a:ext uri="{FF2B5EF4-FFF2-40B4-BE49-F238E27FC236}">
                <a16:creationId xmlns:a16="http://schemas.microsoft.com/office/drawing/2014/main" id="{DD496E2B-129D-7877-3471-A97FA7218225}"/>
              </a:ext>
            </a:extLst>
          </p:cNvPr>
          <p:cNvSpPr/>
          <p:nvPr/>
        </p:nvSpPr>
        <p:spPr>
          <a:xfrm>
            <a:off x="6606981" y="4625513"/>
            <a:ext cx="5474238" cy="7364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Collection of Accurate Race and Ethnicit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Dissemination of Stratified Data</a:t>
            </a:r>
            <a:endParaRPr lang="en-US" sz="1400"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Application of Data to Address Inequities</a:t>
            </a:r>
            <a:endParaRPr lang="en-US" sz="1400">
              <a:latin typeface="Calibri"/>
              <a:ea typeface="Calibri"/>
              <a:cs typeface="Calibri"/>
            </a:endParaRPr>
          </a:p>
        </p:txBody>
      </p:sp>
      <p:sp>
        <p:nvSpPr>
          <p:cNvPr id="40" name="Rounded Rectangle 93">
            <a:extLst>
              <a:ext uri="{FF2B5EF4-FFF2-40B4-BE49-F238E27FC236}">
                <a16:creationId xmlns:a16="http://schemas.microsoft.com/office/drawing/2014/main" id="{BDCA2154-1309-1ECE-3338-3B699831342F}"/>
              </a:ext>
            </a:extLst>
          </p:cNvPr>
          <p:cNvSpPr/>
          <p:nvPr/>
        </p:nvSpPr>
        <p:spPr>
          <a:xfrm>
            <a:off x="2978110" y="5811228"/>
            <a:ext cx="1058563" cy="595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/>
              <a:t>ESSI Bundle</a:t>
            </a:r>
            <a:r>
              <a:rPr lang="en-US" sz="1400"/>
              <a:t>:</a:t>
            </a:r>
          </a:p>
        </p:txBody>
      </p:sp>
      <p:sp>
        <p:nvSpPr>
          <p:cNvPr id="42" name="Rounded Rectangle 96">
            <a:extLst>
              <a:ext uri="{FF2B5EF4-FFF2-40B4-BE49-F238E27FC236}">
                <a16:creationId xmlns:a16="http://schemas.microsoft.com/office/drawing/2014/main" id="{E9E3C6CF-96AA-68D8-0977-EC06066DAB15}"/>
              </a:ext>
            </a:extLst>
          </p:cNvPr>
          <p:cNvSpPr/>
          <p:nvPr/>
        </p:nvSpPr>
        <p:spPr>
          <a:xfrm>
            <a:off x="4190069" y="5500950"/>
            <a:ext cx="7906627" cy="12170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Awareness</a:t>
            </a:r>
            <a:r>
              <a:rPr lang="en-US" sz="1400">
                <a:latin typeface="Calibri"/>
                <a:cs typeface="Calibri"/>
              </a:rPr>
              <a:t>: Parents or caregivers report an understanding of a safe sleep environment, including navigating challenges to safe sleep at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Readiness</a:t>
            </a:r>
            <a:r>
              <a:rPr lang="en-US" sz="1400">
                <a:latin typeface="Calibri"/>
                <a:cs typeface="Calibri"/>
              </a:rPr>
              <a:t>: 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Family is prepared for a transition to home, including </a:t>
            </a:r>
            <a:r>
              <a:rPr lang="en-US" sz="1400" err="1">
                <a:solidFill>
                  <a:schemeClr val="tx1"/>
                </a:solidFill>
                <a:latin typeface="Calibri"/>
                <a:ea typeface="+mn-lt"/>
                <a:cs typeface="+mn-lt"/>
              </a:rPr>
              <a:t>SDoH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 screening and resource linkage</a:t>
            </a:r>
            <a:endParaRPr lang="en-US" sz="140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Transfer of Care</a:t>
            </a:r>
            <a:r>
              <a:rPr lang="en-US" sz="1400">
                <a:latin typeface="Calibri"/>
                <a:cs typeface="Calibri"/>
              </a:rPr>
              <a:t>: ESSI Newborn Care Plan (Awareness &amp; Readiness) documented in the discharge 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8E28592-FDD2-A9FB-FF64-0D7E537442D4}"/>
              </a:ext>
            </a:extLst>
          </p:cNvPr>
          <p:cNvSpPr/>
          <p:nvPr/>
        </p:nvSpPr>
        <p:spPr>
          <a:xfrm>
            <a:off x="4730323" y="1601958"/>
            <a:ext cx="7442547" cy="960328"/>
          </a:xfrm>
          <a:prstGeom prst="round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02B4FC7-02B4-B308-F882-1F10636CBFF9}"/>
              </a:ext>
            </a:extLst>
          </p:cNvPr>
          <p:cNvSpPr/>
          <p:nvPr/>
        </p:nvSpPr>
        <p:spPr>
          <a:xfrm>
            <a:off x="4397613" y="1403122"/>
            <a:ext cx="636739" cy="61586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>
                <a:cs typeface="Calibri"/>
              </a:rPr>
              <a:t>2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12100221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3" name="Google Shape;1023;p64"/>
          <p:cNvGrpSpPr/>
          <p:nvPr/>
        </p:nvGrpSpPr>
        <p:grpSpPr>
          <a:xfrm>
            <a:off x="11419237" y="171789"/>
            <a:ext cx="549071" cy="548208"/>
            <a:chOff x="5721625" y="4984150"/>
            <a:chExt cx="196950" cy="196650"/>
          </a:xfrm>
        </p:grpSpPr>
        <p:sp>
          <p:nvSpPr>
            <p:cNvPr id="1024" name="Google Shape;1024;p64"/>
            <p:cNvSpPr/>
            <p:nvPr/>
          </p:nvSpPr>
          <p:spPr>
            <a:xfrm>
              <a:off x="5847225" y="4984150"/>
              <a:ext cx="22325" cy="185825"/>
            </a:xfrm>
            <a:custGeom>
              <a:avLst/>
              <a:gdLst/>
              <a:ahLst/>
              <a:cxnLst/>
              <a:rect l="l" t="t" r="r" b="b"/>
              <a:pathLst>
                <a:path w="893" h="7433" extrusionOk="0">
                  <a:moveTo>
                    <a:pt x="732" y="1"/>
                  </a:moveTo>
                  <a:lnTo>
                    <a:pt x="732" y="1"/>
                  </a:lnTo>
                  <a:cubicBezTo>
                    <a:pt x="181" y="2414"/>
                    <a:pt x="1" y="4898"/>
                    <a:pt x="199" y="7364"/>
                  </a:cubicBezTo>
                  <a:lnTo>
                    <a:pt x="462" y="7432"/>
                  </a:lnTo>
                  <a:cubicBezTo>
                    <a:pt x="803" y="4971"/>
                    <a:pt x="893" y="2480"/>
                    <a:pt x="732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025" name="Google Shape;1025;p64"/>
            <p:cNvSpPr/>
            <p:nvPr/>
          </p:nvSpPr>
          <p:spPr>
            <a:xfrm>
              <a:off x="5787275" y="4985750"/>
              <a:ext cx="50100" cy="186200"/>
            </a:xfrm>
            <a:custGeom>
              <a:avLst/>
              <a:gdLst/>
              <a:ahLst/>
              <a:cxnLst/>
              <a:rect l="l" t="t" r="r" b="b"/>
              <a:pathLst>
                <a:path w="2004" h="7448" extrusionOk="0">
                  <a:moveTo>
                    <a:pt x="1" y="0"/>
                  </a:moveTo>
                  <a:lnTo>
                    <a:pt x="1" y="0"/>
                  </a:lnTo>
                  <a:cubicBezTo>
                    <a:pt x="666" y="2447"/>
                    <a:pt x="1294" y="4902"/>
                    <a:pt x="1881" y="7368"/>
                  </a:cubicBezTo>
                  <a:lnTo>
                    <a:pt x="1997" y="7447"/>
                  </a:lnTo>
                  <a:cubicBezTo>
                    <a:pt x="2004" y="5945"/>
                    <a:pt x="1835" y="4448"/>
                    <a:pt x="1496" y="2983"/>
                  </a:cubicBezTo>
                  <a:cubicBezTo>
                    <a:pt x="1239" y="1882"/>
                    <a:pt x="851" y="747"/>
                    <a:pt x="1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026" name="Google Shape;1026;p64"/>
            <p:cNvSpPr/>
            <p:nvPr/>
          </p:nvSpPr>
          <p:spPr>
            <a:xfrm>
              <a:off x="5777075" y="5069900"/>
              <a:ext cx="24950" cy="110900"/>
            </a:xfrm>
            <a:custGeom>
              <a:avLst/>
              <a:gdLst/>
              <a:ahLst/>
              <a:cxnLst/>
              <a:rect l="l" t="t" r="r" b="b"/>
              <a:pathLst>
                <a:path w="998" h="4436" extrusionOk="0">
                  <a:moveTo>
                    <a:pt x="688" y="1"/>
                  </a:moveTo>
                  <a:cubicBezTo>
                    <a:pt x="312" y="1453"/>
                    <a:pt x="81" y="2937"/>
                    <a:pt x="0" y="4435"/>
                  </a:cubicBezTo>
                  <a:lnTo>
                    <a:pt x="562" y="4231"/>
                  </a:lnTo>
                  <a:cubicBezTo>
                    <a:pt x="857" y="3392"/>
                    <a:pt x="905" y="2489"/>
                    <a:pt x="951" y="1602"/>
                  </a:cubicBezTo>
                  <a:cubicBezTo>
                    <a:pt x="980" y="1053"/>
                    <a:pt x="997" y="458"/>
                    <a:pt x="68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027" name="Google Shape;1027;p64"/>
            <p:cNvSpPr/>
            <p:nvPr/>
          </p:nvSpPr>
          <p:spPr>
            <a:xfrm>
              <a:off x="5721625" y="5011325"/>
              <a:ext cx="47775" cy="157175"/>
            </a:xfrm>
            <a:custGeom>
              <a:avLst/>
              <a:gdLst/>
              <a:ahLst/>
              <a:cxnLst/>
              <a:rect l="l" t="t" r="r" b="b"/>
              <a:pathLst>
                <a:path w="1911" h="6287" extrusionOk="0">
                  <a:moveTo>
                    <a:pt x="59" y="1"/>
                  </a:moveTo>
                  <a:lnTo>
                    <a:pt x="59" y="1"/>
                  </a:lnTo>
                  <a:cubicBezTo>
                    <a:pt x="26" y="1349"/>
                    <a:pt x="0" y="2735"/>
                    <a:pt x="452" y="4006"/>
                  </a:cubicBezTo>
                  <a:cubicBezTo>
                    <a:pt x="727" y="4775"/>
                    <a:pt x="1173" y="5487"/>
                    <a:pt x="1353" y="6284"/>
                  </a:cubicBezTo>
                  <a:lnTo>
                    <a:pt x="1770" y="6286"/>
                  </a:lnTo>
                  <a:cubicBezTo>
                    <a:pt x="1900" y="5987"/>
                    <a:pt x="1911" y="5651"/>
                    <a:pt x="1902" y="5326"/>
                  </a:cubicBezTo>
                  <a:cubicBezTo>
                    <a:pt x="1845" y="3405"/>
                    <a:pt x="1204" y="1547"/>
                    <a:pt x="5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028" name="Google Shape;1028;p64"/>
            <p:cNvSpPr/>
            <p:nvPr/>
          </p:nvSpPr>
          <p:spPr>
            <a:xfrm>
              <a:off x="5877750" y="5044825"/>
              <a:ext cx="40825" cy="129000"/>
            </a:xfrm>
            <a:custGeom>
              <a:avLst/>
              <a:gdLst/>
              <a:ahLst/>
              <a:cxnLst/>
              <a:rect l="l" t="t" r="r" b="b"/>
              <a:pathLst>
                <a:path w="1633" h="5160" extrusionOk="0">
                  <a:moveTo>
                    <a:pt x="1213" y="0"/>
                  </a:moveTo>
                  <a:lnTo>
                    <a:pt x="1213" y="0"/>
                  </a:lnTo>
                  <a:cubicBezTo>
                    <a:pt x="974" y="907"/>
                    <a:pt x="737" y="1812"/>
                    <a:pt x="497" y="2719"/>
                  </a:cubicBezTo>
                  <a:cubicBezTo>
                    <a:pt x="374" y="3185"/>
                    <a:pt x="249" y="3655"/>
                    <a:pt x="225" y="4136"/>
                  </a:cubicBezTo>
                  <a:cubicBezTo>
                    <a:pt x="205" y="4491"/>
                    <a:pt x="229" y="4887"/>
                    <a:pt x="1" y="5159"/>
                  </a:cubicBezTo>
                  <a:lnTo>
                    <a:pt x="447" y="5027"/>
                  </a:lnTo>
                  <a:cubicBezTo>
                    <a:pt x="1352" y="3541"/>
                    <a:pt x="1633" y="1689"/>
                    <a:pt x="121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</p:grpSp>
      <p:grpSp>
        <p:nvGrpSpPr>
          <p:cNvPr id="4" name="Google Shape;7234;p120">
            <a:extLst>
              <a:ext uri="{FF2B5EF4-FFF2-40B4-BE49-F238E27FC236}">
                <a16:creationId xmlns:a16="http://schemas.microsoft.com/office/drawing/2014/main" id="{482048E6-09B7-EE5F-670F-88CAF8B26FE7}"/>
              </a:ext>
            </a:extLst>
          </p:cNvPr>
          <p:cNvGrpSpPr/>
          <p:nvPr/>
        </p:nvGrpSpPr>
        <p:grpSpPr>
          <a:xfrm>
            <a:off x="9406921" y="4492731"/>
            <a:ext cx="2565596" cy="2199420"/>
            <a:chOff x="3143145" y="1521631"/>
            <a:chExt cx="3237350" cy="2907750"/>
          </a:xfrm>
        </p:grpSpPr>
        <p:sp>
          <p:nvSpPr>
            <p:cNvPr id="5" name="Google Shape;7235;p120">
              <a:extLst>
                <a:ext uri="{FF2B5EF4-FFF2-40B4-BE49-F238E27FC236}">
                  <a16:creationId xmlns:a16="http://schemas.microsoft.com/office/drawing/2014/main" id="{1DF00059-A427-9ECA-0496-DA8C68C98569}"/>
                </a:ext>
              </a:extLst>
            </p:cNvPr>
            <p:cNvSpPr/>
            <p:nvPr/>
          </p:nvSpPr>
          <p:spPr>
            <a:xfrm>
              <a:off x="5488995" y="2336181"/>
              <a:ext cx="165975" cy="133025"/>
            </a:xfrm>
            <a:custGeom>
              <a:avLst/>
              <a:gdLst/>
              <a:ahLst/>
              <a:cxnLst/>
              <a:rect l="l" t="t" r="r" b="b"/>
              <a:pathLst>
                <a:path w="6639" h="5321" extrusionOk="0">
                  <a:moveTo>
                    <a:pt x="4704" y="1"/>
                  </a:moveTo>
                  <a:cubicBezTo>
                    <a:pt x="4537" y="701"/>
                    <a:pt x="4570" y="1435"/>
                    <a:pt x="4870" y="2169"/>
                  </a:cubicBezTo>
                  <a:cubicBezTo>
                    <a:pt x="3870" y="1368"/>
                    <a:pt x="2736" y="534"/>
                    <a:pt x="1468" y="434"/>
                  </a:cubicBezTo>
                  <a:lnTo>
                    <a:pt x="1468" y="434"/>
                  </a:lnTo>
                  <a:cubicBezTo>
                    <a:pt x="2135" y="1035"/>
                    <a:pt x="2836" y="1535"/>
                    <a:pt x="3636" y="2035"/>
                  </a:cubicBezTo>
                  <a:cubicBezTo>
                    <a:pt x="2502" y="1502"/>
                    <a:pt x="1301" y="935"/>
                    <a:pt x="67" y="901"/>
                  </a:cubicBezTo>
                  <a:lnTo>
                    <a:pt x="67" y="901"/>
                  </a:lnTo>
                  <a:cubicBezTo>
                    <a:pt x="0" y="1068"/>
                    <a:pt x="167" y="1201"/>
                    <a:pt x="301" y="1268"/>
                  </a:cubicBezTo>
                  <a:cubicBezTo>
                    <a:pt x="1068" y="1735"/>
                    <a:pt x="1835" y="2202"/>
                    <a:pt x="2602" y="2602"/>
                  </a:cubicBezTo>
                  <a:cubicBezTo>
                    <a:pt x="2166" y="2498"/>
                    <a:pt x="1721" y="2448"/>
                    <a:pt x="1277" y="2448"/>
                  </a:cubicBezTo>
                  <a:cubicBezTo>
                    <a:pt x="871" y="2448"/>
                    <a:pt x="465" y="2490"/>
                    <a:pt x="67" y="2569"/>
                  </a:cubicBezTo>
                  <a:cubicBezTo>
                    <a:pt x="401" y="2936"/>
                    <a:pt x="834" y="3069"/>
                    <a:pt x="1301" y="3236"/>
                  </a:cubicBezTo>
                  <a:cubicBezTo>
                    <a:pt x="1835" y="3403"/>
                    <a:pt x="2402" y="3603"/>
                    <a:pt x="2936" y="3770"/>
                  </a:cubicBezTo>
                  <a:cubicBezTo>
                    <a:pt x="2169" y="3770"/>
                    <a:pt x="1401" y="3770"/>
                    <a:pt x="768" y="4204"/>
                  </a:cubicBezTo>
                  <a:cubicBezTo>
                    <a:pt x="1401" y="4771"/>
                    <a:pt x="2335" y="4671"/>
                    <a:pt x="3169" y="4771"/>
                  </a:cubicBezTo>
                  <a:cubicBezTo>
                    <a:pt x="3975" y="4905"/>
                    <a:pt x="4824" y="5320"/>
                    <a:pt x="5612" y="5320"/>
                  </a:cubicBezTo>
                  <a:cubicBezTo>
                    <a:pt x="5803" y="5320"/>
                    <a:pt x="5989" y="5296"/>
                    <a:pt x="6171" y="5238"/>
                  </a:cubicBezTo>
                  <a:lnTo>
                    <a:pt x="6638" y="3703"/>
                  </a:lnTo>
                  <a:cubicBezTo>
                    <a:pt x="6105" y="3236"/>
                    <a:pt x="5971" y="2436"/>
                    <a:pt x="5804" y="1735"/>
                  </a:cubicBezTo>
                  <a:cubicBezTo>
                    <a:pt x="5638" y="1035"/>
                    <a:pt x="5337" y="234"/>
                    <a:pt x="4704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" name="Google Shape;7236;p120">
              <a:extLst>
                <a:ext uri="{FF2B5EF4-FFF2-40B4-BE49-F238E27FC236}">
                  <a16:creationId xmlns:a16="http://schemas.microsoft.com/office/drawing/2014/main" id="{7FA3F235-27EA-0F06-49CA-A04A10BED1FA}"/>
                </a:ext>
              </a:extLst>
            </p:cNvPr>
            <p:cNvSpPr/>
            <p:nvPr/>
          </p:nvSpPr>
          <p:spPr>
            <a:xfrm>
              <a:off x="5219620" y="2391231"/>
              <a:ext cx="731400" cy="348425"/>
            </a:xfrm>
            <a:custGeom>
              <a:avLst/>
              <a:gdLst/>
              <a:ahLst/>
              <a:cxnLst/>
              <a:rect l="l" t="t" r="r" b="b"/>
              <a:pathLst>
                <a:path w="29256" h="13937" extrusionOk="0">
                  <a:moveTo>
                    <a:pt x="8340" y="0"/>
                  </a:moveTo>
                  <a:lnTo>
                    <a:pt x="1469" y="1301"/>
                  </a:lnTo>
                  <a:cubicBezTo>
                    <a:pt x="1469" y="1301"/>
                    <a:pt x="1" y="2869"/>
                    <a:pt x="8340" y="10408"/>
                  </a:cubicBezTo>
                  <a:cubicBezTo>
                    <a:pt x="11275" y="13073"/>
                    <a:pt x="14735" y="13936"/>
                    <a:pt x="17986" y="13936"/>
                  </a:cubicBezTo>
                  <a:cubicBezTo>
                    <a:pt x="23974" y="13936"/>
                    <a:pt x="29255" y="11008"/>
                    <a:pt x="29255" y="11008"/>
                  </a:cubicBezTo>
                  <a:lnTo>
                    <a:pt x="28588" y="8840"/>
                  </a:lnTo>
                  <a:cubicBezTo>
                    <a:pt x="28588" y="8840"/>
                    <a:pt x="25933" y="9851"/>
                    <a:pt x="22337" y="9851"/>
                  </a:cubicBezTo>
                  <a:cubicBezTo>
                    <a:pt x="20275" y="9851"/>
                    <a:pt x="17904" y="9518"/>
                    <a:pt x="15545" y="8473"/>
                  </a:cubicBezTo>
                  <a:cubicBezTo>
                    <a:pt x="9074" y="5571"/>
                    <a:pt x="8340" y="0"/>
                    <a:pt x="834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7" name="Google Shape;7237;p120">
              <a:extLst>
                <a:ext uri="{FF2B5EF4-FFF2-40B4-BE49-F238E27FC236}">
                  <a16:creationId xmlns:a16="http://schemas.microsoft.com/office/drawing/2014/main" id="{403BD523-8498-A231-D5B5-A14340B0D2C9}"/>
                </a:ext>
              </a:extLst>
            </p:cNvPr>
            <p:cNvSpPr/>
            <p:nvPr/>
          </p:nvSpPr>
          <p:spPr>
            <a:xfrm>
              <a:off x="4435745" y="2427081"/>
              <a:ext cx="667150" cy="469600"/>
            </a:xfrm>
            <a:custGeom>
              <a:avLst/>
              <a:gdLst/>
              <a:ahLst/>
              <a:cxnLst/>
              <a:rect l="l" t="t" r="r" b="b"/>
              <a:pathLst>
                <a:path w="26686" h="18784" extrusionOk="0">
                  <a:moveTo>
                    <a:pt x="24751" y="1"/>
                  </a:moveTo>
                  <a:lnTo>
                    <a:pt x="17513" y="801"/>
                  </a:lnTo>
                  <a:cubicBezTo>
                    <a:pt x="17513" y="801"/>
                    <a:pt x="18480" y="6639"/>
                    <a:pt x="12909" y="11509"/>
                  </a:cubicBezTo>
                  <a:cubicBezTo>
                    <a:pt x="8204" y="15675"/>
                    <a:pt x="2175" y="15988"/>
                    <a:pt x="469" y="15988"/>
                  </a:cubicBezTo>
                  <a:cubicBezTo>
                    <a:pt x="167" y="15988"/>
                    <a:pt x="0" y="15979"/>
                    <a:pt x="0" y="15979"/>
                  </a:cubicBezTo>
                  <a:lnTo>
                    <a:pt x="0" y="18347"/>
                  </a:lnTo>
                  <a:cubicBezTo>
                    <a:pt x="0" y="18347"/>
                    <a:pt x="2092" y="18783"/>
                    <a:pt x="5019" y="18783"/>
                  </a:cubicBezTo>
                  <a:cubicBezTo>
                    <a:pt x="9856" y="18783"/>
                    <a:pt x="16975" y="17592"/>
                    <a:pt x="20715" y="11275"/>
                  </a:cubicBezTo>
                  <a:cubicBezTo>
                    <a:pt x="26686" y="1135"/>
                    <a:pt x="24751" y="1"/>
                    <a:pt x="24751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8" name="Google Shape;7238;p120">
              <a:extLst>
                <a:ext uri="{FF2B5EF4-FFF2-40B4-BE49-F238E27FC236}">
                  <a16:creationId xmlns:a16="http://schemas.microsoft.com/office/drawing/2014/main" id="{11A3BB23-7352-C96D-BD88-5CAD89721A33}"/>
                </a:ext>
              </a:extLst>
            </p:cNvPr>
            <p:cNvSpPr/>
            <p:nvPr/>
          </p:nvSpPr>
          <p:spPr>
            <a:xfrm>
              <a:off x="5469820" y="1655756"/>
              <a:ext cx="578750" cy="319600"/>
            </a:xfrm>
            <a:custGeom>
              <a:avLst/>
              <a:gdLst/>
              <a:ahLst/>
              <a:cxnLst/>
              <a:rect l="l" t="t" r="r" b="b"/>
              <a:pathLst>
                <a:path w="23150" h="12784" extrusionOk="0">
                  <a:moveTo>
                    <a:pt x="10247" y="0"/>
                  </a:moveTo>
                  <a:cubicBezTo>
                    <a:pt x="8868" y="0"/>
                    <a:pt x="7497" y="153"/>
                    <a:pt x="6171" y="465"/>
                  </a:cubicBezTo>
                  <a:cubicBezTo>
                    <a:pt x="5704" y="599"/>
                    <a:pt x="5237" y="732"/>
                    <a:pt x="4804" y="899"/>
                  </a:cubicBezTo>
                  <a:cubicBezTo>
                    <a:pt x="3636" y="1332"/>
                    <a:pt x="2669" y="2133"/>
                    <a:pt x="1701" y="2934"/>
                  </a:cubicBezTo>
                  <a:cubicBezTo>
                    <a:pt x="1301" y="3300"/>
                    <a:pt x="834" y="3701"/>
                    <a:pt x="534" y="4134"/>
                  </a:cubicBezTo>
                  <a:cubicBezTo>
                    <a:pt x="200" y="4701"/>
                    <a:pt x="67" y="5369"/>
                    <a:pt x="33" y="5969"/>
                  </a:cubicBezTo>
                  <a:cubicBezTo>
                    <a:pt x="0" y="6836"/>
                    <a:pt x="67" y="7737"/>
                    <a:pt x="534" y="8504"/>
                  </a:cubicBezTo>
                  <a:cubicBezTo>
                    <a:pt x="1368" y="9972"/>
                    <a:pt x="3202" y="10606"/>
                    <a:pt x="4870" y="11073"/>
                  </a:cubicBezTo>
                  <a:cubicBezTo>
                    <a:pt x="5550" y="11263"/>
                    <a:pt x="6273" y="11475"/>
                    <a:pt x="7005" y="11475"/>
                  </a:cubicBezTo>
                  <a:cubicBezTo>
                    <a:pt x="7172" y="11475"/>
                    <a:pt x="7339" y="11464"/>
                    <a:pt x="7505" y="11440"/>
                  </a:cubicBezTo>
                  <a:lnTo>
                    <a:pt x="11742" y="12607"/>
                  </a:lnTo>
                  <a:cubicBezTo>
                    <a:pt x="12466" y="12725"/>
                    <a:pt x="13198" y="12784"/>
                    <a:pt x="13928" y="12784"/>
                  </a:cubicBezTo>
                  <a:cubicBezTo>
                    <a:pt x="16288" y="12784"/>
                    <a:pt x="18619" y="12170"/>
                    <a:pt x="20581" y="10973"/>
                  </a:cubicBezTo>
                  <a:cubicBezTo>
                    <a:pt x="20982" y="10773"/>
                    <a:pt x="21315" y="10506"/>
                    <a:pt x="21582" y="10239"/>
                  </a:cubicBezTo>
                  <a:cubicBezTo>
                    <a:pt x="21916" y="9905"/>
                    <a:pt x="22216" y="9472"/>
                    <a:pt x="22383" y="9005"/>
                  </a:cubicBezTo>
                  <a:cubicBezTo>
                    <a:pt x="23150" y="7103"/>
                    <a:pt x="22416" y="4768"/>
                    <a:pt x="20848" y="3334"/>
                  </a:cubicBezTo>
                  <a:cubicBezTo>
                    <a:pt x="20215" y="2767"/>
                    <a:pt x="19414" y="2300"/>
                    <a:pt x="18647" y="1933"/>
                  </a:cubicBezTo>
                  <a:cubicBezTo>
                    <a:pt x="16050" y="669"/>
                    <a:pt x="13133" y="0"/>
                    <a:pt x="10247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" name="Google Shape;7239;p120">
              <a:extLst>
                <a:ext uri="{FF2B5EF4-FFF2-40B4-BE49-F238E27FC236}">
                  <a16:creationId xmlns:a16="http://schemas.microsoft.com/office/drawing/2014/main" id="{B5A2B3E2-FA57-64A7-68A3-F56DB44E6255}"/>
                </a:ext>
              </a:extLst>
            </p:cNvPr>
            <p:cNvSpPr/>
            <p:nvPr/>
          </p:nvSpPr>
          <p:spPr>
            <a:xfrm>
              <a:off x="5179595" y="1699056"/>
              <a:ext cx="331925" cy="641325"/>
            </a:xfrm>
            <a:custGeom>
              <a:avLst/>
              <a:gdLst/>
              <a:ahLst/>
              <a:cxnLst/>
              <a:rect l="l" t="t" r="r" b="b"/>
              <a:pathLst>
                <a:path w="13277" h="25653" extrusionOk="0">
                  <a:moveTo>
                    <a:pt x="4871" y="1"/>
                  </a:moveTo>
                  <a:cubicBezTo>
                    <a:pt x="4037" y="67"/>
                    <a:pt x="3203" y="134"/>
                    <a:pt x="2369" y="201"/>
                  </a:cubicBezTo>
                  <a:cubicBezTo>
                    <a:pt x="1" y="6005"/>
                    <a:pt x="601" y="12877"/>
                    <a:pt x="3904" y="18214"/>
                  </a:cubicBezTo>
                  <a:cubicBezTo>
                    <a:pt x="4504" y="19214"/>
                    <a:pt x="5205" y="20182"/>
                    <a:pt x="6005" y="21049"/>
                  </a:cubicBezTo>
                  <a:cubicBezTo>
                    <a:pt x="7806" y="23017"/>
                    <a:pt x="10008" y="24585"/>
                    <a:pt x="12476" y="25652"/>
                  </a:cubicBezTo>
                  <a:cubicBezTo>
                    <a:pt x="12476" y="25419"/>
                    <a:pt x="12476" y="25185"/>
                    <a:pt x="12510" y="24919"/>
                  </a:cubicBezTo>
                  <a:cubicBezTo>
                    <a:pt x="12710" y="22884"/>
                    <a:pt x="13077" y="20849"/>
                    <a:pt x="13277" y="18814"/>
                  </a:cubicBezTo>
                  <a:cubicBezTo>
                    <a:pt x="11142" y="17914"/>
                    <a:pt x="9174" y="16479"/>
                    <a:pt x="7806" y="14645"/>
                  </a:cubicBezTo>
                  <a:cubicBezTo>
                    <a:pt x="4671" y="10575"/>
                    <a:pt x="3937" y="5038"/>
                    <a:pt x="4871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" name="Google Shape;7240;p120">
              <a:extLst>
                <a:ext uri="{FF2B5EF4-FFF2-40B4-BE49-F238E27FC236}">
                  <a16:creationId xmlns:a16="http://schemas.microsoft.com/office/drawing/2014/main" id="{99F5FA38-1947-E309-BB88-00125E899A8E}"/>
                </a:ext>
              </a:extLst>
            </p:cNvPr>
            <p:cNvSpPr/>
            <p:nvPr/>
          </p:nvSpPr>
          <p:spPr>
            <a:xfrm>
              <a:off x="5807545" y="3854781"/>
              <a:ext cx="130125" cy="543025"/>
            </a:xfrm>
            <a:custGeom>
              <a:avLst/>
              <a:gdLst/>
              <a:ahLst/>
              <a:cxnLst/>
              <a:rect l="l" t="t" r="r" b="b"/>
              <a:pathLst>
                <a:path w="5205" h="21721" extrusionOk="0">
                  <a:moveTo>
                    <a:pt x="1" y="0"/>
                  </a:moveTo>
                  <a:cubicBezTo>
                    <a:pt x="234" y="7038"/>
                    <a:pt x="635" y="14077"/>
                    <a:pt x="1035" y="21149"/>
                  </a:cubicBezTo>
                  <a:cubicBezTo>
                    <a:pt x="1035" y="21282"/>
                    <a:pt x="1068" y="21515"/>
                    <a:pt x="1202" y="21649"/>
                  </a:cubicBezTo>
                  <a:cubicBezTo>
                    <a:pt x="1282" y="21709"/>
                    <a:pt x="1374" y="21721"/>
                    <a:pt x="1463" y="21721"/>
                  </a:cubicBezTo>
                  <a:cubicBezTo>
                    <a:pt x="1523" y="21721"/>
                    <a:pt x="1582" y="21716"/>
                    <a:pt x="1635" y="21716"/>
                  </a:cubicBezTo>
                  <a:cubicBezTo>
                    <a:pt x="2202" y="21682"/>
                    <a:pt x="2836" y="21649"/>
                    <a:pt x="3403" y="21649"/>
                  </a:cubicBezTo>
                  <a:cubicBezTo>
                    <a:pt x="3670" y="21649"/>
                    <a:pt x="3904" y="21582"/>
                    <a:pt x="4137" y="21415"/>
                  </a:cubicBezTo>
                  <a:cubicBezTo>
                    <a:pt x="4270" y="21309"/>
                    <a:pt x="4281" y="21277"/>
                    <a:pt x="4246" y="21277"/>
                  </a:cubicBezTo>
                  <a:cubicBezTo>
                    <a:pt x="4193" y="21277"/>
                    <a:pt x="4037" y="21349"/>
                    <a:pt x="4037" y="21349"/>
                  </a:cubicBezTo>
                  <a:cubicBezTo>
                    <a:pt x="4037" y="21349"/>
                    <a:pt x="4537" y="8073"/>
                    <a:pt x="5204" y="2168"/>
                  </a:cubicBezTo>
                  <a:lnTo>
                    <a:pt x="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" name="Google Shape;7241;p120">
              <a:extLst>
                <a:ext uri="{FF2B5EF4-FFF2-40B4-BE49-F238E27FC236}">
                  <a16:creationId xmlns:a16="http://schemas.microsoft.com/office/drawing/2014/main" id="{4614D3D9-E10F-3322-0219-C01816F7C4D5}"/>
                </a:ext>
              </a:extLst>
            </p:cNvPr>
            <p:cNvSpPr/>
            <p:nvPr/>
          </p:nvSpPr>
          <p:spPr>
            <a:xfrm>
              <a:off x="5504845" y="4167656"/>
              <a:ext cx="102600" cy="225025"/>
            </a:xfrm>
            <a:custGeom>
              <a:avLst/>
              <a:gdLst/>
              <a:ahLst/>
              <a:cxnLst/>
              <a:rect l="l" t="t" r="r" b="b"/>
              <a:pathLst>
                <a:path w="4104" h="9001" extrusionOk="0">
                  <a:moveTo>
                    <a:pt x="2983" y="1"/>
                  </a:moveTo>
                  <a:cubicBezTo>
                    <a:pt x="2016" y="1"/>
                    <a:pt x="1034" y="55"/>
                    <a:pt x="0" y="127"/>
                  </a:cubicBezTo>
                  <a:lnTo>
                    <a:pt x="634" y="8133"/>
                  </a:lnTo>
                  <a:cubicBezTo>
                    <a:pt x="634" y="8300"/>
                    <a:pt x="667" y="8467"/>
                    <a:pt x="767" y="8567"/>
                  </a:cubicBezTo>
                  <a:cubicBezTo>
                    <a:pt x="901" y="8700"/>
                    <a:pt x="1034" y="8734"/>
                    <a:pt x="1168" y="8734"/>
                  </a:cubicBezTo>
                  <a:cubicBezTo>
                    <a:pt x="2068" y="8834"/>
                    <a:pt x="2902" y="8900"/>
                    <a:pt x="3736" y="9000"/>
                  </a:cubicBezTo>
                  <a:cubicBezTo>
                    <a:pt x="3803" y="5998"/>
                    <a:pt x="3936" y="3030"/>
                    <a:pt x="4103" y="27"/>
                  </a:cubicBezTo>
                  <a:cubicBezTo>
                    <a:pt x="3730" y="9"/>
                    <a:pt x="3358" y="1"/>
                    <a:pt x="2983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" name="Google Shape;7242;p120">
              <a:extLst>
                <a:ext uri="{FF2B5EF4-FFF2-40B4-BE49-F238E27FC236}">
                  <a16:creationId xmlns:a16="http://schemas.microsoft.com/office/drawing/2014/main" id="{7429D035-F3F1-8773-201B-0E02FF7A7C58}"/>
                </a:ext>
              </a:extLst>
            </p:cNvPr>
            <p:cNvSpPr/>
            <p:nvPr/>
          </p:nvSpPr>
          <p:spPr>
            <a:xfrm>
              <a:off x="5828395" y="4362631"/>
              <a:ext cx="207675" cy="65900"/>
            </a:xfrm>
            <a:custGeom>
              <a:avLst/>
              <a:gdLst/>
              <a:ahLst/>
              <a:cxnLst/>
              <a:rect l="l" t="t" r="r" b="b"/>
              <a:pathLst>
                <a:path w="8307" h="2636" extrusionOk="0">
                  <a:moveTo>
                    <a:pt x="3403" y="1"/>
                  </a:moveTo>
                  <a:cubicBezTo>
                    <a:pt x="3403" y="1"/>
                    <a:pt x="3196" y="468"/>
                    <a:pt x="1984" y="468"/>
                  </a:cubicBezTo>
                  <a:cubicBezTo>
                    <a:pt x="1512" y="468"/>
                    <a:pt x="889" y="397"/>
                    <a:pt x="67" y="201"/>
                  </a:cubicBezTo>
                  <a:lnTo>
                    <a:pt x="1" y="2369"/>
                  </a:lnTo>
                  <a:lnTo>
                    <a:pt x="7873" y="2636"/>
                  </a:lnTo>
                  <a:cubicBezTo>
                    <a:pt x="7873" y="2636"/>
                    <a:pt x="8307" y="2102"/>
                    <a:pt x="7740" y="1935"/>
                  </a:cubicBezTo>
                  <a:cubicBezTo>
                    <a:pt x="7206" y="1769"/>
                    <a:pt x="3403" y="1"/>
                    <a:pt x="340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" name="Google Shape;7243;p120">
              <a:extLst>
                <a:ext uri="{FF2B5EF4-FFF2-40B4-BE49-F238E27FC236}">
                  <a16:creationId xmlns:a16="http://schemas.microsoft.com/office/drawing/2014/main" id="{5B924E7D-5CD6-681E-996E-FB7E23775332}"/>
                </a:ext>
              </a:extLst>
            </p:cNvPr>
            <p:cNvSpPr/>
            <p:nvPr/>
          </p:nvSpPr>
          <p:spPr>
            <a:xfrm>
              <a:off x="5396420" y="4362631"/>
              <a:ext cx="207675" cy="65900"/>
            </a:xfrm>
            <a:custGeom>
              <a:avLst/>
              <a:gdLst/>
              <a:ahLst/>
              <a:cxnLst/>
              <a:rect l="l" t="t" r="r" b="b"/>
              <a:pathLst>
                <a:path w="8307" h="2636" extrusionOk="0">
                  <a:moveTo>
                    <a:pt x="4871" y="1"/>
                  </a:moveTo>
                  <a:cubicBezTo>
                    <a:pt x="4871" y="1"/>
                    <a:pt x="1101" y="1769"/>
                    <a:pt x="568" y="1935"/>
                  </a:cubicBezTo>
                  <a:cubicBezTo>
                    <a:pt x="1" y="2102"/>
                    <a:pt x="434" y="2636"/>
                    <a:pt x="434" y="2636"/>
                  </a:cubicBezTo>
                  <a:lnTo>
                    <a:pt x="8307" y="2369"/>
                  </a:lnTo>
                  <a:lnTo>
                    <a:pt x="8207" y="201"/>
                  </a:lnTo>
                  <a:cubicBezTo>
                    <a:pt x="7394" y="397"/>
                    <a:pt x="6775" y="468"/>
                    <a:pt x="6305" y="468"/>
                  </a:cubicBezTo>
                  <a:cubicBezTo>
                    <a:pt x="5096" y="468"/>
                    <a:pt x="4871" y="1"/>
                    <a:pt x="4871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" name="Google Shape;7244;p120">
              <a:extLst>
                <a:ext uri="{FF2B5EF4-FFF2-40B4-BE49-F238E27FC236}">
                  <a16:creationId xmlns:a16="http://schemas.microsoft.com/office/drawing/2014/main" id="{F219612C-CEAC-D2BF-8F28-2CFFED4497B9}"/>
                </a:ext>
              </a:extLst>
            </p:cNvPr>
            <p:cNvSpPr/>
            <p:nvPr/>
          </p:nvSpPr>
          <p:spPr>
            <a:xfrm>
              <a:off x="5172095" y="2731931"/>
              <a:ext cx="1015750" cy="1566525"/>
            </a:xfrm>
            <a:custGeom>
              <a:avLst/>
              <a:gdLst/>
              <a:ahLst/>
              <a:cxnLst/>
              <a:rect l="l" t="t" r="r" b="b"/>
              <a:pathLst>
                <a:path w="40630" h="62661" extrusionOk="0">
                  <a:moveTo>
                    <a:pt x="29902" y="0"/>
                  </a:moveTo>
                  <a:cubicBezTo>
                    <a:pt x="26553" y="0"/>
                    <a:pt x="18778" y="1711"/>
                    <a:pt x="15202" y="1711"/>
                  </a:cubicBezTo>
                  <a:cubicBezTo>
                    <a:pt x="14094" y="1711"/>
                    <a:pt x="13388" y="1547"/>
                    <a:pt x="13343" y="1116"/>
                  </a:cubicBezTo>
                  <a:lnTo>
                    <a:pt x="13343" y="1116"/>
                  </a:lnTo>
                  <a:cubicBezTo>
                    <a:pt x="14411" y="17861"/>
                    <a:pt x="1" y="52119"/>
                    <a:pt x="12977" y="61726"/>
                  </a:cubicBezTo>
                  <a:lnTo>
                    <a:pt x="18114" y="61726"/>
                  </a:lnTo>
                  <a:cubicBezTo>
                    <a:pt x="23984" y="60125"/>
                    <a:pt x="21149" y="34040"/>
                    <a:pt x="21116" y="15860"/>
                  </a:cubicBezTo>
                  <a:lnTo>
                    <a:pt x="23251" y="15860"/>
                  </a:lnTo>
                  <a:cubicBezTo>
                    <a:pt x="22784" y="34106"/>
                    <a:pt x="19548" y="57657"/>
                    <a:pt x="25986" y="62560"/>
                  </a:cubicBezTo>
                  <a:lnTo>
                    <a:pt x="30889" y="62660"/>
                  </a:lnTo>
                  <a:cubicBezTo>
                    <a:pt x="40630" y="55755"/>
                    <a:pt x="31323" y="13358"/>
                    <a:pt x="31490" y="549"/>
                  </a:cubicBezTo>
                  <a:cubicBezTo>
                    <a:pt x="31508" y="153"/>
                    <a:pt x="30903" y="0"/>
                    <a:pt x="29902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5" name="Google Shape;7245;p120">
              <a:extLst>
                <a:ext uri="{FF2B5EF4-FFF2-40B4-BE49-F238E27FC236}">
                  <a16:creationId xmlns:a16="http://schemas.microsoft.com/office/drawing/2014/main" id="{974F3C17-5732-C9C5-F76B-EBAC0545B44E}"/>
                </a:ext>
              </a:extLst>
            </p:cNvPr>
            <p:cNvSpPr/>
            <p:nvPr/>
          </p:nvSpPr>
          <p:spPr>
            <a:xfrm>
              <a:off x="5584070" y="1739481"/>
              <a:ext cx="320250" cy="238125"/>
            </a:xfrm>
            <a:custGeom>
              <a:avLst/>
              <a:gdLst/>
              <a:ahLst/>
              <a:cxnLst/>
              <a:rect l="l" t="t" r="r" b="b"/>
              <a:pathLst>
                <a:path w="12810" h="9525" extrusionOk="0">
                  <a:moveTo>
                    <a:pt x="6933" y="0"/>
                  </a:moveTo>
                  <a:cubicBezTo>
                    <a:pt x="6699" y="0"/>
                    <a:pt x="6456" y="6"/>
                    <a:pt x="6204" y="18"/>
                  </a:cubicBezTo>
                  <a:cubicBezTo>
                    <a:pt x="600" y="252"/>
                    <a:pt x="0" y="2753"/>
                    <a:pt x="0" y="2753"/>
                  </a:cubicBezTo>
                  <a:lnTo>
                    <a:pt x="701" y="9525"/>
                  </a:lnTo>
                  <a:lnTo>
                    <a:pt x="11975" y="8458"/>
                  </a:lnTo>
                  <a:lnTo>
                    <a:pt x="12809" y="2587"/>
                  </a:lnTo>
                  <a:cubicBezTo>
                    <a:pt x="12809" y="2587"/>
                    <a:pt x="11896" y="0"/>
                    <a:pt x="693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" name="Google Shape;7246;p120">
              <a:extLst>
                <a:ext uri="{FF2B5EF4-FFF2-40B4-BE49-F238E27FC236}">
                  <a16:creationId xmlns:a16="http://schemas.microsoft.com/office/drawing/2014/main" id="{BBA38B19-3E50-F119-738F-D015E828DEB5}"/>
                </a:ext>
              </a:extLst>
            </p:cNvPr>
            <p:cNvSpPr/>
            <p:nvPr/>
          </p:nvSpPr>
          <p:spPr>
            <a:xfrm>
              <a:off x="5682470" y="2035981"/>
              <a:ext cx="95925" cy="172000"/>
            </a:xfrm>
            <a:custGeom>
              <a:avLst/>
              <a:gdLst/>
              <a:ahLst/>
              <a:cxnLst/>
              <a:rect l="l" t="t" r="r" b="b"/>
              <a:pathLst>
                <a:path w="3837" h="6880" extrusionOk="0">
                  <a:moveTo>
                    <a:pt x="1334" y="0"/>
                  </a:moveTo>
                  <a:cubicBezTo>
                    <a:pt x="1168" y="867"/>
                    <a:pt x="1001" y="1701"/>
                    <a:pt x="867" y="2435"/>
                  </a:cubicBezTo>
                  <a:cubicBezTo>
                    <a:pt x="801" y="2902"/>
                    <a:pt x="701" y="3336"/>
                    <a:pt x="601" y="3736"/>
                  </a:cubicBezTo>
                  <a:cubicBezTo>
                    <a:pt x="567" y="3903"/>
                    <a:pt x="567" y="4036"/>
                    <a:pt x="534" y="4170"/>
                  </a:cubicBezTo>
                  <a:cubicBezTo>
                    <a:pt x="501" y="4437"/>
                    <a:pt x="400" y="4703"/>
                    <a:pt x="367" y="4937"/>
                  </a:cubicBezTo>
                  <a:cubicBezTo>
                    <a:pt x="300" y="5504"/>
                    <a:pt x="100" y="5904"/>
                    <a:pt x="0" y="6071"/>
                  </a:cubicBezTo>
                  <a:cubicBezTo>
                    <a:pt x="1134" y="6438"/>
                    <a:pt x="2235" y="6705"/>
                    <a:pt x="3403" y="6872"/>
                  </a:cubicBezTo>
                  <a:cubicBezTo>
                    <a:pt x="3469" y="6872"/>
                    <a:pt x="3536" y="6880"/>
                    <a:pt x="3594" y="6880"/>
                  </a:cubicBezTo>
                  <a:cubicBezTo>
                    <a:pt x="3653" y="6880"/>
                    <a:pt x="3703" y="6872"/>
                    <a:pt x="3736" y="6838"/>
                  </a:cubicBezTo>
                  <a:cubicBezTo>
                    <a:pt x="3836" y="6738"/>
                    <a:pt x="3836" y="6571"/>
                    <a:pt x="3836" y="6438"/>
                  </a:cubicBezTo>
                  <a:lnTo>
                    <a:pt x="3836" y="4036"/>
                  </a:lnTo>
                  <a:lnTo>
                    <a:pt x="3836" y="33"/>
                  </a:lnTo>
                  <a:lnTo>
                    <a:pt x="133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" name="Google Shape;7247;p120">
              <a:extLst>
                <a:ext uri="{FF2B5EF4-FFF2-40B4-BE49-F238E27FC236}">
                  <a16:creationId xmlns:a16="http://schemas.microsoft.com/office/drawing/2014/main" id="{5A38680C-F95A-A064-ED63-D6E118C3B18F}"/>
                </a:ext>
              </a:extLst>
            </p:cNvPr>
            <p:cNvSpPr/>
            <p:nvPr/>
          </p:nvSpPr>
          <p:spPr>
            <a:xfrm>
              <a:off x="5699145" y="2096006"/>
              <a:ext cx="60900" cy="34800"/>
            </a:xfrm>
            <a:custGeom>
              <a:avLst/>
              <a:gdLst/>
              <a:ahLst/>
              <a:cxnLst/>
              <a:rect l="l" t="t" r="r" b="b"/>
              <a:pathLst>
                <a:path w="2436" h="1392" extrusionOk="0">
                  <a:moveTo>
                    <a:pt x="234" y="1"/>
                  </a:moveTo>
                  <a:cubicBezTo>
                    <a:pt x="167" y="468"/>
                    <a:pt x="67" y="868"/>
                    <a:pt x="0" y="1268"/>
                  </a:cubicBezTo>
                  <a:cubicBezTo>
                    <a:pt x="258" y="1324"/>
                    <a:pt x="547" y="1392"/>
                    <a:pt x="840" y="1392"/>
                  </a:cubicBezTo>
                  <a:cubicBezTo>
                    <a:pt x="1418" y="1392"/>
                    <a:pt x="2015" y="1130"/>
                    <a:pt x="2435" y="1"/>
                  </a:cubicBezTo>
                  <a:lnTo>
                    <a:pt x="2435" y="1"/>
                  </a:lnTo>
                  <a:cubicBezTo>
                    <a:pt x="2435" y="1"/>
                    <a:pt x="1916" y="45"/>
                    <a:pt x="1264" y="45"/>
                  </a:cubicBezTo>
                  <a:cubicBezTo>
                    <a:pt x="938" y="45"/>
                    <a:pt x="579" y="34"/>
                    <a:pt x="234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8" name="Google Shape;7248;p120">
              <a:extLst>
                <a:ext uri="{FF2B5EF4-FFF2-40B4-BE49-F238E27FC236}">
                  <a16:creationId xmlns:a16="http://schemas.microsoft.com/office/drawing/2014/main" id="{228949DB-5AAA-9B13-DE67-48CD942F1F2A}"/>
                </a:ext>
              </a:extLst>
            </p:cNvPr>
            <p:cNvSpPr/>
            <p:nvPr/>
          </p:nvSpPr>
          <p:spPr>
            <a:xfrm>
              <a:off x="5606570" y="1765806"/>
              <a:ext cx="276050" cy="343250"/>
            </a:xfrm>
            <a:custGeom>
              <a:avLst/>
              <a:gdLst/>
              <a:ahLst/>
              <a:cxnLst/>
              <a:rect l="l" t="t" r="r" b="b"/>
              <a:pathLst>
                <a:path w="11042" h="13730" extrusionOk="0">
                  <a:moveTo>
                    <a:pt x="6276" y="1"/>
                  </a:moveTo>
                  <a:cubicBezTo>
                    <a:pt x="5638" y="1"/>
                    <a:pt x="4935" y="71"/>
                    <a:pt x="4170" y="233"/>
                  </a:cubicBezTo>
                  <a:cubicBezTo>
                    <a:pt x="201" y="1033"/>
                    <a:pt x="167" y="3535"/>
                    <a:pt x="167" y="3535"/>
                  </a:cubicBezTo>
                  <a:cubicBezTo>
                    <a:pt x="1" y="5203"/>
                    <a:pt x="34" y="6904"/>
                    <a:pt x="301" y="8572"/>
                  </a:cubicBezTo>
                  <a:cubicBezTo>
                    <a:pt x="534" y="9840"/>
                    <a:pt x="935" y="11174"/>
                    <a:pt x="1835" y="12041"/>
                  </a:cubicBezTo>
                  <a:cubicBezTo>
                    <a:pt x="2811" y="13017"/>
                    <a:pt x="3674" y="13730"/>
                    <a:pt x="4974" y="13730"/>
                  </a:cubicBezTo>
                  <a:cubicBezTo>
                    <a:pt x="5407" y="13730"/>
                    <a:pt x="5888" y="13651"/>
                    <a:pt x="6439" y="13476"/>
                  </a:cubicBezTo>
                  <a:cubicBezTo>
                    <a:pt x="8707" y="12742"/>
                    <a:pt x="9207" y="11241"/>
                    <a:pt x="9941" y="10207"/>
                  </a:cubicBezTo>
                  <a:cubicBezTo>
                    <a:pt x="10375" y="9640"/>
                    <a:pt x="11009" y="7171"/>
                    <a:pt x="10908" y="6004"/>
                  </a:cubicBezTo>
                  <a:cubicBezTo>
                    <a:pt x="10842" y="4703"/>
                    <a:pt x="11042" y="3335"/>
                    <a:pt x="10708" y="2067"/>
                  </a:cubicBezTo>
                  <a:cubicBezTo>
                    <a:pt x="10466" y="1207"/>
                    <a:pt x="8925" y="1"/>
                    <a:pt x="6276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9" name="Google Shape;7249;p120">
              <a:extLst>
                <a:ext uri="{FF2B5EF4-FFF2-40B4-BE49-F238E27FC236}">
                  <a16:creationId xmlns:a16="http://schemas.microsoft.com/office/drawing/2014/main" id="{1884AED6-D716-6080-5CDB-06AF739B0BF8}"/>
                </a:ext>
              </a:extLst>
            </p:cNvPr>
            <p:cNvSpPr/>
            <p:nvPr/>
          </p:nvSpPr>
          <p:spPr>
            <a:xfrm>
              <a:off x="5786695" y="2107681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" name="Google Shape;7250;p120">
              <a:extLst>
                <a:ext uri="{FF2B5EF4-FFF2-40B4-BE49-F238E27FC236}">
                  <a16:creationId xmlns:a16="http://schemas.microsoft.com/office/drawing/2014/main" id="{81228222-980A-C6F8-76F5-6B137623E926}"/>
                </a:ext>
              </a:extLst>
            </p:cNvPr>
            <p:cNvSpPr/>
            <p:nvPr/>
          </p:nvSpPr>
          <p:spPr>
            <a:xfrm>
              <a:off x="5765293" y="1935546"/>
              <a:ext cx="31925" cy="31244"/>
            </a:xfrm>
            <a:custGeom>
              <a:avLst/>
              <a:gdLst/>
              <a:ahLst/>
              <a:cxnLst/>
              <a:rect l="l" t="t" r="r" b="b"/>
              <a:pathLst>
                <a:path w="1583" h="1550" extrusionOk="0">
                  <a:moveTo>
                    <a:pt x="718" y="0"/>
                  </a:moveTo>
                  <a:cubicBezTo>
                    <a:pt x="626" y="0"/>
                    <a:pt x="545" y="39"/>
                    <a:pt x="480" y="100"/>
                  </a:cubicBezTo>
                  <a:lnTo>
                    <a:pt x="480" y="100"/>
                  </a:lnTo>
                  <a:cubicBezTo>
                    <a:pt x="435" y="116"/>
                    <a:pt x="391" y="135"/>
                    <a:pt x="348" y="159"/>
                  </a:cubicBezTo>
                  <a:cubicBezTo>
                    <a:pt x="333" y="170"/>
                    <a:pt x="318" y="182"/>
                    <a:pt x="303" y="194"/>
                  </a:cubicBezTo>
                  <a:lnTo>
                    <a:pt x="303" y="194"/>
                  </a:lnTo>
                  <a:cubicBezTo>
                    <a:pt x="185" y="276"/>
                    <a:pt x="93" y="391"/>
                    <a:pt x="48" y="526"/>
                  </a:cubicBezTo>
                  <a:cubicBezTo>
                    <a:pt x="1" y="684"/>
                    <a:pt x="20" y="841"/>
                    <a:pt x="90" y="981"/>
                  </a:cubicBezTo>
                  <a:lnTo>
                    <a:pt x="90" y="981"/>
                  </a:lnTo>
                  <a:cubicBezTo>
                    <a:pt x="162" y="1288"/>
                    <a:pt x="385" y="1550"/>
                    <a:pt x="711" y="1550"/>
                  </a:cubicBezTo>
                  <a:cubicBezTo>
                    <a:pt x="765" y="1550"/>
                    <a:pt x="822" y="1542"/>
                    <a:pt x="882" y="1527"/>
                  </a:cubicBezTo>
                  <a:cubicBezTo>
                    <a:pt x="1043" y="1483"/>
                    <a:pt x="1166" y="1393"/>
                    <a:pt x="1254" y="1278"/>
                  </a:cubicBezTo>
                  <a:lnTo>
                    <a:pt x="1254" y="1278"/>
                  </a:lnTo>
                  <a:cubicBezTo>
                    <a:pt x="1341" y="1207"/>
                    <a:pt x="1409" y="1112"/>
                    <a:pt x="1449" y="993"/>
                  </a:cubicBezTo>
                  <a:cubicBezTo>
                    <a:pt x="1582" y="559"/>
                    <a:pt x="1249" y="159"/>
                    <a:pt x="849" y="26"/>
                  </a:cubicBezTo>
                  <a:cubicBezTo>
                    <a:pt x="803" y="8"/>
                    <a:pt x="760" y="0"/>
                    <a:pt x="718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" name="Google Shape;7251;p120">
              <a:extLst>
                <a:ext uri="{FF2B5EF4-FFF2-40B4-BE49-F238E27FC236}">
                  <a16:creationId xmlns:a16="http://schemas.microsoft.com/office/drawing/2014/main" id="{D16C0EF3-F60D-EE63-BA07-F046740C0D06}"/>
                </a:ext>
              </a:extLst>
            </p:cNvPr>
            <p:cNvSpPr/>
            <p:nvPr/>
          </p:nvSpPr>
          <p:spPr>
            <a:xfrm>
              <a:off x="5664949" y="1933145"/>
              <a:ext cx="33162" cy="32613"/>
            </a:xfrm>
            <a:custGeom>
              <a:avLst/>
              <a:gdLst/>
              <a:ahLst/>
              <a:cxnLst/>
              <a:rect l="l" t="t" r="r" b="b"/>
              <a:pathLst>
                <a:path w="1477" h="1453" extrusionOk="0">
                  <a:moveTo>
                    <a:pt x="833" y="1"/>
                  </a:moveTo>
                  <a:cubicBezTo>
                    <a:pt x="790" y="1"/>
                    <a:pt x="746" y="7"/>
                    <a:pt x="701" y="20"/>
                  </a:cubicBezTo>
                  <a:cubicBezTo>
                    <a:pt x="0" y="187"/>
                    <a:pt x="201" y="1121"/>
                    <a:pt x="701" y="1388"/>
                  </a:cubicBezTo>
                  <a:cubicBezTo>
                    <a:pt x="775" y="1433"/>
                    <a:pt x="852" y="1452"/>
                    <a:pt x="925" y="1452"/>
                  </a:cubicBezTo>
                  <a:cubicBezTo>
                    <a:pt x="1125" y="1452"/>
                    <a:pt x="1303" y="1306"/>
                    <a:pt x="1372" y="1119"/>
                  </a:cubicBezTo>
                  <a:lnTo>
                    <a:pt x="1372" y="1119"/>
                  </a:lnTo>
                  <a:cubicBezTo>
                    <a:pt x="1476" y="942"/>
                    <a:pt x="1471" y="683"/>
                    <a:pt x="1401" y="521"/>
                  </a:cubicBezTo>
                  <a:cubicBezTo>
                    <a:pt x="1344" y="261"/>
                    <a:pt x="1111" y="1"/>
                    <a:pt x="83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" name="Google Shape;7252;p120">
              <a:extLst>
                <a:ext uri="{FF2B5EF4-FFF2-40B4-BE49-F238E27FC236}">
                  <a16:creationId xmlns:a16="http://schemas.microsoft.com/office/drawing/2014/main" id="{AFB53090-706A-5CB6-A5CD-192B5C773641}"/>
                </a:ext>
              </a:extLst>
            </p:cNvPr>
            <p:cNvSpPr/>
            <p:nvPr/>
          </p:nvSpPr>
          <p:spPr>
            <a:xfrm>
              <a:off x="5683295" y="2033456"/>
              <a:ext cx="90925" cy="40075"/>
            </a:xfrm>
            <a:custGeom>
              <a:avLst/>
              <a:gdLst/>
              <a:ahLst/>
              <a:cxnLst/>
              <a:rect l="l" t="t" r="r" b="b"/>
              <a:pathLst>
                <a:path w="3637" h="1603" extrusionOk="0">
                  <a:moveTo>
                    <a:pt x="1" y="1"/>
                  </a:moveTo>
                  <a:cubicBezTo>
                    <a:pt x="1" y="1"/>
                    <a:pt x="267" y="1602"/>
                    <a:pt x="1869" y="1602"/>
                  </a:cubicBezTo>
                  <a:cubicBezTo>
                    <a:pt x="3503" y="1535"/>
                    <a:pt x="3636" y="34"/>
                    <a:pt x="3636" y="34"/>
                  </a:cubicBezTo>
                  <a:lnTo>
                    <a:pt x="3536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7253;p120">
              <a:extLst>
                <a:ext uri="{FF2B5EF4-FFF2-40B4-BE49-F238E27FC236}">
                  <a16:creationId xmlns:a16="http://schemas.microsoft.com/office/drawing/2014/main" id="{A6187D12-513E-7CD8-7F7C-7947D309E9C0}"/>
                </a:ext>
              </a:extLst>
            </p:cNvPr>
            <p:cNvSpPr/>
            <p:nvPr/>
          </p:nvSpPr>
          <p:spPr>
            <a:xfrm>
              <a:off x="5760845" y="1891806"/>
              <a:ext cx="73425" cy="17350"/>
            </a:xfrm>
            <a:custGeom>
              <a:avLst/>
              <a:gdLst/>
              <a:ahLst/>
              <a:cxnLst/>
              <a:rect l="l" t="t" r="r" b="b"/>
              <a:pathLst>
                <a:path w="2937" h="694" extrusionOk="0">
                  <a:moveTo>
                    <a:pt x="1417" y="0"/>
                  </a:moveTo>
                  <a:cubicBezTo>
                    <a:pt x="870" y="0"/>
                    <a:pt x="323" y="125"/>
                    <a:pt x="34" y="396"/>
                  </a:cubicBezTo>
                  <a:cubicBezTo>
                    <a:pt x="1" y="463"/>
                    <a:pt x="1" y="530"/>
                    <a:pt x="67" y="597"/>
                  </a:cubicBezTo>
                  <a:cubicBezTo>
                    <a:pt x="188" y="669"/>
                    <a:pt x="322" y="693"/>
                    <a:pt x="461" y="693"/>
                  </a:cubicBezTo>
                  <a:cubicBezTo>
                    <a:pt x="706" y="693"/>
                    <a:pt x="968" y="618"/>
                    <a:pt x="1202" y="597"/>
                  </a:cubicBezTo>
                  <a:cubicBezTo>
                    <a:pt x="1286" y="585"/>
                    <a:pt x="1371" y="581"/>
                    <a:pt x="1456" y="581"/>
                  </a:cubicBezTo>
                  <a:cubicBezTo>
                    <a:pt x="1825" y="581"/>
                    <a:pt x="2194" y="668"/>
                    <a:pt x="2564" y="668"/>
                  </a:cubicBezTo>
                  <a:cubicBezTo>
                    <a:pt x="2610" y="668"/>
                    <a:pt x="2656" y="666"/>
                    <a:pt x="2703" y="663"/>
                  </a:cubicBezTo>
                  <a:cubicBezTo>
                    <a:pt x="2869" y="663"/>
                    <a:pt x="2936" y="430"/>
                    <a:pt x="2769" y="330"/>
                  </a:cubicBezTo>
                  <a:cubicBezTo>
                    <a:pt x="2474" y="117"/>
                    <a:pt x="1946" y="0"/>
                    <a:pt x="1417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7254;p120">
              <a:extLst>
                <a:ext uri="{FF2B5EF4-FFF2-40B4-BE49-F238E27FC236}">
                  <a16:creationId xmlns:a16="http://schemas.microsoft.com/office/drawing/2014/main" id="{B41D17BD-0F29-5CCD-96BE-AE01298F7514}"/>
                </a:ext>
              </a:extLst>
            </p:cNvPr>
            <p:cNvSpPr/>
            <p:nvPr/>
          </p:nvSpPr>
          <p:spPr>
            <a:xfrm>
              <a:off x="5635770" y="1894981"/>
              <a:ext cx="68275" cy="14025"/>
            </a:xfrm>
            <a:custGeom>
              <a:avLst/>
              <a:gdLst/>
              <a:ahLst/>
              <a:cxnLst/>
              <a:rect l="l" t="t" r="r" b="b"/>
              <a:pathLst>
                <a:path w="2731" h="561" extrusionOk="0">
                  <a:moveTo>
                    <a:pt x="1244" y="1"/>
                  </a:moveTo>
                  <a:cubicBezTo>
                    <a:pt x="856" y="1"/>
                    <a:pt x="438" y="21"/>
                    <a:pt x="100" y="203"/>
                  </a:cubicBezTo>
                  <a:cubicBezTo>
                    <a:pt x="0" y="269"/>
                    <a:pt x="34" y="436"/>
                    <a:pt x="167" y="503"/>
                  </a:cubicBezTo>
                  <a:cubicBezTo>
                    <a:pt x="300" y="536"/>
                    <a:pt x="441" y="547"/>
                    <a:pt x="587" y="547"/>
                  </a:cubicBezTo>
                  <a:cubicBezTo>
                    <a:pt x="879" y="547"/>
                    <a:pt x="1190" y="503"/>
                    <a:pt x="1501" y="503"/>
                  </a:cubicBezTo>
                  <a:cubicBezTo>
                    <a:pt x="1717" y="503"/>
                    <a:pt x="1968" y="561"/>
                    <a:pt x="2205" y="561"/>
                  </a:cubicBezTo>
                  <a:cubicBezTo>
                    <a:pt x="2371" y="561"/>
                    <a:pt x="2531" y="532"/>
                    <a:pt x="2669" y="436"/>
                  </a:cubicBezTo>
                  <a:cubicBezTo>
                    <a:pt x="2673" y="441"/>
                    <a:pt x="2678" y="443"/>
                    <a:pt x="2683" y="443"/>
                  </a:cubicBezTo>
                  <a:cubicBezTo>
                    <a:pt x="2710" y="443"/>
                    <a:pt x="2731" y="365"/>
                    <a:pt x="2702" y="336"/>
                  </a:cubicBezTo>
                  <a:cubicBezTo>
                    <a:pt x="2435" y="3"/>
                    <a:pt x="1935" y="36"/>
                    <a:pt x="1568" y="3"/>
                  </a:cubicBezTo>
                  <a:cubicBezTo>
                    <a:pt x="1464" y="3"/>
                    <a:pt x="1355" y="1"/>
                    <a:pt x="1244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7255;p120">
              <a:extLst>
                <a:ext uri="{FF2B5EF4-FFF2-40B4-BE49-F238E27FC236}">
                  <a16:creationId xmlns:a16="http://schemas.microsoft.com/office/drawing/2014/main" id="{638E08CC-798C-6085-3E12-73DBC0574F4C}"/>
                </a:ext>
              </a:extLst>
            </p:cNvPr>
            <p:cNvSpPr/>
            <p:nvPr/>
          </p:nvSpPr>
          <p:spPr>
            <a:xfrm>
              <a:off x="5527345" y="1713231"/>
              <a:ext cx="396150" cy="245200"/>
            </a:xfrm>
            <a:custGeom>
              <a:avLst/>
              <a:gdLst/>
              <a:ahLst/>
              <a:cxnLst/>
              <a:rect l="l" t="t" r="r" b="b"/>
              <a:pathLst>
                <a:path w="15846" h="9808" extrusionOk="0">
                  <a:moveTo>
                    <a:pt x="3437" y="1"/>
                  </a:moveTo>
                  <a:cubicBezTo>
                    <a:pt x="3336" y="1"/>
                    <a:pt x="3203" y="1"/>
                    <a:pt x="3070" y="34"/>
                  </a:cubicBezTo>
                  <a:cubicBezTo>
                    <a:pt x="2836" y="168"/>
                    <a:pt x="2769" y="534"/>
                    <a:pt x="2936" y="768"/>
                  </a:cubicBezTo>
                  <a:cubicBezTo>
                    <a:pt x="3103" y="1001"/>
                    <a:pt x="3370" y="1102"/>
                    <a:pt x="3603" y="1202"/>
                  </a:cubicBezTo>
                  <a:cubicBezTo>
                    <a:pt x="3003" y="1102"/>
                    <a:pt x="2336" y="1035"/>
                    <a:pt x="1702" y="1035"/>
                  </a:cubicBezTo>
                  <a:cubicBezTo>
                    <a:pt x="1435" y="1035"/>
                    <a:pt x="1068" y="1135"/>
                    <a:pt x="1035" y="1368"/>
                  </a:cubicBezTo>
                  <a:cubicBezTo>
                    <a:pt x="1001" y="1535"/>
                    <a:pt x="1168" y="1769"/>
                    <a:pt x="1335" y="1835"/>
                  </a:cubicBezTo>
                  <a:cubicBezTo>
                    <a:pt x="1502" y="1935"/>
                    <a:pt x="1702" y="1969"/>
                    <a:pt x="1869" y="2036"/>
                  </a:cubicBezTo>
                  <a:cubicBezTo>
                    <a:pt x="1368" y="2102"/>
                    <a:pt x="901" y="2169"/>
                    <a:pt x="401" y="2269"/>
                  </a:cubicBezTo>
                  <a:cubicBezTo>
                    <a:pt x="334" y="2269"/>
                    <a:pt x="234" y="2302"/>
                    <a:pt x="168" y="2336"/>
                  </a:cubicBezTo>
                  <a:cubicBezTo>
                    <a:pt x="1" y="2469"/>
                    <a:pt x="34" y="2769"/>
                    <a:pt x="201" y="2936"/>
                  </a:cubicBezTo>
                  <a:cubicBezTo>
                    <a:pt x="601" y="3370"/>
                    <a:pt x="1435" y="3170"/>
                    <a:pt x="2036" y="3470"/>
                  </a:cubicBezTo>
                  <a:cubicBezTo>
                    <a:pt x="1669" y="3603"/>
                    <a:pt x="1235" y="3670"/>
                    <a:pt x="868" y="3803"/>
                  </a:cubicBezTo>
                  <a:cubicBezTo>
                    <a:pt x="835" y="3803"/>
                    <a:pt x="735" y="3837"/>
                    <a:pt x="701" y="3870"/>
                  </a:cubicBezTo>
                  <a:cubicBezTo>
                    <a:pt x="601" y="3970"/>
                    <a:pt x="601" y="4137"/>
                    <a:pt x="701" y="4204"/>
                  </a:cubicBezTo>
                  <a:cubicBezTo>
                    <a:pt x="735" y="4337"/>
                    <a:pt x="868" y="4371"/>
                    <a:pt x="1001" y="4437"/>
                  </a:cubicBezTo>
                  <a:cubicBezTo>
                    <a:pt x="1752" y="4721"/>
                    <a:pt x="2561" y="4863"/>
                    <a:pt x="3370" y="4863"/>
                  </a:cubicBezTo>
                  <a:cubicBezTo>
                    <a:pt x="4179" y="4863"/>
                    <a:pt x="4988" y="4721"/>
                    <a:pt x="5738" y="4437"/>
                  </a:cubicBezTo>
                  <a:lnTo>
                    <a:pt x="5738" y="4437"/>
                  </a:lnTo>
                  <a:cubicBezTo>
                    <a:pt x="5571" y="4637"/>
                    <a:pt x="5371" y="4871"/>
                    <a:pt x="5204" y="5104"/>
                  </a:cubicBezTo>
                  <a:cubicBezTo>
                    <a:pt x="5273" y="5107"/>
                    <a:pt x="5342" y="5108"/>
                    <a:pt x="5411" y="5108"/>
                  </a:cubicBezTo>
                  <a:cubicBezTo>
                    <a:pt x="6309" y="5108"/>
                    <a:pt x="7198" y="4904"/>
                    <a:pt x="7973" y="4471"/>
                  </a:cubicBezTo>
                  <a:lnTo>
                    <a:pt x="7973" y="4471"/>
                  </a:lnTo>
                  <a:cubicBezTo>
                    <a:pt x="7873" y="4604"/>
                    <a:pt x="7773" y="4771"/>
                    <a:pt x="7640" y="4871"/>
                  </a:cubicBezTo>
                  <a:cubicBezTo>
                    <a:pt x="7606" y="4938"/>
                    <a:pt x="7573" y="5004"/>
                    <a:pt x="7573" y="5038"/>
                  </a:cubicBezTo>
                  <a:cubicBezTo>
                    <a:pt x="7573" y="5161"/>
                    <a:pt x="7683" y="5230"/>
                    <a:pt x="7794" y="5230"/>
                  </a:cubicBezTo>
                  <a:cubicBezTo>
                    <a:pt x="7833" y="5230"/>
                    <a:pt x="7872" y="5222"/>
                    <a:pt x="7906" y="5204"/>
                  </a:cubicBezTo>
                  <a:cubicBezTo>
                    <a:pt x="9641" y="4938"/>
                    <a:pt x="11376" y="4304"/>
                    <a:pt x="12843" y="3303"/>
                  </a:cubicBezTo>
                  <a:lnTo>
                    <a:pt x="13644" y="4838"/>
                  </a:lnTo>
                  <a:lnTo>
                    <a:pt x="14311" y="5471"/>
                  </a:lnTo>
                  <a:lnTo>
                    <a:pt x="14077" y="9574"/>
                  </a:lnTo>
                  <a:lnTo>
                    <a:pt x="14745" y="9808"/>
                  </a:lnTo>
                  <a:cubicBezTo>
                    <a:pt x="15112" y="8440"/>
                    <a:pt x="15412" y="7072"/>
                    <a:pt x="15612" y="5671"/>
                  </a:cubicBezTo>
                  <a:cubicBezTo>
                    <a:pt x="15745" y="5071"/>
                    <a:pt x="15845" y="4437"/>
                    <a:pt x="15679" y="3803"/>
                  </a:cubicBezTo>
                  <a:cubicBezTo>
                    <a:pt x="15545" y="3336"/>
                    <a:pt x="15345" y="2970"/>
                    <a:pt x="15112" y="2603"/>
                  </a:cubicBezTo>
                  <a:cubicBezTo>
                    <a:pt x="15011" y="2336"/>
                    <a:pt x="14845" y="2102"/>
                    <a:pt x="14611" y="1935"/>
                  </a:cubicBezTo>
                  <a:cubicBezTo>
                    <a:pt x="14468" y="1816"/>
                    <a:pt x="14257" y="1714"/>
                    <a:pt x="14063" y="1714"/>
                  </a:cubicBezTo>
                  <a:cubicBezTo>
                    <a:pt x="13986" y="1714"/>
                    <a:pt x="13911" y="1731"/>
                    <a:pt x="13844" y="1769"/>
                  </a:cubicBezTo>
                  <a:cubicBezTo>
                    <a:pt x="13695" y="1798"/>
                    <a:pt x="13573" y="1907"/>
                    <a:pt x="13431" y="1907"/>
                  </a:cubicBezTo>
                  <a:cubicBezTo>
                    <a:pt x="13413" y="1907"/>
                    <a:pt x="13395" y="1906"/>
                    <a:pt x="13377" y="1902"/>
                  </a:cubicBezTo>
                  <a:cubicBezTo>
                    <a:pt x="13277" y="1902"/>
                    <a:pt x="13244" y="1802"/>
                    <a:pt x="13210" y="1769"/>
                  </a:cubicBezTo>
                  <a:cubicBezTo>
                    <a:pt x="12410" y="935"/>
                    <a:pt x="11442" y="234"/>
                    <a:pt x="10341" y="67"/>
                  </a:cubicBezTo>
                  <a:cubicBezTo>
                    <a:pt x="10183" y="46"/>
                    <a:pt x="10023" y="36"/>
                    <a:pt x="9863" y="36"/>
                  </a:cubicBezTo>
                  <a:cubicBezTo>
                    <a:pt x="9046" y="36"/>
                    <a:pt x="8209" y="279"/>
                    <a:pt x="7373" y="334"/>
                  </a:cubicBezTo>
                  <a:cubicBezTo>
                    <a:pt x="7157" y="356"/>
                    <a:pt x="6943" y="365"/>
                    <a:pt x="6729" y="365"/>
                  </a:cubicBezTo>
                  <a:cubicBezTo>
                    <a:pt x="5618" y="365"/>
                    <a:pt x="4527" y="113"/>
                    <a:pt x="3437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7256;p120">
              <a:extLst>
                <a:ext uri="{FF2B5EF4-FFF2-40B4-BE49-F238E27FC236}">
                  <a16:creationId xmlns:a16="http://schemas.microsoft.com/office/drawing/2014/main" id="{FF7FBFE9-8B06-42AA-AA9C-15A1083B8B37}"/>
                </a:ext>
              </a:extLst>
            </p:cNvPr>
            <p:cNvSpPr/>
            <p:nvPr/>
          </p:nvSpPr>
          <p:spPr>
            <a:xfrm>
              <a:off x="5850920" y="1937556"/>
              <a:ext cx="49225" cy="74575"/>
            </a:xfrm>
            <a:custGeom>
              <a:avLst/>
              <a:gdLst/>
              <a:ahLst/>
              <a:cxnLst/>
              <a:rect l="l" t="t" r="r" b="b"/>
              <a:pathLst>
                <a:path w="1969" h="2983" extrusionOk="0">
                  <a:moveTo>
                    <a:pt x="1101" y="1"/>
                  </a:moveTo>
                  <a:cubicBezTo>
                    <a:pt x="834" y="1"/>
                    <a:pt x="634" y="201"/>
                    <a:pt x="501" y="435"/>
                  </a:cubicBezTo>
                  <a:lnTo>
                    <a:pt x="0" y="2870"/>
                  </a:lnTo>
                  <a:cubicBezTo>
                    <a:pt x="142" y="2948"/>
                    <a:pt x="291" y="2983"/>
                    <a:pt x="441" y="2983"/>
                  </a:cubicBezTo>
                  <a:cubicBezTo>
                    <a:pt x="608" y="2983"/>
                    <a:pt x="776" y="2940"/>
                    <a:pt x="934" y="2870"/>
                  </a:cubicBezTo>
                  <a:cubicBezTo>
                    <a:pt x="1568" y="2603"/>
                    <a:pt x="1968" y="1869"/>
                    <a:pt x="1935" y="1168"/>
                  </a:cubicBezTo>
                  <a:cubicBezTo>
                    <a:pt x="1935" y="1002"/>
                    <a:pt x="1902" y="835"/>
                    <a:pt x="1835" y="701"/>
                  </a:cubicBezTo>
                  <a:cubicBezTo>
                    <a:pt x="1802" y="535"/>
                    <a:pt x="1702" y="334"/>
                    <a:pt x="1601" y="201"/>
                  </a:cubicBezTo>
                  <a:cubicBezTo>
                    <a:pt x="1468" y="101"/>
                    <a:pt x="1301" y="1"/>
                    <a:pt x="1101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7257;p120">
              <a:extLst>
                <a:ext uri="{FF2B5EF4-FFF2-40B4-BE49-F238E27FC236}">
                  <a16:creationId xmlns:a16="http://schemas.microsoft.com/office/drawing/2014/main" id="{7A9A9F7F-AC1D-576E-BA58-9812B41D4169}"/>
                </a:ext>
              </a:extLst>
            </p:cNvPr>
            <p:cNvSpPr/>
            <p:nvPr/>
          </p:nvSpPr>
          <p:spPr>
            <a:xfrm>
              <a:off x="5584070" y="1937256"/>
              <a:ext cx="52550" cy="73725"/>
            </a:xfrm>
            <a:custGeom>
              <a:avLst/>
              <a:gdLst/>
              <a:ahLst/>
              <a:cxnLst/>
              <a:rect l="l" t="t" r="r" b="b"/>
              <a:pathLst>
                <a:path w="2102" h="2949" extrusionOk="0">
                  <a:moveTo>
                    <a:pt x="559" y="0"/>
                  </a:moveTo>
                  <a:cubicBezTo>
                    <a:pt x="517" y="0"/>
                    <a:pt x="475" y="5"/>
                    <a:pt x="434" y="13"/>
                  </a:cubicBezTo>
                  <a:cubicBezTo>
                    <a:pt x="133" y="113"/>
                    <a:pt x="0" y="480"/>
                    <a:pt x="0" y="813"/>
                  </a:cubicBezTo>
                  <a:cubicBezTo>
                    <a:pt x="0" y="1314"/>
                    <a:pt x="234" y="1848"/>
                    <a:pt x="567" y="2214"/>
                  </a:cubicBezTo>
                  <a:cubicBezTo>
                    <a:pt x="901" y="2615"/>
                    <a:pt x="1401" y="2882"/>
                    <a:pt x="1901" y="2948"/>
                  </a:cubicBezTo>
                  <a:cubicBezTo>
                    <a:pt x="1968" y="2948"/>
                    <a:pt x="2035" y="2948"/>
                    <a:pt x="2102" y="2848"/>
                  </a:cubicBezTo>
                  <a:lnTo>
                    <a:pt x="1468" y="547"/>
                  </a:lnTo>
                  <a:cubicBezTo>
                    <a:pt x="1401" y="346"/>
                    <a:pt x="1168" y="213"/>
                    <a:pt x="934" y="113"/>
                  </a:cubicBezTo>
                  <a:cubicBezTo>
                    <a:pt x="809" y="38"/>
                    <a:pt x="684" y="0"/>
                    <a:pt x="559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7258;p120">
              <a:extLst>
                <a:ext uri="{FF2B5EF4-FFF2-40B4-BE49-F238E27FC236}">
                  <a16:creationId xmlns:a16="http://schemas.microsoft.com/office/drawing/2014/main" id="{B7AE3E60-026E-D51D-9029-13EF72F90CF4}"/>
                </a:ext>
              </a:extLst>
            </p:cNvPr>
            <p:cNvSpPr/>
            <p:nvPr/>
          </p:nvSpPr>
          <p:spPr>
            <a:xfrm>
              <a:off x="5603245" y="2161056"/>
              <a:ext cx="283550" cy="129275"/>
            </a:xfrm>
            <a:custGeom>
              <a:avLst/>
              <a:gdLst/>
              <a:ahLst/>
              <a:cxnLst/>
              <a:rect l="l" t="t" r="r" b="b"/>
              <a:pathLst>
                <a:path w="11342" h="5171" extrusionOk="0">
                  <a:moveTo>
                    <a:pt x="3903" y="1"/>
                  </a:moveTo>
                  <a:lnTo>
                    <a:pt x="0" y="1502"/>
                  </a:lnTo>
                  <a:cubicBezTo>
                    <a:pt x="534" y="2736"/>
                    <a:pt x="1201" y="3937"/>
                    <a:pt x="2035" y="5038"/>
                  </a:cubicBezTo>
                  <a:cubicBezTo>
                    <a:pt x="2702" y="5104"/>
                    <a:pt x="3469" y="5171"/>
                    <a:pt x="4337" y="5171"/>
                  </a:cubicBezTo>
                  <a:cubicBezTo>
                    <a:pt x="9040" y="4771"/>
                    <a:pt x="11342" y="2169"/>
                    <a:pt x="11342" y="2169"/>
                  </a:cubicBezTo>
                  <a:cubicBezTo>
                    <a:pt x="11342" y="2169"/>
                    <a:pt x="7372" y="201"/>
                    <a:pt x="7172" y="201"/>
                  </a:cubicBezTo>
                  <a:lnTo>
                    <a:pt x="3903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7259;p120">
              <a:extLst>
                <a:ext uri="{FF2B5EF4-FFF2-40B4-BE49-F238E27FC236}">
                  <a16:creationId xmlns:a16="http://schemas.microsoft.com/office/drawing/2014/main" id="{F887BCEB-70E9-D8C0-9FB8-E829EE3E9B4E}"/>
                </a:ext>
              </a:extLst>
            </p:cNvPr>
            <p:cNvSpPr/>
            <p:nvPr/>
          </p:nvSpPr>
          <p:spPr>
            <a:xfrm>
              <a:off x="5695795" y="1921381"/>
              <a:ext cx="42925" cy="98125"/>
            </a:xfrm>
            <a:custGeom>
              <a:avLst/>
              <a:gdLst/>
              <a:ahLst/>
              <a:cxnLst/>
              <a:rect l="l" t="t" r="r" b="b"/>
              <a:pathLst>
                <a:path w="1717" h="3925" extrusionOk="0">
                  <a:moveTo>
                    <a:pt x="1112" y="1"/>
                  </a:moveTo>
                  <a:cubicBezTo>
                    <a:pt x="1075" y="1"/>
                    <a:pt x="1035" y="26"/>
                    <a:pt x="1035" y="81"/>
                  </a:cubicBezTo>
                  <a:cubicBezTo>
                    <a:pt x="1002" y="1015"/>
                    <a:pt x="1002" y="2249"/>
                    <a:pt x="134" y="2816"/>
                  </a:cubicBezTo>
                  <a:cubicBezTo>
                    <a:pt x="34" y="2849"/>
                    <a:pt x="1" y="2983"/>
                    <a:pt x="68" y="3083"/>
                  </a:cubicBezTo>
                  <a:cubicBezTo>
                    <a:pt x="501" y="3417"/>
                    <a:pt x="902" y="3683"/>
                    <a:pt x="1402" y="3917"/>
                  </a:cubicBezTo>
                  <a:cubicBezTo>
                    <a:pt x="1424" y="3922"/>
                    <a:pt x="1445" y="3925"/>
                    <a:pt x="1464" y="3925"/>
                  </a:cubicBezTo>
                  <a:cubicBezTo>
                    <a:pt x="1678" y="3925"/>
                    <a:pt x="1716" y="3608"/>
                    <a:pt x="1502" y="3517"/>
                  </a:cubicBezTo>
                  <a:cubicBezTo>
                    <a:pt x="1089" y="3369"/>
                    <a:pt x="754" y="3222"/>
                    <a:pt x="429" y="2959"/>
                  </a:cubicBezTo>
                  <a:lnTo>
                    <a:pt x="429" y="2959"/>
                  </a:lnTo>
                  <a:cubicBezTo>
                    <a:pt x="1196" y="2254"/>
                    <a:pt x="1354" y="1036"/>
                    <a:pt x="1168" y="47"/>
                  </a:cubicBezTo>
                  <a:cubicBezTo>
                    <a:pt x="1168" y="17"/>
                    <a:pt x="1141" y="1"/>
                    <a:pt x="1112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7260;p120">
              <a:extLst>
                <a:ext uri="{FF2B5EF4-FFF2-40B4-BE49-F238E27FC236}">
                  <a16:creationId xmlns:a16="http://schemas.microsoft.com/office/drawing/2014/main" id="{A5455608-870C-926E-CE64-6CDFE9DE2257}"/>
                </a:ext>
              </a:extLst>
            </p:cNvPr>
            <p:cNvSpPr/>
            <p:nvPr/>
          </p:nvSpPr>
          <p:spPr>
            <a:xfrm>
              <a:off x="5599895" y="1750756"/>
              <a:ext cx="292750" cy="236875"/>
            </a:xfrm>
            <a:custGeom>
              <a:avLst/>
              <a:gdLst/>
              <a:ahLst/>
              <a:cxnLst/>
              <a:rect l="l" t="t" r="r" b="b"/>
              <a:pathLst>
                <a:path w="11710" h="9475" extrusionOk="0">
                  <a:moveTo>
                    <a:pt x="7673" y="1"/>
                  </a:moveTo>
                  <a:cubicBezTo>
                    <a:pt x="7673" y="1"/>
                    <a:pt x="4037" y="434"/>
                    <a:pt x="3437" y="501"/>
                  </a:cubicBezTo>
                  <a:cubicBezTo>
                    <a:pt x="2836" y="601"/>
                    <a:pt x="1" y="2603"/>
                    <a:pt x="1" y="2603"/>
                  </a:cubicBezTo>
                  <a:cubicBezTo>
                    <a:pt x="1" y="2603"/>
                    <a:pt x="134" y="6172"/>
                    <a:pt x="301" y="7640"/>
                  </a:cubicBezTo>
                  <a:cubicBezTo>
                    <a:pt x="468" y="9107"/>
                    <a:pt x="801" y="9441"/>
                    <a:pt x="801" y="9441"/>
                  </a:cubicBezTo>
                  <a:lnTo>
                    <a:pt x="535" y="6172"/>
                  </a:lnTo>
                  <a:cubicBezTo>
                    <a:pt x="535" y="6172"/>
                    <a:pt x="601" y="6139"/>
                    <a:pt x="668" y="6105"/>
                  </a:cubicBezTo>
                  <a:cubicBezTo>
                    <a:pt x="1035" y="6105"/>
                    <a:pt x="1268" y="5338"/>
                    <a:pt x="1268" y="4838"/>
                  </a:cubicBezTo>
                  <a:cubicBezTo>
                    <a:pt x="1268" y="4337"/>
                    <a:pt x="1335" y="2403"/>
                    <a:pt x="1335" y="2403"/>
                  </a:cubicBezTo>
                  <a:cubicBezTo>
                    <a:pt x="1335" y="2403"/>
                    <a:pt x="2521" y="2373"/>
                    <a:pt x="3796" y="2373"/>
                  </a:cubicBezTo>
                  <a:cubicBezTo>
                    <a:pt x="4434" y="2373"/>
                    <a:pt x="5093" y="2380"/>
                    <a:pt x="5638" y="2403"/>
                  </a:cubicBezTo>
                  <a:cubicBezTo>
                    <a:pt x="5732" y="2405"/>
                    <a:pt x="5829" y="2405"/>
                    <a:pt x="5929" y="2405"/>
                  </a:cubicBezTo>
                  <a:cubicBezTo>
                    <a:pt x="7517" y="2405"/>
                    <a:pt x="9674" y="2169"/>
                    <a:pt x="9674" y="2169"/>
                  </a:cubicBezTo>
                  <a:lnTo>
                    <a:pt x="9674" y="3837"/>
                  </a:lnTo>
                  <a:cubicBezTo>
                    <a:pt x="9674" y="5505"/>
                    <a:pt x="10842" y="6139"/>
                    <a:pt x="10842" y="6139"/>
                  </a:cubicBezTo>
                  <a:lnTo>
                    <a:pt x="10542" y="9474"/>
                  </a:lnTo>
                  <a:cubicBezTo>
                    <a:pt x="10542" y="9474"/>
                    <a:pt x="10842" y="9474"/>
                    <a:pt x="11042" y="9074"/>
                  </a:cubicBezTo>
                  <a:cubicBezTo>
                    <a:pt x="11276" y="8640"/>
                    <a:pt x="11276" y="7139"/>
                    <a:pt x="11309" y="7073"/>
                  </a:cubicBezTo>
                  <a:lnTo>
                    <a:pt x="11709" y="2569"/>
                  </a:lnTo>
                  <a:lnTo>
                    <a:pt x="11376" y="1802"/>
                  </a:lnTo>
                  <a:lnTo>
                    <a:pt x="9674" y="768"/>
                  </a:lnTo>
                  <a:lnTo>
                    <a:pt x="7673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7261;p120">
              <a:extLst>
                <a:ext uri="{FF2B5EF4-FFF2-40B4-BE49-F238E27FC236}">
                  <a16:creationId xmlns:a16="http://schemas.microsoft.com/office/drawing/2014/main" id="{CE4F203A-27A9-50C0-3B7D-E6F214C680D1}"/>
                </a:ext>
              </a:extLst>
            </p:cNvPr>
            <p:cNvSpPr/>
            <p:nvPr/>
          </p:nvSpPr>
          <p:spPr>
            <a:xfrm>
              <a:off x="5769195" y="1691556"/>
              <a:ext cx="534575" cy="675500"/>
            </a:xfrm>
            <a:custGeom>
              <a:avLst/>
              <a:gdLst/>
              <a:ahLst/>
              <a:cxnLst/>
              <a:rect l="l" t="t" r="r" b="b"/>
              <a:pathLst>
                <a:path w="21383" h="27020" extrusionOk="0">
                  <a:moveTo>
                    <a:pt x="16545" y="0"/>
                  </a:moveTo>
                  <a:lnTo>
                    <a:pt x="16545" y="0"/>
                  </a:lnTo>
                  <a:cubicBezTo>
                    <a:pt x="17513" y="5037"/>
                    <a:pt x="16746" y="10541"/>
                    <a:pt x="13610" y="14644"/>
                  </a:cubicBezTo>
                  <a:cubicBezTo>
                    <a:pt x="11228" y="17743"/>
                    <a:pt x="7333" y="19761"/>
                    <a:pt x="3463" y="19761"/>
                  </a:cubicBezTo>
                  <a:cubicBezTo>
                    <a:pt x="2292" y="19761"/>
                    <a:pt x="1124" y="19576"/>
                    <a:pt x="0" y="19181"/>
                  </a:cubicBezTo>
                  <a:lnTo>
                    <a:pt x="0" y="19181"/>
                  </a:lnTo>
                  <a:lnTo>
                    <a:pt x="4203" y="27020"/>
                  </a:lnTo>
                  <a:cubicBezTo>
                    <a:pt x="8506" y="26386"/>
                    <a:pt x="12509" y="24285"/>
                    <a:pt x="15411" y="21049"/>
                  </a:cubicBezTo>
                  <a:cubicBezTo>
                    <a:pt x="16212" y="20182"/>
                    <a:pt x="16912" y="19214"/>
                    <a:pt x="17546" y="18214"/>
                  </a:cubicBezTo>
                  <a:cubicBezTo>
                    <a:pt x="20849" y="12876"/>
                    <a:pt x="21382" y="6005"/>
                    <a:pt x="19047" y="201"/>
                  </a:cubicBezTo>
                  <a:cubicBezTo>
                    <a:pt x="18213" y="134"/>
                    <a:pt x="17379" y="67"/>
                    <a:pt x="16545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2" name="Google Shape;7262;p120">
              <a:extLst>
                <a:ext uri="{FF2B5EF4-FFF2-40B4-BE49-F238E27FC236}">
                  <a16:creationId xmlns:a16="http://schemas.microsoft.com/office/drawing/2014/main" id="{BFF7833E-9690-916F-A938-D509F534EB5D}"/>
                </a:ext>
              </a:extLst>
            </p:cNvPr>
            <p:cNvSpPr/>
            <p:nvPr/>
          </p:nvSpPr>
          <p:spPr>
            <a:xfrm>
              <a:off x="5221295" y="1994281"/>
              <a:ext cx="1040775" cy="1074950"/>
            </a:xfrm>
            <a:custGeom>
              <a:avLst/>
              <a:gdLst/>
              <a:ahLst/>
              <a:cxnLst/>
              <a:rect l="l" t="t" r="r" b="b"/>
              <a:pathLst>
                <a:path w="41631" h="42998" extrusionOk="0">
                  <a:moveTo>
                    <a:pt x="36660" y="0"/>
                  </a:moveTo>
                  <a:cubicBezTo>
                    <a:pt x="36660" y="0"/>
                    <a:pt x="34926" y="2836"/>
                    <a:pt x="31957" y="4737"/>
                  </a:cubicBezTo>
                  <a:cubicBezTo>
                    <a:pt x="29355" y="6461"/>
                    <a:pt x="26754" y="6931"/>
                    <a:pt x="25230" y="6931"/>
                  </a:cubicBezTo>
                  <a:cubicBezTo>
                    <a:pt x="25015" y="6931"/>
                    <a:pt x="24821" y="6922"/>
                    <a:pt x="24652" y="6905"/>
                  </a:cubicBezTo>
                  <a:lnTo>
                    <a:pt x="24652" y="6938"/>
                  </a:lnTo>
                  <a:cubicBezTo>
                    <a:pt x="23451" y="6905"/>
                    <a:pt x="22450" y="6805"/>
                    <a:pt x="22450" y="6805"/>
                  </a:cubicBezTo>
                  <a:cubicBezTo>
                    <a:pt x="22450" y="6805"/>
                    <a:pt x="21816" y="7439"/>
                    <a:pt x="20482" y="7739"/>
                  </a:cubicBezTo>
                  <a:cubicBezTo>
                    <a:pt x="20337" y="7772"/>
                    <a:pt x="20200" y="7786"/>
                    <a:pt x="20069" y="7786"/>
                  </a:cubicBezTo>
                  <a:cubicBezTo>
                    <a:pt x="18997" y="7786"/>
                    <a:pt x="18414" y="6805"/>
                    <a:pt x="18414" y="6805"/>
                  </a:cubicBezTo>
                  <a:cubicBezTo>
                    <a:pt x="18414" y="6805"/>
                    <a:pt x="17813" y="6972"/>
                    <a:pt x="16979" y="7205"/>
                  </a:cubicBezTo>
                  <a:cubicBezTo>
                    <a:pt x="16879" y="7210"/>
                    <a:pt x="16770" y="7213"/>
                    <a:pt x="16651" y="7213"/>
                  </a:cubicBezTo>
                  <a:cubicBezTo>
                    <a:pt x="15194" y="7213"/>
                    <a:pt x="12420" y="6796"/>
                    <a:pt x="9674" y="5037"/>
                  </a:cubicBezTo>
                  <a:cubicBezTo>
                    <a:pt x="6739" y="3069"/>
                    <a:pt x="4971" y="267"/>
                    <a:pt x="4971" y="267"/>
                  </a:cubicBezTo>
                  <a:cubicBezTo>
                    <a:pt x="4971" y="267"/>
                    <a:pt x="1" y="2869"/>
                    <a:pt x="134" y="2869"/>
                  </a:cubicBezTo>
                  <a:cubicBezTo>
                    <a:pt x="268" y="2902"/>
                    <a:pt x="935" y="7606"/>
                    <a:pt x="5438" y="11742"/>
                  </a:cubicBezTo>
                  <a:cubicBezTo>
                    <a:pt x="8140" y="14244"/>
                    <a:pt x="10441" y="16445"/>
                    <a:pt x="11676" y="18780"/>
                  </a:cubicBezTo>
                  <a:cubicBezTo>
                    <a:pt x="11676" y="19014"/>
                    <a:pt x="11676" y="19247"/>
                    <a:pt x="11642" y="19447"/>
                  </a:cubicBezTo>
                  <a:lnTo>
                    <a:pt x="11642" y="19948"/>
                  </a:lnTo>
                  <a:cubicBezTo>
                    <a:pt x="10842" y="27753"/>
                    <a:pt x="9974" y="42998"/>
                    <a:pt x="9974" y="42998"/>
                  </a:cubicBezTo>
                  <a:lnTo>
                    <a:pt x="30823" y="42998"/>
                  </a:lnTo>
                  <a:cubicBezTo>
                    <a:pt x="30823" y="42998"/>
                    <a:pt x="30623" y="39061"/>
                    <a:pt x="29855" y="32157"/>
                  </a:cubicBezTo>
                  <a:cubicBezTo>
                    <a:pt x="29622" y="29955"/>
                    <a:pt x="29222" y="26819"/>
                    <a:pt x="28888" y="23650"/>
                  </a:cubicBezTo>
                  <a:lnTo>
                    <a:pt x="28888" y="23283"/>
                  </a:lnTo>
                  <a:cubicBezTo>
                    <a:pt x="28488" y="18814"/>
                    <a:pt x="31723" y="15578"/>
                    <a:pt x="36227" y="11442"/>
                  </a:cubicBezTo>
                  <a:cubicBezTo>
                    <a:pt x="40763" y="7305"/>
                    <a:pt x="41364" y="2602"/>
                    <a:pt x="41530" y="2569"/>
                  </a:cubicBezTo>
                  <a:cubicBezTo>
                    <a:pt x="41630" y="2535"/>
                    <a:pt x="36660" y="0"/>
                    <a:pt x="3666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7263;p120">
              <a:extLst>
                <a:ext uri="{FF2B5EF4-FFF2-40B4-BE49-F238E27FC236}">
                  <a16:creationId xmlns:a16="http://schemas.microsoft.com/office/drawing/2014/main" id="{546F9B95-B81C-40EB-CAA2-234A9DDBB287}"/>
                </a:ext>
              </a:extLst>
            </p:cNvPr>
            <p:cNvSpPr/>
            <p:nvPr/>
          </p:nvSpPr>
          <p:spPr>
            <a:xfrm>
              <a:off x="5602045" y="2166056"/>
              <a:ext cx="463225" cy="1072450"/>
            </a:xfrm>
            <a:custGeom>
              <a:avLst/>
              <a:gdLst/>
              <a:ahLst/>
              <a:cxnLst/>
              <a:rect l="l" t="t" r="r" b="b"/>
              <a:pathLst>
                <a:path w="18529" h="42898" extrusionOk="0">
                  <a:moveTo>
                    <a:pt x="15" y="101"/>
                  </a:moveTo>
                  <a:cubicBezTo>
                    <a:pt x="0" y="130"/>
                    <a:pt x="5" y="140"/>
                    <a:pt x="18" y="142"/>
                  </a:cubicBezTo>
                  <a:lnTo>
                    <a:pt x="18" y="142"/>
                  </a:lnTo>
                  <a:cubicBezTo>
                    <a:pt x="17" y="128"/>
                    <a:pt x="16" y="115"/>
                    <a:pt x="15" y="101"/>
                  </a:cubicBezTo>
                  <a:close/>
                  <a:moveTo>
                    <a:pt x="916" y="1"/>
                  </a:moveTo>
                  <a:cubicBezTo>
                    <a:pt x="615" y="1"/>
                    <a:pt x="348" y="1"/>
                    <a:pt x="82" y="134"/>
                  </a:cubicBezTo>
                  <a:cubicBezTo>
                    <a:pt x="65" y="134"/>
                    <a:pt x="40" y="143"/>
                    <a:pt x="23" y="143"/>
                  </a:cubicBezTo>
                  <a:cubicBezTo>
                    <a:pt x="21" y="143"/>
                    <a:pt x="19" y="142"/>
                    <a:pt x="18" y="142"/>
                  </a:cubicBezTo>
                  <a:lnTo>
                    <a:pt x="18" y="142"/>
                  </a:lnTo>
                  <a:cubicBezTo>
                    <a:pt x="261" y="3800"/>
                    <a:pt x="1954" y="7719"/>
                    <a:pt x="3117" y="11075"/>
                  </a:cubicBezTo>
                  <a:cubicBezTo>
                    <a:pt x="4385" y="14778"/>
                    <a:pt x="5752" y="18447"/>
                    <a:pt x="7253" y="22083"/>
                  </a:cubicBezTo>
                  <a:cubicBezTo>
                    <a:pt x="8788" y="25886"/>
                    <a:pt x="10456" y="29589"/>
                    <a:pt x="12224" y="33258"/>
                  </a:cubicBezTo>
                  <a:cubicBezTo>
                    <a:pt x="13091" y="35093"/>
                    <a:pt x="14025" y="36927"/>
                    <a:pt x="14926" y="38728"/>
                  </a:cubicBezTo>
                  <a:cubicBezTo>
                    <a:pt x="15693" y="40196"/>
                    <a:pt x="16260" y="41964"/>
                    <a:pt x="17594" y="42798"/>
                  </a:cubicBezTo>
                  <a:cubicBezTo>
                    <a:pt x="17687" y="42866"/>
                    <a:pt x="17794" y="42897"/>
                    <a:pt x="17900" y="42897"/>
                  </a:cubicBezTo>
                  <a:cubicBezTo>
                    <a:pt x="18213" y="42897"/>
                    <a:pt x="18528" y="42629"/>
                    <a:pt x="18528" y="42231"/>
                  </a:cubicBezTo>
                  <a:cubicBezTo>
                    <a:pt x="18461" y="40530"/>
                    <a:pt x="17294" y="39095"/>
                    <a:pt x="16560" y="37694"/>
                  </a:cubicBezTo>
                  <a:cubicBezTo>
                    <a:pt x="15593" y="35893"/>
                    <a:pt x="14692" y="34092"/>
                    <a:pt x="13791" y="32257"/>
                  </a:cubicBezTo>
                  <a:cubicBezTo>
                    <a:pt x="12124" y="28855"/>
                    <a:pt x="10556" y="25352"/>
                    <a:pt x="9055" y="21850"/>
                  </a:cubicBezTo>
                  <a:cubicBezTo>
                    <a:pt x="7454" y="18147"/>
                    <a:pt x="6019" y="14411"/>
                    <a:pt x="4685" y="10642"/>
                  </a:cubicBezTo>
                  <a:cubicBezTo>
                    <a:pt x="4018" y="8707"/>
                    <a:pt x="3351" y="6772"/>
                    <a:pt x="2683" y="4838"/>
                  </a:cubicBezTo>
                  <a:cubicBezTo>
                    <a:pt x="2116" y="3236"/>
                    <a:pt x="1716" y="1502"/>
                    <a:pt x="916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7264;p120">
              <a:extLst>
                <a:ext uri="{FF2B5EF4-FFF2-40B4-BE49-F238E27FC236}">
                  <a16:creationId xmlns:a16="http://schemas.microsoft.com/office/drawing/2014/main" id="{A12BE6B8-1588-8E8B-B67E-09D7B86A82FC}"/>
                </a:ext>
              </a:extLst>
            </p:cNvPr>
            <p:cNvSpPr/>
            <p:nvPr/>
          </p:nvSpPr>
          <p:spPr>
            <a:xfrm>
              <a:off x="5990170" y="3184281"/>
              <a:ext cx="149300" cy="430200"/>
            </a:xfrm>
            <a:custGeom>
              <a:avLst/>
              <a:gdLst/>
              <a:ahLst/>
              <a:cxnLst/>
              <a:rect l="l" t="t" r="r" b="b"/>
              <a:pathLst>
                <a:path w="5972" h="17208" extrusionOk="0">
                  <a:moveTo>
                    <a:pt x="5271" y="1"/>
                  </a:moveTo>
                  <a:lnTo>
                    <a:pt x="668" y="1135"/>
                  </a:lnTo>
                  <a:cubicBezTo>
                    <a:pt x="435" y="1168"/>
                    <a:pt x="234" y="1235"/>
                    <a:pt x="101" y="1402"/>
                  </a:cubicBezTo>
                  <a:cubicBezTo>
                    <a:pt x="1" y="1569"/>
                    <a:pt x="1" y="1802"/>
                    <a:pt x="1" y="1969"/>
                  </a:cubicBezTo>
                  <a:cubicBezTo>
                    <a:pt x="1" y="6506"/>
                    <a:pt x="34" y="11042"/>
                    <a:pt x="201" y="15645"/>
                  </a:cubicBezTo>
                  <a:cubicBezTo>
                    <a:pt x="201" y="15879"/>
                    <a:pt x="234" y="16146"/>
                    <a:pt x="368" y="16313"/>
                  </a:cubicBezTo>
                  <a:cubicBezTo>
                    <a:pt x="535" y="16513"/>
                    <a:pt x="768" y="16546"/>
                    <a:pt x="1035" y="16613"/>
                  </a:cubicBezTo>
                  <a:cubicBezTo>
                    <a:pt x="2203" y="16846"/>
                    <a:pt x="3370" y="17013"/>
                    <a:pt x="4538" y="17180"/>
                  </a:cubicBezTo>
                  <a:cubicBezTo>
                    <a:pt x="4674" y="17193"/>
                    <a:pt x="4810" y="17207"/>
                    <a:pt x="4942" y="17207"/>
                  </a:cubicBezTo>
                  <a:cubicBezTo>
                    <a:pt x="5132" y="17207"/>
                    <a:pt x="5314" y="17178"/>
                    <a:pt x="5472" y="17080"/>
                  </a:cubicBezTo>
                  <a:cubicBezTo>
                    <a:pt x="5939" y="16846"/>
                    <a:pt x="5972" y="16212"/>
                    <a:pt x="5972" y="15679"/>
                  </a:cubicBezTo>
                  <a:cubicBezTo>
                    <a:pt x="5972" y="10642"/>
                    <a:pt x="5705" y="5538"/>
                    <a:pt x="5071" y="501"/>
                  </a:cubicBezTo>
                  <a:lnTo>
                    <a:pt x="527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7265;p120">
              <a:extLst>
                <a:ext uri="{FF2B5EF4-FFF2-40B4-BE49-F238E27FC236}">
                  <a16:creationId xmlns:a16="http://schemas.microsoft.com/office/drawing/2014/main" id="{4BD0C935-DADD-551A-753A-2C7670383DF9}"/>
                </a:ext>
              </a:extLst>
            </p:cNvPr>
            <p:cNvSpPr/>
            <p:nvPr/>
          </p:nvSpPr>
          <p:spPr>
            <a:xfrm>
              <a:off x="5207945" y="1992606"/>
              <a:ext cx="182675" cy="102150"/>
            </a:xfrm>
            <a:custGeom>
              <a:avLst/>
              <a:gdLst/>
              <a:ahLst/>
              <a:cxnLst/>
              <a:rect l="l" t="t" r="r" b="b"/>
              <a:pathLst>
                <a:path w="7307" h="4086" extrusionOk="0">
                  <a:moveTo>
                    <a:pt x="6506" y="0"/>
                  </a:moveTo>
                  <a:lnTo>
                    <a:pt x="6506" y="0"/>
                  </a:lnTo>
                  <a:cubicBezTo>
                    <a:pt x="4337" y="901"/>
                    <a:pt x="2169" y="1835"/>
                    <a:pt x="1" y="2836"/>
                  </a:cubicBezTo>
                  <a:lnTo>
                    <a:pt x="535" y="3069"/>
                  </a:lnTo>
                  <a:cubicBezTo>
                    <a:pt x="468" y="3503"/>
                    <a:pt x="868" y="3970"/>
                    <a:pt x="1335" y="4070"/>
                  </a:cubicBezTo>
                  <a:cubicBezTo>
                    <a:pt x="1408" y="4080"/>
                    <a:pt x="1481" y="4085"/>
                    <a:pt x="1554" y="4085"/>
                  </a:cubicBezTo>
                  <a:cubicBezTo>
                    <a:pt x="1955" y="4085"/>
                    <a:pt x="2365" y="3944"/>
                    <a:pt x="2703" y="3803"/>
                  </a:cubicBezTo>
                  <a:cubicBezTo>
                    <a:pt x="4271" y="3236"/>
                    <a:pt x="5805" y="2569"/>
                    <a:pt x="7306" y="1802"/>
                  </a:cubicBezTo>
                  <a:cubicBezTo>
                    <a:pt x="7139" y="1768"/>
                    <a:pt x="6973" y="1768"/>
                    <a:pt x="6806" y="1735"/>
                  </a:cubicBezTo>
                  <a:cubicBezTo>
                    <a:pt x="6839" y="1468"/>
                    <a:pt x="7273" y="1335"/>
                    <a:pt x="7206" y="1101"/>
                  </a:cubicBezTo>
                  <a:cubicBezTo>
                    <a:pt x="7182" y="959"/>
                    <a:pt x="7024" y="918"/>
                    <a:pt x="6863" y="918"/>
                  </a:cubicBezTo>
                  <a:cubicBezTo>
                    <a:pt x="6797" y="918"/>
                    <a:pt x="6730" y="925"/>
                    <a:pt x="6672" y="934"/>
                  </a:cubicBezTo>
                  <a:cubicBezTo>
                    <a:pt x="6614" y="944"/>
                    <a:pt x="6548" y="951"/>
                    <a:pt x="6482" y="951"/>
                  </a:cubicBezTo>
                  <a:cubicBezTo>
                    <a:pt x="6321" y="951"/>
                    <a:pt x="6162" y="910"/>
                    <a:pt x="6139" y="768"/>
                  </a:cubicBezTo>
                  <a:cubicBezTo>
                    <a:pt x="6039" y="467"/>
                    <a:pt x="6539" y="301"/>
                    <a:pt x="6506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7266;p120">
              <a:extLst>
                <a:ext uri="{FF2B5EF4-FFF2-40B4-BE49-F238E27FC236}">
                  <a16:creationId xmlns:a16="http://schemas.microsoft.com/office/drawing/2014/main" id="{0D7A77AC-92B3-1340-C164-15BB1BBCFDC4}"/>
                </a:ext>
              </a:extLst>
            </p:cNvPr>
            <p:cNvSpPr/>
            <p:nvPr/>
          </p:nvSpPr>
          <p:spPr>
            <a:xfrm>
              <a:off x="6092745" y="1984256"/>
              <a:ext cx="182675" cy="102150"/>
            </a:xfrm>
            <a:custGeom>
              <a:avLst/>
              <a:gdLst/>
              <a:ahLst/>
              <a:cxnLst/>
              <a:rect l="l" t="t" r="r" b="b"/>
              <a:pathLst>
                <a:path w="7307" h="4086" extrusionOk="0">
                  <a:moveTo>
                    <a:pt x="801" y="1"/>
                  </a:moveTo>
                  <a:lnTo>
                    <a:pt x="801" y="1"/>
                  </a:lnTo>
                  <a:cubicBezTo>
                    <a:pt x="768" y="301"/>
                    <a:pt x="1268" y="468"/>
                    <a:pt x="1168" y="768"/>
                  </a:cubicBezTo>
                  <a:cubicBezTo>
                    <a:pt x="1145" y="910"/>
                    <a:pt x="986" y="951"/>
                    <a:pt x="825" y="951"/>
                  </a:cubicBezTo>
                  <a:cubicBezTo>
                    <a:pt x="759" y="951"/>
                    <a:pt x="693" y="945"/>
                    <a:pt x="635" y="935"/>
                  </a:cubicBezTo>
                  <a:cubicBezTo>
                    <a:pt x="577" y="925"/>
                    <a:pt x="510" y="918"/>
                    <a:pt x="444" y="918"/>
                  </a:cubicBezTo>
                  <a:cubicBezTo>
                    <a:pt x="283" y="918"/>
                    <a:pt x="125" y="960"/>
                    <a:pt x="101" y="1102"/>
                  </a:cubicBezTo>
                  <a:cubicBezTo>
                    <a:pt x="34" y="1335"/>
                    <a:pt x="468" y="1469"/>
                    <a:pt x="501" y="1735"/>
                  </a:cubicBezTo>
                  <a:cubicBezTo>
                    <a:pt x="334" y="1769"/>
                    <a:pt x="168" y="1769"/>
                    <a:pt x="1" y="1802"/>
                  </a:cubicBezTo>
                  <a:cubicBezTo>
                    <a:pt x="1502" y="2569"/>
                    <a:pt x="3036" y="3237"/>
                    <a:pt x="4604" y="3804"/>
                  </a:cubicBezTo>
                  <a:cubicBezTo>
                    <a:pt x="4943" y="3945"/>
                    <a:pt x="5352" y="4086"/>
                    <a:pt x="5753" y="4086"/>
                  </a:cubicBezTo>
                  <a:cubicBezTo>
                    <a:pt x="5826" y="4086"/>
                    <a:pt x="5900" y="4081"/>
                    <a:pt x="5972" y="4070"/>
                  </a:cubicBezTo>
                  <a:cubicBezTo>
                    <a:pt x="6439" y="3970"/>
                    <a:pt x="6839" y="3503"/>
                    <a:pt x="6772" y="3070"/>
                  </a:cubicBezTo>
                  <a:lnTo>
                    <a:pt x="7306" y="2836"/>
                  </a:lnTo>
                  <a:cubicBezTo>
                    <a:pt x="5138" y="1836"/>
                    <a:pt x="2970" y="902"/>
                    <a:pt x="80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7267;p120">
              <a:extLst>
                <a:ext uri="{FF2B5EF4-FFF2-40B4-BE49-F238E27FC236}">
                  <a16:creationId xmlns:a16="http://schemas.microsoft.com/office/drawing/2014/main" id="{DE1AAD74-C7F6-48FD-217D-8E764BDC26A2}"/>
                </a:ext>
              </a:extLst>
            </p:cNvPr>
            <p:cNvSpPr/>
            <p:nvPr/>
          </p:nvSpPr>
          <p:spPr>
            <a:xfrm>
              <a:off x="6116945" y="1521631"/>
              <a:ext cx="161800" cy="194975"/>
            </a:xfrm>
            <a:custGeom>
              <a:avLst/>
              <a:gdLst/>
              <a:ahLst/>
              <a:cxnLst/>
              <a:rect l="l" t="t" r="r" b="b"/>
              <a:pathLst>
                <a:path w="6472" h="7799" extrusionOk="0">
                  <a:moveTo>
                    <a:pt x="3188" y="0"/>
                  </a:moveTo>
                  <a:cubicBezTo>
                    <a:pt x="3109" y="0"/>
                    <a:pt x="3032" y="30"/>
                    <a:pt x="2969" y="93"/>
                  </a:cubicBezTo>
                  <a:cubicBezTo>
                    <a:pt x="2869" y="159"/>
                    <a:pt x="2869" y="293"/>
                    <a:pt x="2869" y="426"/>
                  </a:cubicBezTo>
                  <a:cubicBezTo>
                    <a:pt x="2836" y="1427"/>
                    <a:pt x="3203" y="2494"/>
                    <a:pt x="2936" y="3462"/>
                  </a:cubicBezTo>
                  <a:cubicBezTo>
                    <a:pt x="2502" y="3395"/>
                    <a:pt x="2369" y="2828"/>
                    <a:pt x="2335" y="2428"/>
                  </a:cubicBezTo>
                  <a:cubicBezTo>
                    <a:pt x="2302" y="1961"/>
                    <a:pt x="2269" y="1460"/>
                    <a:pt x="2269" y="993"/>
                  </a:cubicBezTo>
                  <a:cubicBezTo>
                    <a:pt x="2269" y="893"/>
                    <a:pt x="2202" y="760"/>
                    <a:pt x="2135" y="660"/>
                  </a:cubicBezTo>
                  <a:cubicBezTo>
                    <a:pt x="2075" y="599"/>
                    <a:pt x="2001" y="574"/>
                    <a:pt x="1924" y="574"/>
                  </a:cubicBezTo>
                  <a:cubicBezTo>
                    <a:pt x="1788" y="574"/>
                    <a:pt x="1641" y="653"/>
                    <a:pt x="1535" y="760"/>
                  </a:cubicBezTo>
                  <a:cubicBezTo>
                    <a:pt x="1435" y="927"/>
                    <a:pt x="1435" y="1160"/>
                    <a:pt x="1435" y="1394"/>
                  </a:cubicBezTo>
                  <a:cubicBezTo>
                    <a:pt x="1468" y="2561"/>
                    <a:pt x="1835" y="3729"/>
                    <a:pt x="1802" y="4896"/>
                  </a:cubicBezTo>
                  <a:cubicBezTo>
                    <a:pt x="1802" y="5083"/>
                    <a:pt x="1714" y="5300"/>
                    <a:pt x="1539" y="5300"/>
                  </a:cubicBezTo>
                  <a:cubicBezTo>
                    <a:pt x="1527" y="5300"/>
                    <a:pt x="1514" y="5299"/>
                    <a:pt x="1501" y="5296"/>
                  </a:cubicBezTo>
                  <a:cubicBezTo>
                    <a:pt x="1435" y="5296"/>
                    <a:pt x="1368" y="5263"/>
                    <a:pt x="1335" y="5163"/>
                  </a:cubicBezTo>
                  <a:cubicBezTo>
                    <a:pt x="1034" y="4896"/>
                    <a:pt x="868" y="4496"/>
                    <a:pt x="601" y="4162"/>
                  </a:cubicBezTo>
                  <a:cubicBezTo>
                    <a:pt x="501" y="4096"/>
                    <a:pt x="434" y="3995"/>
                    <a:pt x="300" y="3962"/>
                  </a:cubicBezTo>
                  <a:cubicBezTo>
                    <a:pt x="278" y="3956"/>
                    <a:pt x="255" y="3954"/>
                    <a:pt x="232" y="3954"/>
                  </a:cubicBezTo>
                  <a:cubicBezTo>
                    <a:pt x="124" y="3954"/>
                    <a:pt x="28" y="4018"/>
                    <a:pt x="0" y="4129"/>
                  </a:cubicBezTo>
                  <a:cubicBezTo>
                    <a:pt x="0" y="4229"/>
                    <a:pt x="0" y="4262"/>
                    <a:pt x="34" y="4329"/>
                  </a:cubicBezTo>
                  <a:cubicBezTo>
                    <a:pt x="167" y="4629"/>
                    <a:pt x="267" y="4929"/>
                    <a:pt x="367" y="5230"/>
                  </a:cubicBezTo>
                  <a:cubicBezTo>
                    <a:pt x="501" y="5597"/>
                    <a:pt x="667" y="5997"/>
                    <a:pt x="968" y="6297"/>
                  </a:cubicBezTo>
                  <a:cubicBezTo>
                    <a:pt x="1368" y="6664"/>
                    <a:pt x="1968" y="6797"/>
                    <a:pt x="2502" y="6931"/>
                  </a:cubicBezTo>
                  <a:cubicBezTo>
                    <a:pt x="3036" y="7064"/>
                    <a:pt x="3636" y="7298"/>
                    <a:pt x="3870" y="7798"/>
                  </a:cubicBezTo>
                  <a:lnTo>
                    <a:pt x="5171" y="7731"/>
                  </a:lnTo>
                  <a:cubicBezTo>
                    <a:pt x="5004" y="7465"/>
                    <a:pt x="5104" y="7131"/>
                    <a:pt x="5204" y="6898"/>
                  </a:cubicBezTo>
                  <a:cubicBezTo>
                    <a:pt x="5371" y="6631"/>
                    <a:pt x="5604" y="6431"/>
                    <a:pt x="5771" y="6164"/>
                  </a:cubicBezTo>
                  <a:cubicBezTo>
                    <a:pt x="5971" y="5830"/>
                    <a:pt x="6005" y="5497"/>
                    <a:pt x="6038" y="5130"/>
                  </a:cubicBezTo>
                  <a:cubicBezTo>
                    <a:pt x="6171" y="4329"/>
                    <a:pt x="6305" y="3562"/>
                    <a:pt x="6438" y="2728"/>
                  </a:cubicBezTo>
                  <a:cubicBezTo>
                    <a:pt x="6472" y="2494"/>
                    <a:pt x="6472" y="2228"/>
                    <a:pt x="6205" y="2127"/>
                  </a:cubicBezTo>
                  <a:cubicBezTo>
                    <a:pt x="6184" y="2122"/>
                    <a:pt x="6164" y="2119"/>
                    <a:pt x="6145" y="2119"/>
                  </a:cubicBezTo>
                  <a:cubicBezTo>
                    <a:pt x="5948" y="2119"/>
                    <a:pt x="5832" y="2415"/>
                    <a:pt x="5771" y="2628"/>
                  </a:cubicBezTo>
                  <a:cubicBezTo>
                    <a:pt x="5671" y="2995"/>
                    <a:pt x="5604" y="3428"/>
                    <a:pt x="5504" y="3795"/>
                  </a:cubicBezTo>
                  <a:cubicBezTo>
                    <a:pt x="5504" y="3862"/>
                    <a:pt x="5471" y="3995"/>
                    <a:pt x="5371" y="3995"/>
                  </a:cubicBezTo>
                  <a:cubicBezTo>
                    <a:pt x="5346" y="4010"/>
                    <a:pt x="5322" y="4017"/>
                    <a:pt x="5298" y="4017"/>
                  </a:cubicBezTo>
                  <a:cubicBezTo>
                    <a:pt x="5166" y="4017"/>
                    <a:pt x="5066" y="3799"/>
                    <a:pt x="5037" y="3629"/>
                  </a:cubicBezTo>
                  <a:cubicBezTo>
                    <a:pt x="4970" y="2828"/>
                    <a:pt x="4970" y="1994"/>
                    <a:pt x="5037" y="1160"/>
                  </a:cubicBezTo>
                  <a:cubicBezTo>
                    <a:pt x="5037" y="1060"/>
                    <a:pt x="5071" y="860"/>
                    <a:pt x="5004" y="760"/>
                  </a:cubicBezTo>
                  <a:cubicBezTo>
                    <a:pt x="4978" y="656"/>
                    <a:pt x="4870" y="572"/>
                    <a:pt x="4745" y="572"/>
                  </a:cubicBezTo>
                  <a:cubicBezTo>
                    <a:pt x="4710" y="572"/>
                    <a:pt x="4673" y="578"/>
                    <a:pt x="4637" y="593"/>
                  </a:cubicBezTo>
                  <a:cubicBezTo>
                    <a:pt x="4503" y="660"/>
                    <a:pt x="4470" y="793"/>
                    <a:pt x="4470" y="960"/>
                  </a:cubicBezTo>
                  <a:cubicBezTo>
                    <a:pt x="4403" y="1727"/>
                    <a:pt x="4337" y="2461"/>
                    <a:pt x="4303" y="3228"/>
                  </a:cubicBezTo>
                  <a:cubicBezTo>
                    <a:pt x="4303" y="3295"/>
                    <a:pt x="4237" y="3428"/>
                    <a:pt x="4170" y="3462"/>
                  </a:cubicBezTo>
                  <a:cubicBezTo>
                    <a:pt x="4147" y="3471"/>
                    <a:pt x="4126" y="3475"/>
                    <a:pt x="4106" y="3475"/>
                  </a:cubicBezTo>
                  <a:cubicBezTo>
                    <a:pt x="3977" y="3475"/>
                    <a:pt x="3899" y="3306"/>
                    <a:pt x="3870" y="3162"/>
                  </a:cubicBezTo>
                  <a:cubicBezTo>
                    <a:pt x="3703" y="2428"/>
                    <a:pt x="3670" y="1627"/>
                    <a:pt x="3670" y="893"/>
                  </a:cubicBezTo>
                  <a:cubicBezTo>
                    <a:pt x="3670" y="626"/>
                    <a:pt x="3670" y="393"/>
                    <a:pt x="3536" y="226"/>
                  </a:cubicBezTo>
                  <a:cubicBezTo>
                    <a:pt x="3453" y="81"/>
                    <a:pt x="3318" y="0"/>
                    <a:pt x="3188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7268;p120">
              <a:extLst>
                <a:ext uri="{FF2B5EF4-FFF2-40B4-BE49-F238E27FC236}">
                  <a16:creationId xmlns:a16="http://schemas.microsoft.com/office/drawing/2014/main" id="{D297A4CC-838B-C79E-9486-3D347C44D972}"/>
                </a:ext>
              </a:extLst>
            </p:cNvPr>
            <p:cNvSpPr/>
            <p:nvPr/>
          </p:nvSpPr>
          <p:spPr>
            <a:xfrm>
              <a:off x="5204620" y="1529081"/>
              <a:ext cx="161800" cy="195025"/>
            </a:xfrm>
            <a:custGeom>
              <a:avLst/>
              <a:gdLst/>
              <a:ahLst/>
              <a:cxnLst/>
              <a:rect l="l" t="t" r="r" b="b"/>
              <a:pathLst>
                <a:path w="6472" h="7801" extrusionOk="0">
                  <a:moveTo>
                    <a:pt x="3276" y="0"/>
                  </a:moveTo>
                  <a:cubicBezTo>
                    <a:pt x="3149" y="0"/>
                    <a:pt x="3017" y="73"/>
                    <a:pt x="2936" y="195"/>
                  </a:cubicBezTo>
                  <a:cubicBezTo>
                    <a:pt x="2803" y="362"/>
                    <a:pt x="2803" y="629"/>
                    <a:pt x="2803" y="862"/>
                  </a:cubicBezTo>
                  <a:cubicBezTo>
                    <a:pt x="2803" y="1629"/>
                    <a:pt x="2769" y="2397"/>
                    <a:pt x="2602" y="3164"/>
                  </a:cubicBezTo>
                  <a:cubicBezTo>
                    <a:pt x="2574" y="3308"/>
                    <a:pt x="2495" y="3477"/>
                    <a:pt x="2366" y="3477"/>
                  </a:cubicBezTo>
                  <a:cubicBezTo>
                    <a:pt x="2346" y="3477"/>
                    <a:pt x="2325" y="3473"/>
                    <a:pt x="2302" y="3464"/>
                  </a:cubicBezTo>
                  <a:cubicBezTo>
                    <a:pt x="2235" y="3397"/>
                    <a:pt x="2169" y="3297"/>
                    <a:pt x="2169" y="3197"/>
                  </a:cubicBezTo>
                  <a:cubicBezTo>
                    <a:pt x="2135" y="2463"/>
                    <a:pt x="2069" y="1696"/>
                    <a:pt x="2002" y="962"/>
                  </a:cubicBezTo>
                  <a:cubicBezTo>
                    <a:pt x="2002" y="795"/>
                    <a:pt x="1969" y="662"/>
                    <a:pt x="1835" y="562"/>
                  </a:cubicBezTo>
                  <a:cubicBezTo>
                    <a:pt x="1813" y="557"/>
                    <a:pt x="1790" y="555"/>
                    <a:pt x="1768" y="555"/>
                  </a:cubicBezTo>
                  <a:cubicBezTo>
                    <a:pt x="1626" y="555"/>
                    <a:pt x="1497" y="642"/>
                    <a:pt x="1468" y="729"/>
                  </a:cubicBezTo>
                  <a:cubicBezTo>
                    <a:pt x="1402" y="862"/>
                    <a:pt x="1435" y="1029"/>
                    <a:pt x="1435" y="1162"/>
                  </a:cubicBezTo>
                  <a:cubicBezTo>
                    <a:pt x="1502" y="1996"/>
                    <a:pt x="1502" y="2830"/>
                    <a:pt x="1435" y="3631"/>
                  </a:cubicBezTo>
                  <a:cubicBezTo>
                    <a:pt x="1406" y="3807"/>
                    <a:pt x="1298" y="4009"/>
                    <a:pt x="1159" y="4009"/>
                  </a:cubicBezTo>
                  <a:cubicBezTo>
                    <a:pt x="1141" y="4009"/>
                    <a:pt x="1121" y="4006"/>
                    <a:pt x="1101" y="3998"/>
                  </a:cubicBezTo>
                  <a:cubicBezTo>
                    <a:pt x="1001" y="3998"/>
                    <a:pt x="968" y="3864"/>
                    <a:pt x="968" y="3798"/>
                  </a:cubicBezTo>
                  <a:cubicBezTo>
                    <a:pt x="868" y="3397"/>
                    <a:pt x="801" y="2997"/>
                    <a:pt x="734" y="2630"/>
                  </a:cubicBezTo>
                  <a:cubicBezTo>
                    <a:pt x="647" y="2396"/>
                    <a:pt x="534" y="2112"/>
                    <a:pt x="350" y="2112"/>
                  </a:cubicBezTo>
                  <a:cubicBezTo>
                    <a:pt x="324" y="2112"/>
                    <a:pt x="296" y="2117"/>
                    <a:pt x="267" y="2130"/>
                  </a:cubicBezTo>
                  <a:cubicBezTo>
                    <a:pt x="1" y="2196"/>
                    <a:pt x="1" y="2497"/>
                    <a:pt x="34" y="2697"/>
                  </a:cubicBezTo>
                  <a:cubicBezTo>
                    <a:pt x="167" y="3531"/>
                    <a:pt x="301" y="4331"/>
                    <a:pt x="434" y="5132"/>
                  </a:cubicBezTo>
                  <a:cubicBezTo>
                    <a:pt x="468" y="5499"/>
                    <a:pt x="501" y="5832"/>
                    <a:pt x="701" y="6166"/>
                  </a:cubicBezTo>
                  <a:cubicBezTo>
                    <a:pt x="868" y="6433"/>
                    <a:pt x="1101" y="6633"/>
                    <a:pt x="1268" y="6866"/>
                  </a:cubicBezTo>
                  <a:cubicBezTo>
                    <a:pt x="1368" y="7133"/>
                    <a:pt x="1468" y="7467"/>
                    <a:pt x="1301" y="7700"/>
                  </a:cubicBezTo>
                  <a:lnTo>
                    <a:pt x="2602" y="7800"/>
                  </a:lnTo>
                  <a:cubicBezTo>
                    <a:pt x="2836" y="7300"/>
                    <a:pt x="3436" y="7033"/>
                    <a:pt x="3970" y="6900"/>
                  </a:cubicBezTo>
                  <a:cubicBezTo>
                    <a:pt x="4504" y="6800"/>
                    <a:pt x="5104" y="6666"/>
                    <a:pt x="5504" y="6299"/>
                  </a:cubicBezTo>
                  <a:cubicBezTo>
                    <a:pt x="5805" y="5999"/>
                    <a:pt x="5971" y="5599"/>
                    <a:pt x="6105" y="5199"/>
                  </a:cubicBezTo>
                  <a:cubicBezTo>
                    <a:pt x="6205" y="4932"/>
                    <a:pt x="6305" y="4631"/>
                    <a:pt x="6438" y="4331"/>
                  </a:cubicBezTo>
                  <a:cubicBezTo>
                    <a:pt x="6472" y="4265"/>
                    <a:pt x="6472" y="4198"/>
                    <a:pt x="6472" y="4131"/>
                  </a:cubicBezTo>
                  <a:cubicBezTo>
                    <a:pt x="6444" y="4021"/>
                    <a:pt x="6348" y="3956"/>
                    <a:pt x="6240" y="3956"/>
                  </a:cubicBezTo>
                  <a:cubicBezTo>
                    <a:pt x="6217" y="3956"/>
                    <a:pt x="6195" y="3959"/>
                    <a:pt x="6172" y="3964"/>
                  </a:cubicBezTo>
                  <a:cubicBezTo>
                    <a:pt x="6038" y="3998"/>
                    <a:pt x="5971" y="4098"/>
                    <a:pt x="5871" y="4164"/>
                  </a:cubicBezTo>
                  <a:cubicBezTo>
                    <a:pt x="5605" y="4498"/>
                    <a:pt x="5438" y="4865"/>
                    <a:pt x="5138" y="5165"/>
                  </a:cubicBezTo>
                  <a:cubicBezTo>
                    <a:pt x="5104" y="5265"/>
                    <a:pt x="5037" y="5299"/>
                    <a:pt x="4971" y="5299"/>
                  </a:cubicBezTo>
                  <a:cubicBezTo>
                    <a:pt x="4958" y="5301"/>
                    <a:pt x="4945" y="5302"/>
                    <a:pt x="4933" y="5302"/>
                  </a:cubicBezTo>
                  <a:cubicBezTo>
                    <a:pt x="4758" y="5302"/>
                    <a:pt x="4671" y="5083"/>
                    <a:pt x="4671" y="4865"/>
                  </a:cubicBezTo>
                  <a:cubicBezTo>
                    <a:pt x="4637" y="3697"/>
                    <a:pt x="5004" y="2530"/>
                    <a:pt x="5037" y="1362"/>
                  </a:cubicBezTo>
                  <a:cubicBezTo>
                    <a:pt x="5037" y="1162"/>
                    <a:pt x="5037" y="929"/>
                    <a:pt x="4937" y="762"/>
                  </a:cubicBezTo>
                  <a:cubicBezTo>
                    <a:pt x="4831" y="656"/>
                    <a:pt x="4684" y="576"/>
                    <a:pt x="4548" y="576"/>
                  </a:cubicBezTo>
                  <a:cubicBezTo>
                    <a:pt x="4471" y="576"/>
                    <a:pt x="4397" y="602"/>
                    <a:pt x="4337" y="662"/>
                  </a:cubicBezTo>
                  <a:cubicBezTo>
                    <a:pt x="4270" y="762"/>
                    <a:pt x="4204" y="862"/>
                    <a:pt x="4204" y="996"/>
                  </a:cubicBezTo>
                  <a:cubicBezTo>
                    <a:pt x="4204" y="1463"/>
                    <a:pt x="4170" y="1963"/>
                    <a:pt x="4137" y="2430"/>
                  </a:cubicBezTo>
                  <a:cubicBezTo>
                    <a:pt x="4103" y="2830"/>
                    <a:pt x="3970" y="3364"/>
                    <a:pt x="3536" y="3464"/>
                  </a:cubicBezTo>
                  <a:cubicBezTo>
                    <a:pt x="3270" y="2497"/>
                    <a:pt x="3636" y="1429"/>
                    <a:pt x="3603" y="428"/>
                  </a:cubicBezTo>
                  <a:cubicBezTo>
                    <a:pt x="3603" y="295"/>
                    <a:pt x="3603" y="162"/>
                    <a:pt x="3503" y="95"/>
                  </a:cubicBezTo>
                  <a:cubicBezTo>
                    <a:pt x="3438" y="30"/>
                    <a:pt x="3358" y="0"/>
                    <a:pt x="3276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7269;p120">
              <a:extLst>
                <a:ext uri="{FF2B5EF4-FFF2-40B4-BE49-F238E27FC236}">
                  <a16:creationId xmlns:a16="http://schemas.microsoft.com/office/drawing/2014/main" id="{72E3C610-9B37-31D2-1A3C-349E6297E4D4}"/>
                </a:ext>
              </a:extLst>
            </p:cNvPr>
            <p:cNvSpPr/>
            <p:nvPr/>
          </p:nvSpPr>
          <p:spPr>
            <a:xfrm>
              <a:off x="5865095" y="4028831"/>
              <a:ext cx="153625" cy="167875"/>
            </a:xfrm>
            <a:custGeom>
              <a:avLst/>
              <a:gdLst/>
              <a:ahLst/>
              <a:cxnLst/>
              <a:rect l="l" t="t" r="r" b="b"/>
              <a:pathLst>
                <a:path w="6145" h="6715" extrusionOk="0">
                  <a:moveTo>
                    <a:pt x="5884" y="1"/>
                  </a:moveTo>
                  <a:cubicBezTo>
                    <a:pt x="5834" y="1"/>
                    <a:pt x="5782" y="23"/>
                    <a:pt x="5738" y="76"/>
                  </a:cubicBezTo>
                  <a:cubicBezTo>
                    <a:pt x="3937" y="2378"/>
                    <a:pt x="2569" y="4947"/>
                    <a:pt x="34" y="6581"/>
                  </a:cubicBezTo>
                  <a:cubicBezTo>
                    <a:pt x="0" y="6614"/>
                    <a:pt x="34" y="6715"/>
                    <a:pt x="100" y="6715"/>
                  </a:cubicBezTo>
                  <a:cubicBezTo>
                    <a:pt x="2669" y="5280"/>
                    <a:pt x="4704" y="2912"/>
                    <a:pt x="6071" y="343"/>
                  </a:cubicBezTo>
                  <a:cubicBezTo>
                    <a:pt x="6145" y="172"/>
                    <a:pt x="6021" y="1"/>
                    <a:pt x="588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7270;p120">
              <a:extLst>
                <a:ext uri="{FF2B5EF4-FFF2-40B4-BE49-F238E27FC236}">
                  <a16:creationId xmlns:a16="http://schemas.microsoft.com/office/drawing/2014/main" id="{BEB36552-BD3A-CF05-F376-6108BA700071}"/>
                </a:ext>
              </a:extLst>
            </p:cNvPr>
            <p:cNvSpPr/>
            <p:nvPr/>
          </p:nvSpPr>
          <p:spPr>
            <a:xfrm>
              <a:off x="5413945" y="3986331"/>
              <a:ext cx="162950" cy="164725"/>
            </a:xfrm>
            <a:custGeom>
              <a:avLst/>
              <a:gdLst/>
              <a:ahLst/>
              <a:cxnLst/>
              <a:rect l="l" t="t" r="r" b="b"/>
              <a:pathLst>
                <a:path w="6518" h="6589" extrusionOk="0">
                  <a:moveTo>
                    <a:pt x="770" y="0"/>
                  </a:moveTo>
                  <a:cubicBezTo>
                    <a:pt x="745" y="0"/>
                    <a:pt x="720" y="13"/>
                    <a:pt x="701" y="42"/>
                  </a:cubicBezTo>
                  <a:cubicBezTo>
                    <a:pt x="0" y="809"/>
                    <a:pt x="1535" y="2677"/>
                    <a:pt x="1968" y="3311"/>
                  </a:cubicBezTo>
                  <a:cubicBezTo>
                    <a:pt x="3036" y="4745"/>
                    <a:pt x="4437" y="6013"/>
                    <a:pt x="6138" y="6580"/>
                  </a:cubicBezTo>
                  <a:cubicBezTo>
                    <a:pt x="6162" y="6586"/>
                    <a:pt x="6184" y="6589"/>
                    <a:pt x="6206" y="6589"/>
                  </a:cubicBezTo>
                  <a:cubicBezTo>
                    <a:pt x="6426" y="6589"/>
                    <a:pt x="6517" y="6298"/>
                    <a:pt x="6305" y="6146"/>
                  </a:cubicBezTo>
                  <a:cubicBezTo>
                    <a:pt x="5237" y="5412"/>
                    <a:pt x="4103" y="4712"/>
                    <a:pt x="3136" y="3745"/>
                  </a:cubicBezTo>
                  <a:cubicBezTo>
                    <a:pt x="2635" y="3177"/>
                    <a:pt x="501" y="1009"/>
                    <a:pt x="834" y="142"/>
                  </a:cubicBezTo>
                  <a:cubicBezTo>
                    <a:pt x="881" y="71"/>
                    <a:pt x="828" y="0"/>
                    <a:pt x="77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7271;p120">
              <a:extLst>
                <a:ext uri="{FF2B5EF4-FFF2-40B4-BE49-F238E27FC236}">
                  <a16:creationId xmlns:a16="http://schemas.microsoft.com/office/drawing/2014/main" id="{287D86FC-8A9D-E070-F6BF-C69799649CC3}"/>
                </a:ext>
              </a:extLst>
            </p:cNvPr>
            <p:cNvSpPr/>
            <p:nvPr/>
          </p:nvSpPr>
          <p:spPr>
            <a:xfrm>
              <a:off x="5558795" y="3830781"/>
              <a:ext cx="97850" cy="200800"/>
            </a:xfrm>
            <a:custGeom>
              <a:avLst/>
              <a:gdLst/>
              <a:ahLst/>
              <a:cxnLst/>
              <a:rect l="l" t="t" r="r" b="b"/>
              <a:pathLst>
                <a:path w="3914" h="8032" extrusionOk="0">
                  <a:moveTo>
                    <a:pt x="3687" y="0"/>
                  </a:moveTo>
                  <a:cubicBezTo>
                    <a:pt x="3590" y="0"/>
                    <a:pt x="3495" y="51"/>
                    <a:pt x="3479" y="160"/>
                  </a:cubicBezTo>
                  <a:cubicBezTo>
                    <a:pt x="2912" y="2962"/>
                    <a:pt x="2579" y="5830"/>
                    <a:pt x="110" y="7698"/>
                  </a:cubicBezTo>
                  <a:cubicBezTo>
                    <a:pt x="0" y="7808"/>
                    <a:pt x="72" y="8032"/>
                    <a:pt x="213" y="8032"/>
                  </a:cubicBezTo>
                  <a:cubicBezTo>
                    <a:pt x="243" y="8032"/>
                    <a:pt x="276" y="8022"/>
                    <a:pt x="311" y="7998"/>
                  </a:cubicBezTo>
                  <a:cubicBezTo>
                    <a:pt x="3113" y="6497"/>
                    <a:pt x="3780" y="3162"/>
                    <a:pt x="3913" y="193"/>
                  </a:cubicBezTo>
                  <a:cubicBezTo>
                    <a:pt x="3913" y="68"/>
                    <a:pt x="3798" y="0"/>
                    <a:pt x="368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7272;p120">
              <a:extLst>
                <a:ext uri="{FF2B5EF4-FFF2-40B4-BE49-F238E27FC236}">
                  <a16:creationId xmlns:a16="http://schemas.microsoft.com/office/drawing/2014/main" id="{455E037F-099B-4488-BAF3-62219AEE8CB2}"/>
                </a:ext>
              </a:extLst>
            </p:cNvPr>
            <p:cNvSpPr/>
            <p:nvPr/>
          </p:nvSpPr>
          <p:spPr>
            <a:xfrm>
              <a:off x="4699270" y="2204431"/>
              <a:ext cx="661325" cy="355125"/>
            </a:xfrm>
            <a:custGeom>
              <a:avLst/>
              <a:gdLst/>
              <a:ahLst/>
              <a:cxnLst/>
              <a:rect l="l" t="t" r="r" b="b"/>
              <a:pathLst>
                <a:path w="26453" h="14205" extrusionOk="0">
                  <a:moveTo>
                    <a:pt x="2168" y="0"/>
                  </a:moveTo>
                  <a:cubicBezTo>
                    <a:pt x="2168" y="0"/>
                    <a:pt x="0" y="334"/>
                    <a:pt x="33" y="1334"/>
                  </a:cubicBezTo>
                  <a:cubicBezTo>
                    <a:pt x="100" y="2335"/>
                    <a:pt x="334" y="4603"/>
                    <a:pt x="334" y="4603"/>
                  </a:cubicBezTo>
                  <a:cubicBezTo>
                    <a:pt x="334" y="4602"/>
                    <a:pt x="334" y="4601"/>
                    <a:pt x="335" y="4601"/>
                  </a:cubicBezTo>
                  <a:cubicBezTo>
                    <a:pt x="375" y="4601"/>
                    <a:pt x="812" y="12723"/>
                    <a:pt x="11842" y="14110"/>
                  </a:cubicBezTo>
                  <a:cubicBezTo>
                    <a:pt x="12362" y="14174"/>
                    <a:pt x="12865" y="14204"/>
                    <a:pt x="13351" y="14204"/>
                  </a:cubicBezTo>
                  <a:cubicBezTo>
                    <a:pt x="23299" y="14204"/>
                    <a:pt x="26452" y="1501"/>
                    <a:pt x="26452" y="1501"/>
                  </a:cubicBezTo>
                  <a:lnTo>
                    <a:pt x="25385" y="1134"/>
                  </a:lnTo>
                  <a:cubicBezTo>
                    <a:pt x="25385" y="1134"/>
                    <a:pt x="23984" y="2335"/>
                    <a:pt x="19047" y="6938"/>
                  </a:cubicBezTo>
                  <a:cubicBezTo>
                    <a:pt x="16859" y="8978"/>
                    <a:pt x="14897" y="9941"/>
                    <a:pt x="13164" y="9941"/>
                  </a:cubicBezTo>
                  <a:cubicBezTo>
                    <a:pt x="11012" y="9941"/>
                    <a:pt x="9213" y="8457"/>
                    <a:pt x="7772" y="5704"/>
                  </a:cubicBezTo>
                  <a:cubicBezTo>
                    <a:pt x="5137" y="767"/>
                    <a:pt x="4270" y="667"/>
                    <a:pt x="2168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7273;p120">
              <a:extLst>
                <a:ext uri="{FF2B5EF4-FFF2-40B4-BE49-F238E27FC236}">
                  <a16:creationId xmlns:a16="http://schemas.microsoft.com/office/drawing/2014/main" id="{9537DD9B-2BE1-1A03-4F67-14BF9786B652}"/>
                </a:ext>
              </a:extLst>
            </p:cNvPr>
            <p:cNvSpPr/>
            <p:nvPr/>
          </p:nvSpPr>
          <p:spPr>
            <a:xfrm>
              <a:off x="3899520" y="2201081"/>
              <a:ext cx="648825" cy="355025"/>
            </a:xfrm>
            <a:custGeom>
              <a:avLst/>
              <a:gdLst/>
              <a:ahLst/>
              <a:cxnLst/>
              <a:rect l="l" t="t" r="r" b="b"/>
              <a:pathLst>
                <a:path w="25953" h="14201" extrusionOk="0">
                  <a:moveTo>
                    <a:pt x="23751" y="1"/>
                  </a:moveTo>
                  <a:cubicBezTo>
                    <a:pt x="21649" y="635"/>
                    <a:pt x="20815" y="768"/>
                    <a:pt x="18147" y="5738"/>
                  </a:cubicBezTo>
                  <a:cubicBezTo>
                    <a:pt x="16671" y="8469"/>
                    <a:pt x="14889" y="9944"/>
                    <a:pt x="12749" y="9944"/>
                  </a:cubicBezTo>
                  <a:cubicBezTo>
                    <a:pt x="11021" y="9944"/>
                    <a:pt x="9060" y="8981"/>
                    <a:pt x="6839" y="6939"/>
                  </a:cubicBezTo>
                  <a:cubicBezTo>
                    <a:pt x="3370" y="3737"/>
                    <a:pt x="1668" y="2169"/>
                    <a:pt x="935" y="1502"/>
                  </a:cubicBezTo>
                  <a:cubicBezTo>
                    <a:pt x="601" y="2102"/>
                    <a:pt x="301" y="2736"/>
                    <a:pt x="1" y="3303"/>
                  </a:cubicBezTo>
                  <a:cubicBezTo>
                    <a:pt x="1319" y="6788"/>
                    <a:pt x="4942" y="14201"/>
                    <a:pt x="12536" y="14201"/>
                  </a:cubicBezTo>
                  <a:cubicBezTo>
                    <a:pt x="13012" y="14201"/>
                    <a:pt x="13503" y="14172"/>
                    <a:pt x="14011" y="14111"/>
                  </a:cubicBezTo>
                  <a:cubicBezTo>
                    <a:pt x="25096" y="12787"/>
                    <a:pt x="25480" y="4602"/>
                    <a:pt x="25518" y="4602"/>
                  </a:cubicBezTo>
                  <a:cubicBezTo>
                    <a:pt x="25518" y="4602"/>
                    <a:pt x="25519" y="4603"/>
                    <a:pt x="25519" y="4604"/>
                  </a:cubicBezTo>
                  <a:cubicBezTo>
                    <a:pt x="25519" y="4604"/>
                    <a:pt x="25786" y="2302"/>
                    <a:pt x="25852" y="1302"/>
                  </a:cubicBezTo>
                  <a:cubicBezTo>
                    <a:pt x="25952" y="301"/>
                    <a:pt x="23751" y="1"/>
                    <a:pt x="23751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" name="Google Shape;7274;p120">
              <a:extLst>
                <a:ext uri="{FF2B5EF4-FFF2-40B4-BE49-F238E27FC236}">
                  <a16:creationId xmlns:a16="http://schemas.microsoft.com/office/drawing/2014/main" id="{F28F8132-6292-814A-E9B6-A5BB6C2394F8}"/>
                </a:ext>
              </a:extLst>
            </p:cNvPr>
            <p:cNvSpPr/>
            <p:nvPr/>
          </p:nvSpPr>
          <p:spPr>
            <a:xfrm>
              <a:off x="3819470" y="3838931"/>
              <a:ext cx="149300" cy="546675"/>
            </a:xfrm>
            <a:custGeom>
              <a:avLst/>
              <a:gdLst/>
              <a:ahLst/>
              <a:cxnLst/>
              <a:rect l="l" t="t" r="r" b="b"/>
              <a:pathLst>
                <a:path w="5972" h="21867" extrusionOk="0">
                  <a:moveTo>
                    <a:pt x="834" y="0"/>
                  </a:moveTo>
                  <a:cubicBezTo>
                    <a:pt x="534" y="5971"/>
                    <a:pt x="234" y="11976"/>
                    <a:pt x="67" y="17946"/>
                  </a:cubicBezTo>
                  <a:cubicBezTo>
                    <a:pt x="34" y="18880"/>
                    <a:pt x="34" y="19848"/>
                    <a:pt x="0" y="20815"/>
                  </a:cubicBezTo>
                  <a:lnTo>
                    <a:pt x="0" y="21182"/>
                  </a:lnTo>
                  <a:cubicBezTo>
                    <a:pt x="0" y="21349"/>
                    <a:pt x="0" y="21549"/>
                    <a:pt x="134" y="21682"/>
                  </a:cubicBezTo>
                  <a:cubicBezTo>
                    <a:pt x="234" y="21816"/>
                    <a:pt x="367" y="21816"/>
                    <a:pt x="534" y="21816"/>
                  </a:cubicBezTo>
                  <a:cubicBezTo>
                    <a:pt x="1134" y="21816"/>
                    <a:pt x="1735" y="21816"/>
                    <a:pt x="2335" y="21849"/>
                  </a:cubicBezTo>
                  <a:cubicBezTo>
                    <a:pt x="2418" y="21860"/>
                    <a:pt x="2500" y="21867"/>
                    <a:pt x="2581" y="21867"/>
                  </a:cubicBezTo>
                  <a:cubicBezTo>
                    <a:pt x="2761" y="21867"/>
                    <a:pt x="2931" y="21831"/>
                    <a:pt x="3069" y="21716"/>
                  </a:cubicBezTo>
                  <a:cubicBezTo>
                    <a:pt x="3336" y="21549"/>
                    <a:pt x="3469" y="21316"/>
                    <a:pt x="3503" y="20982"/>
                  </a:cubicBezTo>
                  <a:cubicBezTo>
                    <a:pt x="3536" y="20815"/>
                    <a:pt x="3570" y="20615"/>
                    <a:pt x="3570" y="20448"/>
                  </a:cubicBezTo>
                  <a:cubicBezTo>
                    <a:pt x="3636" y="19648"/>
                    <a:pt x="3670" y="18814"/>
                    <a:pt x="3736" y="18013"/>
                  </a:cubicBezTo>
                  <a:cubicBezTo>
                    <a:pt x="4203" y="12843"/>
                    <a:pt x="4904" y="7706"/>
                    <a:pt x="5971" y="2669"/>
                  </a:cubicBezTo>
                  <a:lnTo>
                    <a:pt x="834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7275;p120">
              <a:extLst>
                <a:ext uri="{FF2B5EF4-FFF2-40B4-BE49-F238E27FC236}">
                  <a16:creationId xmlns:a16="http://schemas.microsoft.com/office/drawing/2014/main" id="{4CC3E5CE-9E57-BC7E-21C7-F5F3C13ABA30}"/>
                </a:ext>
              </a:extLst>
            </p:cNvPr>
            <p:cNvSpPr/>
            <p:nvPr/>
          </p:nvSpPr>
          <p:spPr>
            <a:xfrm>
              <a:off x="4263945" y="3791381"/>
              <a:ext cx="179325" cy="602125"/>
            </a:xfrm>
            <a:custGeom>
              <a:avLst/>
              <a:gdLst/>
              <a:ahLst/>
              <a:cxnLst/>
              <a:rect l="l" t="t" r="r" b="b"/>
              <a:pathLst>
                <a:path w="7173" h="24085" extrusionOk="0">
                  <a:moveTo>
                    <a:pt x="5605" y="1"/>
                  </a:moveTo>
                  <a:lnTo>
                    <a:pt x="1" y="1602"/>
                  </a:lnTo>
                  <a:cubicBezTo>
                    <a:pt x="1335" y="7873"/>
                    <a:pt x="2536" y="14111"/>
                    <a:pt x="3603" y="20449"/>
                  </a:cubicBezTo>
                  <a:cubicBezTo>
                    <a:pt x="3770" y="21249"/>
                    <a:pt x="3903" y="22050"/>
                    <a:pt x="4037" y="22851"/>
                  </a:cubicBezTo>
                  <a:cubicBezTo>
                    <a:pt x="4104" y="23251"/>
                    <a:pt x="4170" y="23685"/>
                    <a:pt x="4237" y="24085"/>
                  </a:cubicBezTo>
                  <a:cubicBezTo>
                    <a:pt x="5071" y="23885"/>
                    <a:pt x="5872" y="23718"/>
                    <a:pt x="6705" y="23518"/>
                  </a:cubicBezTo>
                  <a:cubicBezTo>
                    <a:pt x="6839" y="23451"/>
                    <a:pt x="7006" y="23418"/>
                    <a:pt x="7072" y="23284"/>
                  </a:cubicBezTo>
                  <a:cubicBezTo>
                    <a:pt x="7172" y="23184"/>
                    <a:pt x="7172" y="23017"/>
                    <a:pt x="7172" y="22884"/>
                  </a:cubicBezTo>
                  <a:cubicBezTo>
                    <a:pt x="7106" y="22083"/>
                    <a:pt x="7072" y="21350"/>
                    <a:pt x="7039" y="20549"/>
                  </a:cubicBezTo>
                  <a:cubicBezTo>
                    <a:pt x="6705" y="13677"/>
                    <a:pt x="6205" y="6839"/>
                    <a:pt x="5605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" name="Google Shape;7276;p120">
              <a:extLst>
                <a:ext uri="{FF2B5EF4-FFF2-40B4-BE49-F238E27FC236}">
                  <a16:creationId xmlns:a16="http://schemas.microsoft.com/office/drawing/2014/main" id="{BE963259-D9B5-4813-694A-555357E77C24}"/>
                </a:ext>
              </a:extLst>
            </p:cNvPr>
            <p:cNvSpPr/>
            <p:nvPr/>
          </p:nvSpPr>
          <p:spPr>
            <a:xfrm>
              <a:off x="3820295" y="4287581"/>
              <a:ext cx="94275" cy="75900"/>
            </a:xfrm>
            <a:custGeom>
              <a:avLst/>
              <a:gdLst/>
              <a:ahLst/>
              <a:cxnLst/>
              <a:rect l="l" t="t" r="r" b="b"/>
              <a:pathLst>
                <a:path w="3771" h="3036" extrusionOk="0">
                  <a:moveTo>
                    <a:pt x="134" y="0"/>
                  </a:moveTo>
                  <a:cubicBezTo>
                    <a:pt x="101" y="201"/>
                    <a:pt x="101" y="434"/>
                    <a:pt x="101" y="668"/>
                  </a:cubicBezTo>
                  <a:cubicBezTo>
                    <a:pt x="67" y="901"/>
                    <a:pt x="67" y="1101"/>
                    <a:pt x="67" y="1368"/>
                  </a:cubicBezTo>
                  <a:cubicBezTo>
                    <a:pt x="67" y="1868"/>
                    <a:pt x="1" y="2369"/>
                    <a:pt x="1" y="2869"/>
                  </a:cubicBezTo>
                  <a:cubicBezTo>
                    <a:pt x="801" y="2903"/>
                    <a:pt x="2302" y="3003"/>
                    <a:pt x="3470" y="3036"/>
                  </a:cubicBezTo>
                  <a:cubicBezTo>
                    <a:pt x="3503" y="2869"/>
                    <a:pt x="3570" y="2669"/>
                    <a:pt x="3570" y="2502"/>
                  </a:cubicBezTo>
                  <a:cubicBezTo>
                    <a:pt x="3603" y="2202"/>
                    <a:pt x="3603" y="1868"/>
                    <a:pt x="3637" y="1568"/>
                  </a:cubicBezTo>
                  <a:cubicBezTo>
                    <a:pt x="3670" y="1268"/>
                    <a:pt x="3670" y="1001"/>
                    <a:pt x="3737" y="701"/>
                  </a:cubicBezTo>
                  <a:cubicBezTo>
                    <a:pt x="3737" y="501"/>
                    <a:pt x="3770" y="267"/>
                    <a:pt x="3770" y="67"/>
                  </a:cubicBezTo>
                  <a:lnTo>
                    <a:pt x="134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" name="Google Shape;7277;p120">
              <a:extLst>
                <a:ext uri="{FF2B5EF4-FFF2-40B4-BE49-F238E27FC236}">
                  <a16:creationId xmlns:a16="http://schemas.microsoft.com/office/drawing/2014/main" id="{7A413E85-6BD6-7211-4FD9-D853CD87FA4A}"/>
                </a:ext>
              </a:extLst>
            </p:cNvPr>
            <p:cNvSpPr/>
            <p:nvPr/>
          </p:nvSpPr>
          <p:spPr>
            <a:xfrm>
              <a:off x="4353170" y="4302581"/>
              <a:ext cx="88425" cy="60075"/>
            </a:xfrm>
            <a:custGeom>
              <a:avLst/>
              <a:gdLst/>
              <a:ahLst/>
              <a:cxnLst/>
              <a:rect l="l" t="t" r="r" b="b"/>
              <a:pathLst>
                <a:path w="3537" h="2403" extrusionOk="0">
                  <a:moveTo>
                    <a:pt x="1" y="1"/>
                  </a:moveTo>
                  <a:lnTo>
                    <a:pt x="1" y="1"/>
                  </a:lnTo>
                  <a:cubicBezTo>
                    <a:pt x="34" y="134"/>
                    <a:pt x="34" y="268"/>
                    <a:pt x="101" y="401"/>
                  </a:cubicBezTo>
                  <a:cubicBezTo>
                    <a:pt x="168" y="668"/>
                    <a:pt x="201" y="968"/>
                    <a:pt x="268" y="1268"/>
                  </a:cubicBezTo>
                  <a:cubicBezTo>
                    <a:pt x="301" y="1635"/>
                    <a:pt x="368" y="2002"/>
                    <a:pt x="435" y="2403"/>
                  </a:cubicBezTo>
                  <a:lnTo>
                    <a:pt x="3537" y="2403"/>
                  </a:lnTo>
                  <a:cubicBezTo>
                    <a:pt x="3537" y="2069"/>
                    <a:pt x="3537" y="1769"/>
                    <a:pt x="3503" y="1469"/>
                  </a:cubicBezTo>
                  <a:cubicBezTo>
                    <a:pt x="3503" y="1168"/>
                    <a:pt x="3470" y="902"/>
                    <a:pt x="3470" y="601"/>
                  </a:cubicBezTo>
                  <a:cubicBezTo>
                    <a:pt x="3470" y="435"/>
                    <a:pt x="3437" y="234"/>
                    <a:pt x="3437" y="68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" name="Google Shape;7278;p120">
              <a:extLst>
                <a:ext uri="{FF2B5EF4-FFF2-40B4-BE49-F238E27FC236}">
                  <a16:creationId xmlns:a16="http://schemas.microsoft.com/office/drawing/2014/main" id="{C74848BA-D6E0-B116-0656-C896B5B96415}"/>
                </a:ext>
              </a:extLst>
            </p:cNvPr>
            <p:cNvSpPr/>
            <p:nvPr/>
          </p:nvSpPr>
          <p:spPr>
            <a:xfrm>
              <a:off x="4355670" y="4312606"/>
              <a:ext cx="84275" cy="16275"/>
            </a:xfrm>
            <a:custGeom>
              <a:avLst/>
              <a:gdLst/>
              <a:ahLst/>
              <a:cxnLst/>
              <a:rect l="l" t="t" r="r" b="b"/>
              <a:pathLst>
                <a:path w="3371" h="651" extrusionOk="0">
                  <a:moveTo>
                    <a:pt x="1" y="0"/>
                  </a:moveTo>
                  <a:lnTo>
                    <a:pt x="101" y="601"/>
                  </a:lnTo>
                  <a:cubicBezTo>
                    <a:pt x="635" y="634"/>
                    <a:pt x="1152" y="651"/>
                    <a:pt x="1665" y="651"/>
                  </a:cubicBezTo>
                  <a:cubicBezTo>
                    <a:pt x="2178" y="651"/>
                    <a:pt x="2686" y="634"/>
                    <a:pt x="3203" y="601"/>
                  </a:cubicBezTo>
                  <a:lnTo>
                    <a:pt x="3370" y="601"/>
                  </a:lnTo>
                  <a:lnTo>
                    <a:pt x="3370" y="200"/>
                  </a:lnTo>
                  <a:cubicBezTo>
                    <a:pt x="2836" y="167"/>
                    <a:pt x="2336" y="167"/>
                    <a:pt x="1769" y="100"/>
                  </a:cubicBezTo>
                  <a:cubicBezTo>
                    <a:pt x="1202" y="67"/>
                    <a:pt x="568" y="34"/>
                    <a:pt x="1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" name="Google Shape;7279;p120">
              <a:extLst>
                <a:ext uri="{FF2B5EF4-FFF2-40B4-BE49-F238E27FC236}">
                  <a16:creationId xmlns:a16="http://schemas.microsoft.com/office/drawing/2014/main" id="{DCB73DDD-CBBC-D328-6BD8-53A88CC826E4}"/>
                </a:ext>
              </a:extLst>
            </p:cNvPr>
            <p:cNvSpPr/>
            <p:nvPr/>
          </p:nvSpPr>
          <p:spPr>
            <a:xfrm>
              <a:off x="3821970" y="4304256"/>
              <a:ext cx="90075" cy="22550"/>
            </a:xfrm>
            <a:custGeom>
              <a:avLst/>
              <a:gdLst/>
              <a:ahLst/>
              <a:cxnLst/>
              <a:rect l="l" t="t" r="r" b="b"/>
              <a:pathLst>
                <a:path w="3603" h="902" extrusionOk="0">
                  <a:moveTo>
                    <a:pt x="34" y="1"/>
                  </a:moveTo>
                  <a:cubicBezTo>
                    <a:pt x="0" y="234"/>
                    <a:pt x="0" y="434"/>
                    <a:pt x="0" y="701"/>
                  </a:cubicBezTo>
                  <a:cubicBezTo>
                    <a:pt x="734" y="734"/>
                    <a:pt x="1435" y="734"/>
                    <a:pt x="2169" y="768"/>
                  </a:cubicBezTo>
                  <a:lnTo>
                    <a:pt x="3536" y="901"/>
                  </a:lnTo>
                  <a:cubicBezTo>
                    <a:pt x="3570" y="601"/>
                    <a:pt x="3570" y="334"/>
                    <a:pt x="3603" y="34"/>
                  </a:cubicBezTo>
                  <a:lnTo>
                    <a:pt x="2169" y="34"/>
                  </a:lnTo>
                  <a:cubicBezTo>
                    <a:pt x="1435" y="1"/>
                    <a:pt x="734" y="1"/>
                    <a:pt x="34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" name="Google Shape;7280;p120">
              <a:extLst>
                <a:ext uri="{FF2B5EF4-FFF2-40B4-BE49-F238E27FC236}">
                  <a16:creationId xmlns:a16="http://schemas.microsoft.com/office/drawing/2014/main" id="{7F5AC920-80BA-9119-12B6-3521001FAD10}"/>
                </a:ext>
              </a:extLst>
            </p:cNvPr>
            <p:cNvSpPr/>
            <p:nvPr/>
          </p:nvSpPr>
          <p:spPr>
            <a:xfrm>
              <a:off x="4045470" y="2201931"/>
              <a:ext cx="320250" cy="574100"/>
            </a:xfrm>
            <a:custGeom>
              <a:avLst/>
              <a:gdLst/>
              <a:ahLst/>
              <a:cxnLst/>
              <a:rect l="l" t="t" r="r" b="b"/>
              <a:pathLst>
                <a:path w="12810" h="22964" extrusionOk="0">
                  <a:moveTo>
                    <a:pt x="3970" y="0"/>
                  </a:moveTo>
                  <a:lnTo>
                    <a:pt x="0" y="22916"/>
                  </a:lnTo>
                  <a:cubicBezTo>
                    <a:pt x="826" y="22940"/>
                    <a:pt x="1635" y="22964"/>
                    <a:pt x="2450" y="22964"/>
                  </a:cubicBezTo>
                  <a:cubicBezTo>
                    <a:pt x="2788" y="22964"/>
                    <a:pt x="3127" y="22960"/>
                    <a:pt x="3469" y="22950"/>
                  </a:cubicBezTo>
                  <a:cubicBezTo>
                    <a:pt x="6338" y="22916"/>
                    <a:pt x="9273" y="22616"/>
                    <a:pt x="12109" y="21982"/>
                  </a:cubicBezTo>
                  <a:cubicBezTo>
                    <a:pt x="12342" y="21949"/>
                    <a:pt x="12576" y="21849"/>
                    <a:pt x="12809" y="21816"/>
                  </a:cubicBezTo>
                  <a:cubicBezTo>
                    <a:pt x="12342" y="19047"/>
                    <a:pt x="11909" y="16278"/>
                    <a:pt x="11308" y="13510"/>
                  </a:cubicBezTo>
                  <a:cubicBezTo>
                    <a:pt x="10774" y="10841"/>
                    <a:pt x="10107" y="8173"/>
                    <a:pt x="8973" y="5771"/>
                  </a:cubicBezTo>
                  <a:cubicBezTo>
                    <a:pt x="7839" y="3336"/>
                    <a:pt x="6138" y="1168"/>
                    <a:pt x="397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" name="Google Shape;7281;p120">
              <a:extLst>
                <a:ext uri="{FF2B5EF4-FFF2-40B4-BE49-F238E27FC236}">
                  <a16:creationId xmlns:a16="http://schemas.microsoft.com/office/drawing/2014/main" id="{640D4577-B0AA-7336-3D76-240A2A8CC1D6}"/>
                </a:ext>
              </a:extLst>
            </p:cNvPr>
            <p:cNvSpPr/>
            <p:nvPr/>
          </p:nvSpPr>
          <p:spPr>
            <a:xfrm>
              <a:off x="4303970" y="2734806"/>
              <a:ext cx="76750" cy="66725"/>
            </a:xfrm>
            <a:custGeom>
              <a:avLst/>
              <a:gdLst/>
              <a:ahLst/>
              <a:cxnLst/>
              <a:rect l="l" t="t" r="r" b="b"/>
              <a:pathLst>
                <a:path w="3070" h="2669" extrusionOk="0">
                  <a:moveTo>
                    <a:pt x="2669" y="0"/>
                  </a:moveTo>
                  <a:lnTo>
                    <a:pt x="1" y="501"/>
                  </a:lnTo>
                  <a:lnTo>
                    <a:pt x="234" y="2669"/>
                  </a:lnTo>
                  <a:cubicBezTo>
                    <a:pt x="1569" y="2669"/>
                    <a:pt x="3070" y="2102"/>
                    <a:pt x="3070" y="2102"/>
                  </a:cubicBezTo>
                  <a:lnTo>
                    <a:pt x="2669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3" name="Google Shape;7282;p120">
              <a:extLst>
                <a:ext uri="{FF2B5EF4-FFF2-40B4-BE49-F238E27FC236}">
                  <a16:creationId xmlns:a16="http://schemas.microsoft.com/office/drawing/2014/main" id="{F9828784-2C61-46E5-6DF2-22B7C6095F5B}"/>
                </a:ext>
              </a:extLst>
            </p:cNvPr>
            <p:cNvSpPr/>
            <p:nvPr/>
          </p:nvSpPr>
          <p:spPr>
            <a:xfrm>
              <a:off x="3982070" y="1739856"/>
              <a:ext cx="213525" cy="231925"/>
            </a:xfrm>
            <a:custGeom>
              <a:avLst/>
              <a:gdLst/>
              <a:ahLst/>
              <a:cxnLst/>
              <a:rect l="l" t="t" r="r" b="b"/>
              <a:pathLst>
                <a:path w="8541" h="9277" extrusionOk="0">
                  <a:moveTo>
                    <a:pt x="848" y="1"/>
                  </a:moveTo>
                  <a:cubicBezTo>
                    <a:pt x="416" y="1"/>
                    <a:pt x="110" y="36"/>
                    <a:pt x="1" y="103"/>
                  </a:cubicBezTo>
                  <a:lnTo>
                    <a:pt x="7106" y="9277"/>
                  </a:lnTo>
                  <a:cubicBezTo>
                    <a:pt x="8540" y="5107"/>
                    <a:pt x="8374" y="1938"/>
                    <a:pt x="6172" y="1037"/>
                  </a:cubicBezTo>
                  <a:cubicBezTo>
                    <a:pt x="4525" y="314"/>
                    <a:pt x="2131" y="1"/>
                    <a:pt x="84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4" name="Google Shape;7283;p120">
              <a:extLst>
                <a:ext uri="{FF2B5EF4-FFF2-40B4-BE49-F238E27FC236}">
                  <a16:creationId xmlns:a16="http://schemas.microsoft.com/office/drawing/2014/main" id="{6EE44EE1-8F9B-F580-8738-8112989A3C6A}"/>
                </a:ext>
              </a:extLst>
            </p:cNvPr>
            <p:cNvSpPr/>
            <p:nvPr/>
          </p:nvSpPr>
          <p:spPr>
            <a:xfrm>
              <a:off x="3693545" y="1812481"/>
              <a:ext cx="502050" cy="1015075"/>
            </a:xfrm>
            <a:custGeom>
              <a:avLst/>
              <a:gdLst/>
              <a:ahLst/>
              <a:cxnLst/>
              <a:rect l="l" t="t" r="r" b="b"/>
              <a:pathLst>
                <a:path w="20082" h="40603" extrusionOk="0">
                  <a:moveTo>
                    <a:pt x="6905" y="0"/>
                  </a:moveTo>
                  <a:cubicBezTo>
                    <a:pt x="3570" y="6672"/>
                    <a:pt x="4203" y="14544"/>
                    <a:pt x="2969" y="21949"/>
                  </a:cubicBezTo>
                  <a:cubicBezTo>
                    <a:pt x="2736" y="23384"/>
                    <a:pt x="2402" y="24818"/>
                    <a:pt x="1802" y="26152"/>
                  </a:cubicBezTo>
                  <a:cubicBezTo>
                    <a:pt x="1301" y="27153"/>
                    <a:pt x="668" y="28054"/>
                    <a:pt x="301" y="29054"/>
                  </a:cubicBezTo>
                  <a:cubicBezTo>
                    <a:pt x="67" y="29555"/>
                    <a:pt x="0" y="30122"/>
                    <a:pt x="201" y="30555"/>
                  </a:cubicBezTo>
                  <a:cubicBezTo>
                    <a:pt x="326" y="30849"/>
                    <a:pt x="676" y="31037"/>
                    <a:pt x="993" y="31037"/>
                  </a:cubicBezTo>
                  <a:cubicBezTo>
                    <a:pt x="1180" y="31037"/>
                    <a:pt x="1356" y="30971"/>
                    <a:pt x="1468" y="30822"/>
                  </a:cubicBezTo>
                  <a:cubicBezTo>
                    <a:pt x="1735" y="31223"/>
                    <a:pt x="1602" y="31790"/>
                    <a:pt x="1501" y="32290"/>
                  </a:cubicBezTo>
                  <a:cubicBezTo>
                    <a:pt x="1368" y="32790"/>
                    <a:pt x="1201" y="33324"/>
                    <a:pt x="1468" y="33791"/>
                  </a:cubicBezTo>
                  <a:cubicBezTo>
                    <a:pt x="1595" y="34009"/>
                    <a:pt x="1892" y="34148"/>
                    <a:pt x="2161" y="34148"/>
                  </a:cubicBezTo>
                  <a:cubicBezTo>
                    <a:pt x="2386" y="34148"/>
                    <a:pt x="2593" y="34052"/>
                    <a:pt x="2669" y="33824"/>
                  </a:cubicBezTo>
                  <a:cubicBezTo>
                    <a:pt x="2802" y="35025"/>
                    <a:pt x="2736" y="36226"/>
                    <a:pt x="3003" y="37394"/>
                  </a:cubicBezTo>
                  <a:cubicBezTo>
                    <a:pt x="3236" y="38561"/>
                    <a:pt x="3870" y="39729"/>
                    <a:pt x="4904" y="40329"/>
                  </a:cubicBezTo>
                  <a:cubicBezTo>
                    <a:pt x="5261" y="40513"/>
                    <a:pt x="5664" y="40602"/>
                    <a:pt x="6063" y="40602"/>
                  </a:cubicBezTo>
                  <a:cubicBezTo>
                    <a:pt x="6892" y="40602"/>
                    <a:pt x="7701" y="40216"/>
                    <a:pt x="8039" y="39495"/>
                  </a:cubicBezTo>
                  <a:lnTo>
                    <a:pt x="20081" y="39996"/>
                  </a:lnTo>
                  <a:lnTo>
                    <a:pt x="18780" y="1968"/>
                  </a:lnTo>
                  <a:lnTo>
                    <a:pt x="6905" y="0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5" name="Google Shape;7284;p120">
              <a:extLst>
                <a:ext uri="{FF2B5EF4-FFF2-40B4-BE49-F238E27FC236}">
                  <a16:creationId xmlns:a16="http://schemas.microsoft.com/office/drawing/2014/main" id="{B9F1CFD2-8265-ECE9-FE47-EF918F82948E}"/>
                </a:ext>
              </a:extLst>
            </p:cNvPr>
            <p:cNvSpPr/>
            <p:nvPr/>
          </p:nvSpPr>
          <p:spPr>
            <a:xfrm>
              <a:off x="4003770" y="1861681"/>
              <a:ext cx="253525" cy="947150"/>
            </a:xfrm>
            <a:custGeom>
              <a:avLst/>
              <a:gdLst/>
              <a:ahLst/>
              <a:cxnLst/>
              <a:rect l="l" t="t" r="r" b="b"/>
              <a:pathLst>
                <a:path w="10141" h="37886" extrusionOk="0">
                  <a:moveTo>
                    <a:pt x="6405" y="0"/>
                  </a:moveTo>
                  <a:lnTo>
                    <a:pt x="0" y="32057"/>
                  </a:lnTo>
                  <a:cubicBezTo>
                    <a:pt x="401" y="34258"/>
                    <a:pt x="1635" y="36426"/>
                    <a:pt x="3670" y="37427"/>
                  </a:cubicBezTo>
                  <a:cubicBezTo>
                    <a:pt x="4308" y="37736"/>
                    <a:pt x="5022" y="37886"/>
                    <a:pt x="5733" y="37886"/>
                  </a:cubicBezTo>
                  <a:cubicBezTo>
                    <a:pt x="7327" y="37886"/>
                    <a:pt x="8905" y="37133"/>
                    <a:pt x="9574" y="35726"/>
                  </a:cubicBezTo>
                  <a:cubicBezTo>
                    <a:pt x="9974" y="34859"/>
                    <a:pt x="10074" y="33858"/>
                    <a:pt x="10074" y="32891"/>
                  </a:cubicBezTo>
                  <a:cubicBezTo>
                    <a:pt x="10141" y="29722"/>
                    <a:pt x="9941" y="26519"/>
                    <a:pt x="9474" y="23384"/>
                  </a:cubicBezTo>
                  <a:cubicBezTo>
                    <a:pt x="8340" y="15578"/>
                    <a:pt x="5638" y="7873"/>
                    <a:pt x="640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6" name="Google Shape;7285;p120">
              <a:extLst>
                <a:ext uri="{FF2B5EF4-FFF2-40B4-BE49-F238E27FC236}">
                  <a16:creationId xmlns:a16="http://schemas.microsoft.com/office/drawing/2014/main" id="{F51FDBE8-8177-048B-B9D5-289FA93D46E9}"/>
                </a:ext>
              </a:extLst>
            </p:cNvPr>
            <p:cNvSpPr/>
            <p:nvPr/>
          </p:nvSpPr>
          <p:spPr>
            <a:xfrm>
              <a:off x="4097995" y="2216931"/>
              <a:ext cx="710525" cy="555825"/>
            </a:xfrm>
            <a:custGeom>
              <a:avLst/>
              <a:gdLst/>
              <a:ahLst/>
              <a:cxnLst/>
              <a:rect l="l" t="t" r="r" b="b"/>
              <a:pathLst>
                <a:path w="28421" h="22233" extrusionOk="0">
                  <a:moveTo>
                    <a:pt x="2502" y="1"/>
                  </a:moveTo>
                  <a:lnTo>
                    <a:pt x="2502" y="1"/>
                  </a:lnTo>
                  <a:cubicBezTo>
                    <a:pt x="1" y="4971"/>
                    <a:pt x="1235" y="12042"/>
                    <a:pt x="5404" y="16512"/>
                  </a:cubicBezTo>
                  <a:cubicBezTo>
                    <a:pt x="6338" y="17480"/>
                    <a:pt x="7339" y="18347"/>
                    <a:pt x="8373" y="19148"/>
                  </a:cubicBezTo>
                  <a:cubicBezTo>
                    <a:pt x="9641" y="20115"/>
                    <a:pt x="10908" y="21016"/>
                    <a:pt x="12343" y="21616"/>
                  </a:cubicBezTo>
                  <a:cubicBezTo>
                    <a:pt x="13479" y="22047"/>
                    <a:pt x="14652" y="22233"/>
                    <a:pt x="15816" y="22233"/>
                  </a:cubicBezTo>
                  <a:cubicBezTo>
                    <a:pt x="17624" y="22233"/>
                    <a:pt x="19413" y="21785"/>
                    <a:pt x="21016" y="21116"/>
                  </a:cubicBezTo>
                  <a:cubicBezTo>
                    <a:pt x="23651" y="19948"/>
                    <a:pt x="25986" y="18147"/>
                    <a:pt x="28421" y="16679"/>
                  </a:cubicBezTo>
                  <a:cubicBezTo>
                    <a:pt x="28154" y="15979"/>
                    <a:pt x="28054" y="15645"/>
                    <a:pt x="27720" y="14945"/>
                  </a:cubicBezTo>
                  <a:cubicBezTo>
                    <a:pt x="25686" y="16112"/>
                    <a:pt x="23184" y="16546"/>
                    <a:pt x="20749" y="16679"/>
                  </a:cubicBezTo>
                  <a:cubicBezTo>
                    <a:pt x="20533" y="16691"/>
                    <a:pt x="20315" y="16697"/>
                    <a:pt x="20096" y="16697"/>
                  </a:cubicBezTo>
                  <a:cubicBezTo>
                    <a:pt x="17883" y="16697"/>
                    <a:pt x="15556" y="16077"/>
                    <a:pt x="13644" y="14711"/>
                  </a:cubicBezTo>
                  <a:cubicBezTo>
                    <a:pt x="11209" y="13010"/>
                    <a:pt x="9507" y="10375"/>
                    <a:pt x="7906" y="7806"/>
                  </a:cubicBezTo>
                  <a:cubicBezTo>
                    <a:pt x="6372" y="5304"/>
                    <a:pt x="4837" y="2803"/>
                    <a:pt x="3236" y="301"/>
                  </a:cubicBezTo>
                  <a:lnTo>
                    <a:pt x="2502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7" name="Google Shape;7286;p120">
              <a:extLst>
                <a:ext uri="{FF2B5EF4-FFF2-40B4-BE49-F238E27FC236}">
                  <a16:creationId xmlns:a16="http://schemas.microsoft.com/office/drawing/2014/main" id="{06AFEF7C-5B22-5BAC-43BD-73685CF3391B}"/>
                </a:ext>
              </a:extLst>
            </p:cNvPr>
            <p:cNvSpPr/>
            <p:nvPr/>
          </p:nvSpPr>
          <p:spPr>
            <a:xfrm>
              <a:off x="4097170" y="2216106"/>
              <a:ext cx="364450" cy="531225"/>
            </a:xfrm>
            <a:custGeom>
              <a:avLst/>
              <a:gdLst/>
              <a:ahLst/>
              <a:cxnLst/>
              <a:rect l="l" t="t" r="r" b="b"/>
              <a:pathLst>
                <a:path w="14578" h="21249" extrusionOk="0">
                  <a:moveTo>
                    <a:pt x="2502" y="0"/>
                  </a:moveTo>
                  <a:lnTo>
                    <a:pt x="2502" y="0"/>
                  </a:lnTo>
                  <a:cubicBezTo>
                    <a:pt x="0" y="4970"/>
                    <a:pt x="1234" y="12042"/>
                    <a:pt x="5404" y="16512"/>
                  </a:cubicBezTo>
                  <a:cubicBezTo>
                    <a:pt x="6338" y="17479"/>
                    <a:pt x="7339" y="18347"/>
                    <a:pt x="8373" y="19147"/>
                  </a:cubicBezTo>
                  <a:cubicBezTo>
                    <a:pt x="9407" y="19981"/>
                    <a:pt x="10441" y="20715"/>
                    <a:pt x="11575" y="21249"/>
                  </a:cubicBezTo>
                  <a:cubicBezTo>
                    <a:pt x="12042" y="20048"/>
                    <a:pt x="12609" y="18880"/>
                    <a:pt x="13243" y="17746"/>
                  </a:cubicBezTo>
                  <a:cubicBezTo>
                    <a:pt x="13710" y="16912"/>
                    <a:pt x="14110" y="16145"/>
                    <a:pt x="14577" y="15311"/>
                  </a:cubicBezTo>
                  <a:cubicBezTo>
                    <a:pt x="14277" y="15144"/>
                    <a:pt x="13944" y="14911"/>
                    <a:pt x="13677" y="14711"/>
                  </a:cubicBezTo>
                  <a:cubicBezTo>
                    <a:pt x="11242" y="13009"/>
                    <a:pt x="9540" y="10374"/>
                    <a:pt x="7939" y="7806"/>
                  </a:cubicBezTo>
                  <a:cubicBezTo>
                    <a:pt x="6405" y="5304"/>
                    <a:pt x="4870" y="2802"/>
                    <a:pt x="3269" y="300"/>
                  </a:cubicBezTo>
                  <a:lnTo>
                    <a:pt x="2502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" name="Google Shape;7287;p120">
              <a:extLst>
                <a:ext uri="{FF2B5EF4-FFF2-40B4-BE49-F238E27FC236}">
                  <a16:creationId xmlns:a16="http://schemas.microsoft.com/office/drawing/2014/main" id="{05E41070-C8A2-0E70-520D-977B0E8DE671}"/>
                </a:ext>
              </a:extLst>
            </p:cNvPr>
            <p:cNvSpPr/>
            <p:nvPr/>
          </p:nvSpPr>
          <p:spPr>
            <a:xfrm>
              <a:off x="4334845" y="2558831"/>
              <a:ext cx="185150" cy="220200"/>
            </a:xfrm>
            <a:custGeom>
              <a:avLst/>
              <a:gdLst/>
              <a:ahLst/>
              <a:cxnLst/>
              <a:rect l="l" t="t" r="r" b="b"/>
              <a:pathLst>
                <a:path w="7406" h="8808" extrusionOk="0">
                  <a:moveTo>
                    <a:pt x="4837" y="1"/>
                  </a:moveTo>
                  <a:lnTo>
                    <a:pt x="4837" y="1"/>
                  </a:lnTo>
                  <a:cubicBezTo>
                    <a:pt x="4336" y="201"/>
                    <a:pt x="4003" y="701"/>
                    <a:pt x="3669" y="1202"/>
                  </a:cubicBezTo>
                  <a:cubicBezTo>
                    <a:pt x="2535" y="2970"/>
                    <a:pt x="1401" y="4771"/>
                    <a:pt x="334" y="6606"/>
                  </a:cubicBezTo>
                  <a:cubicBezTo>
                    <a:pt x="200" y="6873"/>
                    <a:pt x="0" y="7206"/>
                    <a:pt x="100" y="7540"/>
                  </a:cubicBezTo>
                  <a:cubicBezTo>
                    <a:pt x="186" y="7863"/>
                    <a:pt x="537" y="8047"/>
                    <a:pt x="864" y="8047"/>
                  </a:cubicBezTo>
                  <a:cubicBezTo>
                    <a:pt x="1044" y="8047"/>
                    <a:pt x="1216" y="7991"/>
                    <a:pt x="1334" y="7873"/>
                  </a:cubicBezTo>
                  <a:cubicBezTo>
                    <a:pt x="1478" y="7730"/>
                    <a:pt x="1673" y="7534"/>
                    <a:pt x="1846" y="7534"/>
                  </a:cubicBezTo>
                  <a:cubicBezTo>
                    <a:pt x="1914" y="7534"/>
                    <a:pt x="1978" y="7564"/>
                    <a:pt x="2035" y="7640"/>
                  </a:cubicBezTo>
                  <a:cubicBezTo>
                    <a:pt x="2135" y="7773"/>
                    <a:pt x="2068" y="7973"/>
                    <a:pt x="2068" y="8140"/>
                  </a:cubicBezTo>
                  <a:cubicBezTo>
                    <a:pt x="2102" y="8507"/>
                    <a:pt x="2502" y="8807"/>
                    <a:pt x="2835" y="8807"/>
                  </a:cubicBezTo>
                  <a:cubicBezTo>
                    <a:pt x="3136" y="8807"/>
                    <a:pt x="3436" y="8607"/>
                    <a:pt x="3703" y="8374"/>
                  </a:cubicBezTo>
                  <a:cubicBezTo>
                    <a:pt x="5571" y="6772"/>
                    <a:pt x="5871" y="3737"/>
                    <a:pt x="7405" y="1802"/>
                  </a:cubicBezTo>
                  <a:lnTo>
                    <a:pt x="6538" y="1435"/>
                  </a:lnTo>
                  <a:cubicBezTo>
                    <a:pt x="6271" y="1135"/>
                    <a:pt x="6071" y="835"/>
                    <a:pt x="5737" y="701"/>
                  </a:cubicBezTo>
                  <a:cubicBezTo>
                    <a:pt x="5537" y="635"/>
                    <a:pt x="5337" y="635"/>
                    <a:pt x="5104" y="535"/>
                  </a:cubicBezTo>
                  <a:cubicBezTo>
                    <a:pt x="4904" y="401"/>
                    <a:pt x="4737" y="168"/>
                    <a:pt x="4837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" name="Google Shape;7288;p120">
              <a:extLst>
                <a:ext uri="{FF2B5EF4-FFF2-40B4-BE49-F238E27FC236}">
                  <a16:creationId xmlns:a16="http://schemas.microsoft.com/office/drawing/2014/main" id="{3031974F-9372-8822-A1DB-62DB280BA5A5}"/>
                </a:ext>
              </a:extLst>
            </p:cNvPr>
            <p:cNvSpPr/>
            <p:nvPr/>
          </p:nvSpPr>
          <p:spPr>
            <a:xfrm>
              <a:off x="3722720" y="2653906"/>
              <a:ext cx="846475" cy="1476925"/>
            </a:xfrm>
            <a:custGeom>
              <a:avLst/>
              <a:gdLst/>
              <a:ahLst/>
              <a:cxnLst/>
              <a:rect l="l" t="t" r="r" b="b"/>
              <a:pathLst>
                <a:path w="33859" h="59077" extrusionOk="0">
                  <a:moveTo>
                    <a:pt x="7239" y="1"/>
                  </a:moveTo>
                  <a:cubicBezTo>
                    <a:pt x="3470" y="19348"/>
                    <a:pt x="3403" y="39195"/>
                    <a:pt x="1" y="58576"/>
                  </a:cubicBezTo>
                  <a:cubicBezTo>
                    <a:pt x="5438" y="58609"/>
                    <a:pt x="10909" y="59043"/>
                    <a:pt x="16413" y="59076"/>
                  </a:cubicBezTo>
                  <a:cubicBezTo>
                    <a:pt x="16413" y="58910"/>
                    <a:pt x="16479" y="58743"/>
                    <a:pt x="16479" y="58576"/>
                  </a:cubicBezTo>
                  <a:cubicBezTo>
                    <a:pt x="16546" y="43732"/>
                    <a:pt x="16646" y="28921"/>
                    <a:pt x="16713" y="14077"/>
                  </a:cubicBezTo>
                  <a:cubicBezTo>
                    <a:pt x="16714" y="14077"/>
                    <a:pt x="16715" y="14077"/>
                    <a:pt x="16716" y="14077"/>
                  </a:cubicBezTo>
                  <a:cubicBezTo>
                    <a:pt x="17312" y="14077"/>
                    <a:pt x="16913" y="59076"/>
                    <a:pt x="16913" y="59076"/>
                  </a:cubicBezTo>
                  <a:lnTo>
                    <a:pt x="19582" y="59076"/>
                  </a:lnTo>
                  <a:cubicBezTo>
                    <a:pt x="23584" y="59010"/>
                    <a:pt x="33525" y="58676"/>
                    <a:pt x="33858" y="58543"/>
                  </a:cubicBezTo>
                  <a:cubicBezTo>
                    <a:pt x="31657" y="52105"/>
                    <a:pt x="27320" y="9808"/>
                    <a:pt x="23318" y="668"/>
                  </a:cubicBezTo>
                  <a:lnTo>
                    <a:pt x="7239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" name="Google Shape;7289;p120">
              <a:extLst>
                <a:ext uri="{FF2B5EF4-FFF2-40B4-BE49-F238E27FC236}">
                  <a16:creationId xmlns:a16="http://schemas.microsoft.com/office/drawing/2014/main" id="{76356DF5-6A0C-DDDC-B1C5-042E28815F63}"/>
                </a:ext>
              </a:extLst>
            </p:cNvPr>
            <p:cNvSpPr/>
            <p:nvPr/>
          </p:nvSpPr>
          <p:spPr>
            <a:xfrm>
              <a:off x="4020445" y="2034306"/>
              <a:ext cx="95925" cy="173575"/>
            </a:xfrm>
            <a:custGeom>
              <a:avLst/>
              <a:gdLst/>
              <a:ahLst/>
              <a:cxnLst/>
              <a:rect l="l" t="t" r="r" b="b"/>
              <a:pathLst>
                <a:path w="3837" h="6943" extrusionOk="0">
                  <a:moveTo>
                    <a:pt x="2502" y="0"/>
                  </a:moveTo>
                  <a:lnTo>
                    <a:pt x="0" y="67"/>
                  </a:lnTo>
                  <a:lnTo>
                    <a:pt x="0" y="6472"/>
                  </a:lnTo>
                  <a:cubicBezTo>
                    <a:pt x="0" y="6605"/>
                    <a:pt x="0" y="6772"/>
                    <a:pt x="100" y="6839"/>
                  </a:cubicBezTo>
                  <a:cubicBezTo>
                    <a:pt x="145" y="6927"/>
                    <a:pt x="219" y="6942"/>
                    <a:pt x="303" y="6942"/>
                  </a:cubicBezTo>
                  <a:cubicBezTo>
                    <a:pt x="345" y="6942"/>
                    <a:pt x="390" y="6939"/>
                    <a:pt x="434" y="6939"/>
                  </a:cubicBezTo>
                  <a:cubicBezTo>
                    <a:pt x="1602" y="6772"/>
                    <a:pt x="2736" y="6505"/>
                    <a:pt x="3836" y="6138"/>
                  </a:cubicBezTo>
                  <a:cubicBezTo>
                    <a:pt x="3636" y="5938"/>
                    <a:pt x="3436" y="5004"/>
                    <a:pt x="3236" y="3770"/>
                  </a:cubicBezTo>
                  <a:cubicBezTo>
                    <a:pt x="3136" y="3336"/>
                    <a:pt x="3069" y="2936"/>
                    <a:pt x="2969" y="2469"/>
                  </a:cubicBezTo>
                  <a:cubicBezTo>
                    <a:pt x="2836" y="1735"/>
                    <a:pt x="2669" y="901"/>
                    <a:pt x="2502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" name="Google Shape;7290;p120">
              <a:extLst>
                <a:ext uri="{FF2B5EF4-FFF2-40B4-BE49-F238E27FC236}">
                  <a16:creationId xmlns:a16="http://schemas.microsoft.com/office/drawing/2014/main" id="{F32FF610-123B-C90D-FFED-DB5ECA49230C}"/>
                </a:ext>
              </a:extLst>
            </p:cNvPr>
            <p:cNvSpPr/>
            <p:nvPr/>
          </p:nvSpPr>
          <p:spPr>
            <a:xfrm>
              <a:off x="4038795" y="2096006"/>
              <a:ext cx="60900" cy="34800"/>
            </a:xfrm>
            <a:custGeom>
              <a:avLst/>
              <a:gdLst/>
              <a:ahLst/>
              <a:cxnLst/>
              <a:rect l="l" t="t" r="r" b="b"/>
              <a:pathLst>
                <a:path w="2436" h="1392" extrusionOk="0">
                  <a:moveTo>
                    <a:pt x="2202" y="1"/>
                  </a:moveTo>
                  <a:cubicBezTo>
                    <a:pt x="1857" y="34"/>
                    <a:pt x="1498" y="45"/>
                    <a:pt x="1171" y="45"/>
                  </a:cubicBezTo>
                  <a:cubicBezTo>
                    <a:pt x="519" y="45"/>
                    <a:pt x="0" y="1"/>
                    <a:pt x="0" y="1"/>
                  </a:cubicBezTo>
                  <a:lnTo>
                    <a:pt x="0" y="1"/>
                  </a:lnTo>
                  <a:cubicBezTo>
                    <a:pt x="443" y="1130"/>
                    <a:pt x="1032" y="1392"/>
                    <a:pt x="1603" y="1392"/>
                  </a:cubicBezTo>
                  <a:cubicBezTo>
                    <a:pt x="1893" y="1392"/>
                    <a:pt x="2177" y="1324"/>
                    <a:pt x="2435" y="1268"/>
                  </a:cubicBezTo>
                  <a:cubicBezTo>
                    <a:pt x="2369" y="868"/>
                    <a:pt x="2335" y="468"/>
                    <a:pt x="2202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2" name="Google Shape;7291;p120">
              <a:extLst>
                <a:ext uri="{FF2B5EF4-FFF2-40B4-BE49-F238E27FC236}">
                  <a16:creationId xmlns:a16="http://schemas.microsoft.com/office/drawing/2014/main" id="{FF1F3923-C4B6-510A-BBC9-587C3FF0EABF}"/>
                </a:ext>
              </a:extLst>
            </p:cNvPr>
            <p:cNvSpPr/>
            <p:nvPr/>
          </p:nvSpPr>
          <p:spPr>
            <a:xfrm>
              <a:off x="3897020" y="1771456"/>
              <a:ext cx="277725" cy="329175"/>
            </a:xfrm>
            <a:custGeom>
              <a:avLst/>
              <a:gdLst/>
              <a:ahLst/>
              <a:cxnLst/>
              <a:rect l="l" t="t" r="r" b="b"/>
              <a:pathLst>
                <a:path w="11109" h="13167" extrusionOk="0">
                  <a:moveTo>
                    <a:pt x="5691" y="0"/>
                  </a:moveTo>
                  <a:cubicBezTo>
                    <a:pt x="2043" y="0"/>
                    <a:pt x="230" y="1846"/>
                    <a:pt x="101" y="2942"/>
                  </a:cubicBezTo>
                  <a:cubicBezTo>
                    <a:pt x="1" y="4243"/>
                    <a:pt x="401" y="5511"/>
                    <a:pt x="534" y="6812"/>
                  </a:cubicBezTo>
                  <a:cubicBezTo>
                    <a:pt x="668" y="7979"/>
                    <a:pt x="868" y="9147"/>
                    <a:pt x="1201" y="10281"/>
                  </a:cubicBezTo>
                  <a:cubicBezTo>
                    <a:pt x="1284" y="10582"/>
                    <a:pt x="1377" y="10642"/>
                    <a:pt x="1493" y="10642"/>
                  </a:cubicBezTo>
                  <a:cubicBezTo>
                    <a:pt x="1569" y="10642"/>
                    <a:pt x="1654" y="10617"/>
                    <a:pt x="1752" y="10617"/>
                  </a:cubicBezTo>
                  <a:cubicBezTo>
                    <a:pt x="1870" y="10617"/>
                    <a:pt x="2007" y="10653"/>
                    <a:pt x="2169" y="10815"/>
                  </a:cubicBezTo>
                  <a:cubicBezTo>
                    <a:pt x="3016" y="11760"/>
                    <a:pt x="4309" y="13118"/>
                    <a:pt x="5488" y="13118"/>
                  </a:cubicBezTo>
                  <a:cubicBezTo>
                    <a:pt x="5516" y="13118"/>
                    <a:pt x="5543" y="13118"/>
                    <a:pt x="5571" y="13116"/>
                  </a:cubicBezTo>
                  <a:cubicBezTo>
                    <a:pt x="5980" y="13150"/>
                    <a:pt x="6345" y="13167"/>
                    <a:pt x="6675" y="13167"/>
                  </a:cubicBezTo>
                  <a:cubicBezTo>
                    <a:pt x="8634" y="13167"/>
                    <a:pt x="9328" y="12566"/>
                    <a:pt x="10241" y="11282"/>
                  </a:cubicBezTo>
                  <a:cubicBezTo>
                    <a:pt x="10942" y="10281"/>
                    <a:pt x="11108" y="8913"/>
                    <a:pt x="11108" y="7612"/>
                  </a:cubicBezTo>
                  <a:cubicBezTo>
                    <a:pt x="11108" y="5944"/>
                    <a:pt x="10908" y="4243"/>
                    <a:pt x="10441" y="2609"/>
                  </a:cubicBezTo>
                  <a:cubicBezTo>
                    <a:pt x="10441" y="2609"/>
                    <a:pt x="10008" y="140"/>
                    <a:pt x="6072" y="7"/>
                  </a:cubicBezTo>
                  <a:cubicBezTo>
                    <a:pt x="5943" y="2"/>
                    <a:pt x="5816" y="0"/>
                    <a:pt x="5691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3" name="Google Shape;7292;p120">
              <a:extLst>
                <a:ext uri="{FF2B5EF4-FFF2-40B4-BE49-F238E27FC236}">
                  <a16:creationId xmlns:a16="http://schemas.microsoft.com/office/drawing/2014/main" id="{4737BB0B-07E1-38CA-996C-C1046C93EDF1}"/>
                </a:ext>
              </a:extLst>
            </p:cNvPr>
            <p:cNvSpPr/>
            <p:nvPr/>
          </p:nvSpPr>
          <p:spPr>
            <a:xfrm>
              <a:off x="4012095" y="2107681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1" y="1"/>
                  </a:move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0" name="Google Shape;7293;p120">
              <a:extLst>
                <a:ext uri="{FF2B5EF4-FFF2-40B4-BE49-F238E27FC236}">
                  <a16:creationId xmlns:a16="http://schemas.microsoft.com/office/drawing/2014/main" id="{3A20DAF7-FE52-944F-3B4E-F5BE5E56ECD9}"/>
                </a:ext>
              </a:extLst>
            </p:cNvPr>
            <p:cNvSpPr/>
            <p:nvPr/>
          </p:nvSpPr>
          <p:spPr>
            <a:xfrm>
              <a:off x="3899520" y="2151056"/>
              <a:ext cx="444500" cy="566050"/>
            </a:xfrm>
            <a:custGeom>
              <a:avLst/>
              <a:gdLst/>
              <a:ahLst/>
              <a:cxnLst/>
              <a:rect l="l" t="t" r="r" b="b"/>
              <a:pathLst>
                <a:path w="17780" h="22642" extrusionOk="0">
                  <a:moveTo>
                    <a:pt x="9107" y="0"/>
                  </a:moveTo>
                  <a:cubicBezTo>
                    <a:pt x="9107" y="0"/>
                    <a:pt x="7871" y="757"/>
                    <a:pt x="5838" y="757"/>
                  </a:cubicBezTo>
                  <a:cubicBezTo>
                    <a:pt x="5533" y="757"/>
                    <a:pt x="5210" y="740"/>
                    <a:pt x="4871" y="701"/>
                  </a:cubicBezTo>
                  <a:cubicBezTo>
                    <a:pt x="4843" y="697"/>
                    <a:pt x="4816" y="695"/>
                    <a:pt x="4788" y="695"/>
                  </a:cubicBezTo>
                  <a:cubicBezTo>
                    <a:pt x="4378" y="695"/>
                    <a:pt x="3945" y="1152"/>
                    <a:pt x="3570" y="1902"/>
                  </a:cubicBezTo>
                  <a:cubicBezTo>
                    <a:pt x="3470" y="2102"/>
                    <a:pt x="3336" y="2335"/>
                    <a:pt x="3203" y="2636"/>
                  </a:cubicBezTo>
                  <a:cubicBezTo>
                    <a:pt x="1602" y="6505"/>
                    <a:pt x="634" y="15111"/>
                    <a:pt x="468" y="17079"/>
                  </a:cubicBezTo>
                  <a:cubicBezTo>
                    <a:pt x="267" y="19648"/>
                    <a:pt x="1" y="21516"/>
                    <a:pt x="1" y="21516"/>
                  </a:cubicBezTo>
                  <a:lnTo>
                    <a:pt x="4270" y="22149"/>
                  </a:lnTo>
                  <a:cubicBezTo>
                    <a:pt x="5964" y="22476"/>
                    <a:pt x="7681" y="22641"/>
                    <a:pt x="9396" y="22641"/>
                  </a:cubicBezTo>
                  <a:cubicBezTo>
                    <a:pt x="12239" y="22641"/>
                    <a:pt x="15075" y="22185"/>
                    <a:pt x="17780" y="21249"/>
                  </a:cubicBezTo>
                  <a:cubicBezTo>
                    <a:pt x="17747" y="21149"/>
                    <a:pt x="17680" y="21082"/>
                    <a:pt x="17613" y="21015"/>
                  </a:cubicBezTo>
                  <a:cubicBezTo>
                    <a:pt x="17513" y="20782"/>
                    <a:pt x="17380" y="20482"/>
                    <a:pt x="17313" y="20248"/>
                  </a:cubicBezTo>
                  <a:cubicBezTo>
                    <a:pt x="17113" y="19581"/>
                    <a:pt x="16879" y="18847"/>
                    <a:pt x="16679" y="18180"/>
                  </a:cubicBezTo>
                  <a:cubicBezTo>
                    <a:pt x="16612" y="17913"/>
                    <a:pt x="16512" y="17580"/>
                    <a:pt x="16446" y="17279"/>
                  </a:cubicBezTo>
                  <a:cubicBezTo>
                    <a:pt x="16279" y="16646"/>
                    <a:pt x="16145" y="16012"/>
                    <a:pt x="16012" y="15411"/>
                  </a:cubicBezTo>
                  <a:cubicBezTo>
                    <a:pt x="15945" y="14978"/>
                    <a:pt x="15879" y="14577"/>
                    <a:pt x="15812" y="14144"/>
                  </a:cubicBezTo>
                  <a:cubicBezTo>
                    <a:pt x="15678" y="13443"/>
                    <a:pt x="15612" y="12676"/>
                    <a:pt x="15512" y="11942"/>
                  </a:cubicBezTo>
                  <a:cubicBezTo>
                    <a:pt x="15478" y="11609"/>
                    <a:pt x="15478" y="11308"/>
                    <a:pt x="15445" y="10975"/>
                  </a:cubicBezTo>
                  <a:cubicBezTo>
                    <a:pt x="15412" y="10808"/>
                    <a:pt x="15412" y="10675"/>
                    <a:pt x="15412" y="10508"/>
                  </a:cubicBezTo>
                  <a:cubicBezTo>
                    <a:pt x="15345" y="10007"/>
                    <a:pt x="15312" y="9507"/>
                    <a:pt x="15111" y="9073"/>
                  </a:cubicBezTo>
                  <a:cubicBezTo>
                    <a:pt x="14845" y="8506"/>
                    <a:pt x="14444" y="8106"/>
                    <a:pt x="14077" y="7672"/>
                  </a:cubicBezTo>
                  <a:cubicBezTo>
                    <a:pt x="14077" y="7639"/>
                    <a:pt x="14011" y="7606"/>
                    <a:pt x="13977" y="7539"/>
                  </a:cubicBezTo>
                  <a:lnTo>
                    <a:pt x="13243" y="6672"/>
                  </a:lnTo>
                  <a:cubicBezTo>
                    <a:pt x="12743" y="6105"/>
                    <a:pt x="12276" y="5471"/>
                    <a:pt x="11809" y="4837"/>
                  </a:cubicBezTo>
                  <a:cubicBezTo>
                    <a:pt x="11609" y="4570"/>
                    <a:pt x="11409" y="4203"/>
                    <a:pt x="11175" y="3936"/>
                  </a:cubicBezTo>
                  <a:lnTo>
                    <a:pt x="10441" y="2669"/>
                  </a:lnTo>
                  <a:cubicBezTo>
                    <a:pt x="10275" y="2335"/>
                    <a:pt x="10041" y="1968"/>
                    <a:pt x="9874" y="1635"/>
                  </a:cubicBezTo>
                  <a:cubicBezTo>
                    <a:pt x="9607" y="1101"/>
                    <a:pt x="9341" y="567"/>
                    <a:pt x="910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1" name="Google Shape;7294;p120">
              <a:extLst>
                <a:ext uri="{FF2B5EF4-FFF2-40B4-BE49-F238E27FC236}">
                  <a16:creationId xmlns:a16="http://schemas.microsoft.com/office/drawing/2014/main" id="{14B960AD-6F34-2A1A-058E-BE6BC239B161}"/>
                </a:ext>
              </a:extLst>
            </p:cNvPr>
            <p:cNvSpPr/>
            <p:nvPr/>
          </p:nvSpPr>
          <p:spPr>
            <a:xfrm>
              <a:off x="3979570" y="2192756"/>
              <a:ext cx="181825" cy="35275"/>
            </a:xfrm>
            <a:custGeom>
              <a:avLst/>
              <a:gdLst/>
              <a:ahLst/>
              <a:cxnLst/>
              <a:rect l="l" t="t" r="r" b="b"/>
              <a:pathLst>
                <a:path w="7273" h="1411" extrusionOk="0">
                  <a:moveTo>
                    <a:pt x="6706" y="0"/>
                  </a:moveTo>
                  <a:cubicBezTo>
                    <a:pt x="6105" y="100"/>
                    <a:pt x="5471" y="234"/>
                    <a:pt x="4871" y="267"/>
                  </a:cubicBezTo>
                  <a:cubicBezTo>
                    <a:pt x="4307" y="315"/>
                    <a:pt x="3756" y="333"/>
                    <a:pt x="3214" y="333"/>
                  </a:cubicBezTo>
                  <a:cubicBezTo>
                    <a:pt x="2248" y="333"/>
                    <a:pt x="1308" y="276"/>
                    <a:pt x="368" y="234"/>
                  </a:cubicBezTo>
                  <a:cubicBezTo>
                    <a:pt x="268" y="434"/>
                    <a:pt x="134" y="667"/>
                    <a:pt x="1" y="968"/>
                  </a:cubicBezTo>
                  <a:cubicBezTo>
                    <a:pt x="1069" y="1282"/>
                    <a:pt x="2204" y="1411"/>
                    <a:pt x="3360" y="1411"/>
                  </a:cubicBezTo>
                  <a:cubicBezTo>
                    <a:pt x="4659" y="1411"/>
                    <a:pt x="5985" y="1248"/>
                    <a:pt x="7273" y="1001"/>
                  </a:cubicBezTo>
                  <a:cubicBezTo>
                    <a:pt x="7073" y="667"/>
                    <a:pt x="6906" y="334"/>
                    <a:pt x="6706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2" name="Google Shape;7295;p120">
              <a:extLst>
                <a:ext uri="{FF2B5EF4-FFF2-40B4-BE49-F238E27FC236}">
                  <a16:creationId xmlns:a16="http://schemas.microsoft.com/office/drawing/2014/main" id="{597F86E5-2AFA-A0E6-05E5-920A0700875C}"/>
                </a:ext>
              </a:extLst>
            </p:cNvPr>
            <p:cNvSpPr/>
            <p:nvPr/>
          </p:nvSpPr>
          <p:spPr>
            <a:xfrm>
              <a:off x="3973745" y="2249456"/>
              <a:ext cx="221850" cy="40525"/>
            </a:xfrm>
            <a:custGeom>
              <a:avLst/>
              <a:gdLst/>
              <a:ahLst/>
              <a:cxnLst/>
              <a:rect l="l" t="t" r="r" b="b"/>
              <a:pathLst>
                <a:path w="8874" h="1621" extrusionOk="0">
                  <a:moveTo>
                    <a:pt x="8273" y="0"/>
                  </a:moveTo>
                  <a:cubicBezTo>
                    <a:pt x="7706" y="167"/>
                    <a:pt x="7139" y="301"/>
                    <a:pt x="6605" y="367"/>
                  </a:cubicBezTo>
                  <a:cubicBezTo>
                    <a:pt x="4470" y="701"/>
                    <a:pt x="2335" y="834"/>
                    <a:pt x="201" y="1068"/>
                  </a:cubicBezTo>
                  <a:cubicBezTo>
                    <a:pt x="0" y="1068"/>
                    <a:pt x="0" y="1401"/>
                    <a:pt x="201" y="1468"/>
                  </a:cubicBezTo>
                  <a:cubicBezTo>
                    <a:pt x="1049" y="1573"/>
                    <a:pt x="1898" y="1621"/>
                    <a:pt x="2747" y="1621"/>
                  </a:cubicBezTo>
                  <a:cubicBezTo>
                    <a:pt x="4066" y="1621"/>
                    <a:pt x="5386" y="1504"/>
                    <a:pt x="6705" y="1301"/>
                  </a:cubicBezTo>
                  <a:cubicBezTo>
                    <a:pt x="7372" y="1201"/>
                    <a:pt x="8140" y="1068"/>
                    <a:pt x="8873" y="968"/>
                  </a:cubicBezTo>
                  <a:cubicBezTo>
                    <a:pt x="8673" y="634"/>
                    <a:pt x="8473" y="334"/>
                    <a:pt x="827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3" name="Google Shape;7296;p120">
              <a:extLst>
                <a:ext uri="{FF2B5EF4-FFF2-40B4-BE49-F238E27FC236}">
                  <a16:creationId xmlns:a16="http://schemas.microsoft.com/office/drawing/2014/main" id="{BAB8D216-9FAF-967F-4A41-581ECE453B5B}"/>
                </a:ext>
              </a:extLst>
            </p:cNvPr>
            <p:cNvSpPr/>
            <p:nvPr/>
          </p:nvSpPr>
          <p:spPr>
            <a:xfrm>
              <a:off x="3986245" y="2317831"/>
              <a:ext cx="263550" cy="44600"/>
            </a:xfrm>
            <a:custGeom>
              <a:avLst/>
              <a:gdLst/>
              <a:ahLst/>
              <a:cxnLst/>
              <a:rect l="l" t="t" r="r" b="b"/>
              <a:pathLst>
                <a:path w="10542" h="1784" extrusionOk="0">
                  <a:moveTo>
                    <a:pt x="9808" y="1"/>
                  </a:moveTo>
                  <a:cubicBezTo>
                    <a:pt x="9141" y="168"/>
                    <a:pt x="8473" y="334"/>
                    <a:pt x="7806" y="468"/>
                  </a:cubicBezTo>
                  <a:cubicBezTo>
                    <a:pt x="5238" y="901"/>
                    <a:pt x="2736" y="801"/>
                    <a:pt x="201" y="1102"/>
                  </a:cubicBezTo>
                  <a:cubicBezTo>
                    <a:pt x="101" y="1135"/>
                    <a:pt x="1" y="1335"/>
                    <a:pt x="168" y="1402"/>
                  </a:cubicBezTo>
                  <a:cubicBezTo>
                    <a:pt x="1283" y="1677"/>
                    <a:pt x="2419" y="1784"/>
                    <a:pt x="3561" y="1784"/>
                  </a:cubicBezTo>
                  <a:cubicBezTo>
                    <a:pt x="4911" y="1784"/>
                    <a:pt x="6268" y="1634"/>
                    <a:pt x="7606" y="1435"/>
                  </a:cubicBezTo>
                  <a:cubicBezTo>
                    <a:pt x="8540" y="1268"/>
                    <a:pt x="9541" y="1135"/>
                    <a:pt x="10542" y="901"/>
                  </a:cubicBezTo>
                  <a:lnTo>
                    <a:pt x="9808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4" name="Google Shape;7297;p120">
              <a:extLst>
                <a:ext uri="{FF2B5EF4-FFF2-40B4-BE49-F238E27FC236}">
                  <a16:creationId xmlns:a16="http://schemas.microsoft.com/office/drawing/2014/main" id="{526E10B9-1AD2-3FAB-8274-F2142B9E413F}"/>
                </a:ext>
              </a:extLst>
            </p:cNvPr>
            <p:cNvSpPr/>
            <p:nvPr/>
          </p:nvSpPr>
          <p:spPr>
            <a:xfrm>
              <a:off x="3997345" y="2412906"/>
              <a:ext cx="291650" cy="40025"/>
            </a:xfrm>
            <a:custGeom>
              <a:avLst/>
              <a:gdLst/>
              <a:ahLst/>
              <a:cxnLst/>
              <a:rect l="l" t="t" r="r" b="b"/>
              <a:pathLst>
                <a:path w="11666" h="1601" extrusionOk="0">
                  <a:moveTo>
                    <a:pt x="11532" y="0"/>
                  </a:moveTo>
                  <a:cubicBezTo>
                    <a:pt x="10331" y="134"/>
                    <a:pt x="9030" y="367"/>
                    <a:pt x="7896" y="467"/>
                  </a:cubicBezTo>
                  <a:cubicBezTo>
                    <a:pt x="6307" y="573"/>
                    <a:pt x="4665" y="733"/>
                    <a:pt x="3037" y="733"/>
                  </a:cubicBezTo>
                  <a:cubicBezTo>
                    <a:pt x="2101" y="733"/>
                    <a:pt x="1170" y="680"/>
                    <a:pt x="257" y="534"/>
                  </a:cubicBezTo>
                  <a:cubicBezTo>
                    <a:pt x="247" y="532"/>
                    <a:pt x="237" y="532"/>
                    <a:pt x="227" y="532"/>
                  </a:cubicBezTo>
                  <a:cubicBezTo>
                    <a:pt x="51" y="532"/>
                    <a:pt x="1" y="805"/>
                    <a:pt x="191" y="868"/>
                  </a:cubicBezTo>
                  <a:cubicBezTo>
                    <a:pt x="1591" y="1456"/>
                    <a:pt x="3140" y="1600"/>
                    <a:pt x="4679" y="1600"/>
                  </a:cubicBezTo>
                  <a:cubicBezTo>
                    <a:pt x="5669" y="1600"/>
                    <a:pt x="6655" y="1541"/>
                    <a:pt x="7596" y="1502"/>
                  </a:cubicBezTo>
                  <a:cubicBezTo>
                    <a:pt x="8830" y="1468"/>
                    <a:pt x="10264" y="1502"/>
                    <a:pt x="11665" y="1368"/>
                  </a:cubicBezTo>
                  <a:cubicBezTo>
                    <a:pt x="11599" y="1101"/>
                    <a:pt x="11599" y="768"/>
                    <a:pt x="11565" y="467"/>
                  </a:cubicBezTo>
                  <a:cubicBezTo>
                    <a:pt x="11532" y="301"/>
                    <a:pt x="11532" y="167"/>
                    <a:pt x="1153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5" name="Google Shape;7298;p120">
              <a:extLst>
                <a:ext uri="{FF2B5EF4-FFF2-40B4-BE49-F238E27FC236}">
                  <a16:creationId xmlns:a16="http://schemas.microsoft.com/office/drawing/2014/main" id="{F8200D43-7C7B-CC53-1206-AFB373593324}"/>
                </a:ext>
              </a:extLst>
            </p:cNvPr>
            <p:cNvSpPr/>
            <p:nvPr/>
          </p:nvSpPr>
          <p:spPr>
            <a:xfrm>
              <a:off x="3983995" y="2503806"/>
              <a:ext cx="317500" cy="44700"/>
            </a:xfrm>
            <a:custGeom>
              <a:avLst/>
              <a:gdLst/>
              <a:ahLst/>
              <a:cxnLst/>
              <a:rect l="l" t="t" r="r" b="b"/>
              <a:pathLst>
                <a:path w="12700" h="1788" extrusionOk="0">
                  <a:moveTo>
                    <a:pt x="12433" y="0"/>
                  </a:moveTo>
                  <a:cubicBezTo>
                    <a:pt x="11099" y="334"/>
                    <a:pt x="9731" y="601"/>
                    <a:pt x="8297" y="734"/>
                  </a:cubicBezTo>
                  <a:cubicBezTo>
                    <a:pt x="7318" y="808"/>
                    <a:pt x="6336" y="845"/>
                    <a:pt x="5352" y="845"/>
                  </a:cubicBezTo>
                  <a:cubicBezTo>
                    <a:pt x="3651" y="845"/>
                    <a:pt x="1948" y="733"/>
                    <a:pt x="258" y="501"/>
                  </a:cubicBezTo>
                  <a:cubicBezTo>
                    <a:pt x="249" y="499"/>
                    <a:pt x="240" y="499"/>
                    <a:pt x="232" y="499"/>
                  </a:cubicBezTo>
                  <a:cubicBezTo>
                    <a:pt x="52" y="499"/>
                    <a:pt x="1" y="836"/>
                    <a:pt x="224" y="868"/>
                  </a:cubicBezTo>
                  <a:cubicBezTo>
                    <a:pt x="2505" y="1438"/>
                    <a:pt x="5006" y="1788"/>
                    <a:pt x="7515" y="1788"/>
                  </a:cubicBezTo>
                  <a:cubicBezTo>
                    <a:pt x="9263" y="1788"/>
                    <a:pt x="11015" y="1618"/>
                    <a:pt x="12700" y="1235"/>
                  </a:cubicBezTo>
                  <a:lnTo>
                    <a:pt x="12433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6" name="Google Shape;7299;p120">
              <a:extLst>
                <a:ext uri="{FF2B5EF4-FFF2-40B4-BE49-F238E27FC236}">
                  <a16:creationId xmlns:a16="http://schemas.microsoft.com/office/drawing/2014/main" id="{87260AD6-4051-A4C9-AD03-2C22EFEF844E}"/>
                </a:ext>
              </a:extLst>
            </p:cNvPr>
            <p:cNvSpPr/>
            <p:nvPr/>
          </p:nvSpPr>
          <p:spPr>
            <a:xfrm>
              <a:off x="4015695" y="2582181"/>
              <a:ext cx="302475" cy="52425"/>
            </a:xfrm>
            <a:custGeom>
              <a:avLst/>
              <a:gdLst/>
              <a:ahLst/>
              <a:cxnLst/>
              <a:rect l="l" t="t" r="r" b="b"/>
              <a:pathLst>
                <a:path w="12099" h="2097" extrusionOk="0">
                  <a:moveTo>
                    <a:pt x="11832" y="1"/>
                  </a:moveTo>
                  <a:cubicBezTo>
                    <a:pt x="10798" y="268"/>
                    <a:pt x="9731" y="601"/>
                    <a:pt x="8696" y="835"/>
                  </a:cubicBezTo>
                  <a:cubicBezTo>
                    <a:pt x="7252" y="1127"/>
                    <a:pt x="5825" y="1269"/>
                    <a:pt x="4392" y="1269"/>
                  </a:cubicBezTo>
                  <a:cubicBezTo>
                    <a:pt x="3047" y="1269"/>
                    <a:pt x="1697" y="1144"/>
                    <a:pt x="324" y="902"/>
                  </a:cubicBezTo>
                  <a:cubicBezTo>
                    <a:pt x="315" y="900"/>
                    <a:pt x="307" y="899"/>
                    <a:pt x="298" y="899"/>
                  </a:cubicBezTo>
                  <a:cubicBezTo>
                    <a:pt x="113" y="899"/>
                    <a:pt x="0" y="1240"/>
                    <a:pt x="224" y="1335"/>
                  </a:cubicBezTo>
                  <a:cubicBezTo>
                    <a:pt x="1725" y="1864"/>
                    <a:pt x="3360" y="2096"/>
                    <a:pt x="5039" y="2096"/>
                  </a:cubicBezTo>
                  <a:cubicBezTo>
                    <a:pt x="7388" y="2096"/>
                    <a:pt x="9823" y="1641"/>
                    <a:pt x="12099" y="902"/>
                  </a:cubicBezTo>
                  <a:cubicBezTo>
                    <a:pt x="11999" y="568"/>
                    <a:pt x="11932" y="268"/>
                    <a:pt x="11832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7" name="Google Shape;7300;p120">
              <a:extLst>
                <a:ext uri="{FF2B5EF4-FFF2-40B4-BE49-F238E27FC236}">
                  <a16:creationId xmlns:a16="http://schemas.microsoft.com/office/drawing/2014/main" id="{37A391D1-0DF1-BF0B-ADE1-7386FBB523A2}"/>
                </a:ext>
              </a:extLst>
            </p:cNvPr>
            <p:cNvSpPr/>
            <p:nvPr/>
          </p:nvSpPr>
          <p:spPr>
            <a:xfrm>
              <a:off x="4030445" y="2657256"/>
              <a:ext cx="310250" cy="38850"/>
            </a:xfrm>
            <a:custGeom>
              <a:avLst/>
              <a:gdLst/>
              <a:ahLst/>
              <a:cxnLst/>
              <a:rect l="l" t="t" r="r" b="b"/>
              <a:pathLst>
                <a:path w="12410" h="1554" extrusionOk="0">
                  <a:moveTo>
                    <a:pt x="12109" y="0"/>
                  </a:moveTo>
                  <a:cubicBezTo>
                    <a:pt x="10775" y="334"/>
                    <a:pt x="9407" y="567"/>
                    <a:pt x="8040" y="701"/>
                  </a:cubicBezTo>
                  <a:cubicBezTo>
                    <a:pt x="5371" y="1001"/>
                    <a:pt x="2736" y="901"/>
                    <a:pt x="101" y="1068"/>
                  </a:cubicBezTo>
                  <a:cubicBezTo>
                    <a:pt x="1" y="1068"/>
                    <a:pt x="1" y="1268"/>
                    <a:pt x="101" y="1268"/>
                  </a:cubicBezTo>
                  <a:cubicBezTo>
                    <a:pt x="1695" y="1451"/>
                    <a:pt x="3320" y="1554"/>
                    <a:pt x="4937" y="1554"/>
                  </a:cubicBezTo>
                  <a:cubicBezTo>
                    <a:pt x="6262" y="1554"/>
                    <a:pt x="7581" y="1485"/>
                    <a:pt x="8874" y="1334"/>
                  </a:cubicBezTo>
                  <a:cubicBezTo>
                    <a:pt x="10008" y="1201"/>
                    <a:pt x="11209" y="1034"/>
                    <a:pt x="12410" y="734"/>
                  </a:cubicBezTo>
                  <a:cubicBezTo>
                    <a:pt x="12343" y="434"/>
                    <a:pt x="12243" y="200"/>
                    <a:pt x="12109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8" name="Google Shape;7301;p120">
              <a:extLst>
                <a:ext uri="{FF2B5EF4-FFF2-40B4-BE49-F238E27FC236}">
                  <a16:creationId xmlns:a16="http://schemas.microsoft.com/office/drawing/2014/main" id="{0E436914-BBA4-16BB-A3C9-2786FAAC206F}"/>
                </a:ext>
              </a:extLst>
            </p:cNvPr>
            <p:cNvSpPr/>
            <p:nvPr/>
          </p:nvSpPr>
          <p:spPr>
            <a:xfrm>
              <a:off x="3802795" y="2198856"/>
              <a:ext cx="296050" cy="576000"/>
            </a:xfrm>
            <a:custGeom>
              <a:avLst/>
              <a:gdLst/>
              <a:ahLst/>
              <a:cxnLst/>
              <a:rect l="l" t="t" r="r" b="b"/>
              <a:pathLst>
                <a:path w="11842" h="23040" extrusionOk="0">
                  <a:moveTo>
                    <a:pt x="7276" y="0"/>
                  </a:moveTo>
                  <a:cubicBezTo>
                    <a:pt x="6231" y="0"/>
                    <a:pt x="5387" y="1074"/>
                    <a:pt x="4770" y="2091"/>
                  </a:cubicBezTo>
                  <a:cubicBezTo>
                    <a:pt x="3002" y="5093"/>
                    <a:pt x="2202" y="8696"/>
                    <a:pt x="1535" y="12198"/>
                  </a:cubicBezTo>
                  <a:cubicBezTo>
                    <a:pt x="968" y="15367"/>
                    <a:pt x="434" y="18536"/>
                    <a:pt x="0" y="21739"/>
                  </a:cubicBezTo>
                  <a:cubicBezTo>
                    <a:pt x="3536" y="22439"/>
                    <a:pt x="7039" y="22939"/>
                    <a:pt x="10574" y="23039"/>
                  </a:cubicBezTo>
                  <a:cubicBezTo>
                    <a:pt x="10808" y="21338"/>
                    <a:pt x="10975" y="19670"/>
                    <a:pt x="11141" y="17936"/>
                  </a:cubicBezTo>
                  <a:cubicBezTo>
                    <a:pt x="11642" y="12699"/>
                    <a:pt x="11842" y="7061"/>
                    <a:pt x="9674" y="2358"/>
                  </a:cubicBezTo>
                  <a:cubicBezTo>
                    <a:pt x="9674" y="2358"/>
                    <a:pt x="9107" y="323"/>
                    <a:pt x="7539" y="23"/>
                  </a:cubicBezTo>
                  <a:cubicBezTo>
                    <a:pt x="7450" y="8"/>
                    <a:pt x="7362" y="0"/>
                    <a:pt x="72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69" name="Google Shape;7302;p120">
              <a:extLst>
                <a:ext uri="{FF2B5EF4-FFF2-40B4-BE49-F238E27FC236}">
                  <a16:creationId xmlns:a16="http://schemas.microsoft.com/office/drawing/2014/main" id="{7E1C56D8-2CC4-684D-45A7-9AEF5A05E9EB}"/>
                </a:ext>
              </a:extLst>
            </p:cNvPr>
            <p:cNvSpPr/>
            <p:nvPr/>
          </p:nvSpPr>
          <p:spPr>
            <a:xfrm>
              <a:off x="3239045" y="2195256"/>
              <a:ext cx="765575" cy="370925"/>
            </a:xfrm>
            <a:custGeom>
              <a:avLst/>
              <a:gdLst/>
              <a:ahLst/>
              <a:cxnLst/>
              <a:rect l="l" t="t" r="r" b="b"/>
              <a:pathLst>
                <a:path w="30623" h="14837" extrusionOk="0">
                  <a:moveTo>
                    <a:pt x="29822" y="0"/>
                  </a:moveTo>
                  <a:cubicBezTo>
                    <a:pt x="27320" y="1501"/>
                    <a:pt x="24752" y="3002"/>
                    <a:pt x="22250" y="4503"/>
                  </a:cubicBezTo>
                  <a:cubicBezTo>
                    <a:pt x="19681" y="6038"/>
                    <a:pt x="16980" y="7672"/>
                    <a:pt x="14044" y="8039"/>
                  </a:cubicBezTo>
                  <a:cubicBezTo>
                    <a:pt x="13567" y="8107"/>
                    <a:pt x="13089" y="8140"/>
                    <a:pt x="12613" y="8140"/>
                  </a:cubicBezTo>
                  <a:cubicBezTo>
                    <a:pt x="10527" y="8140"/>
                    <a:pt x="8490" y="7516"/>
                    <a:pt x="6806" y="6538"/>
                  </a:cubicBezTo>
                  <a:cubicBezTo>
                    <a:pt x="4704" y="5337"/>
                    <a:pt x="2703" y="3736"/>
                    <a:pt x="1402" y="1802"/>
                  </a:cubicBezTo>
                  <a:cubicBezTo>
                    <a:pt x="835" y="2302"/>
                    <a:pt x="568" y="2535"/>
                    <a:pt x="1" y="3036"/>
                  </a:cubicBezTo>
                  <a:cubicBezTo>
                    <a:pt x="1502" y="5504"/>
                    <a:pt x="2703" y="8139"/>
                    <a:pt x="4537" y="10374"/>
                  </a:cubicBezTo>
                  <a:cubicBezTo>
                    <a:pt x="6339" y="12643"/>
                    <a:pt x="8874" y="14511"/>
                    <a:pt x="12009" y="14811"/>
                  </a:cubicBezTo>
                  <a:cubicBezTo>
                    <a:pt x="12275" y="14829"/>
                    <a:pt x="12543" y="14837"/>
                    <a:pt x="12813" y="14837"/>
                  </a:cubicBezTo>
                  <a:cubicBezTo>
                    <a:pt x="14065" y="14837"/>
                    <a:pt x="15350" y="14658"/>
                    <a:pt x="16613" y="14411"/>
                  </a:cubicBezTo>
                  <a:cubicBezTo>
                    <a:pt x="17914" y="14210"/>
                    <a:pt x="19214" y="13910"/>
                    <a:pt x="20449" y="13477"/>
                  </a:cubicBezTo>
                  <a:cubicBezTo>
                    <a:pt x="26219" y="11408"/>
                    <a:pt x="30589" y="5671"/>
                    <a:pt x="30623" y="134"/>
                  </a:cubicBezTo>
                  <a:lnTo>
                    <a:pt x="29822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0" name="Google Shape;7303;p120">
              <a:extLst>
                <a:ext uri="{FF2B5EF4-FFF2-40B4-BE49-F238E27FC236}">
                  <a16:creationId xmlns:a16="http://schemas.microsoft.com/office/drawing/2014/main" id="{488858BE-4FE8-FD8F-BB64-2512CC0EC175}"/>
                </a:ext>
              </a:extLst>
            </p:cNvPr>
            <p:cNvSpPr/>
            <p:nvPr/>
          </p:nvSpPr>
          <p:spPr>
            <a:xfrm>
              <a:off x="3560945" y="2196081"/>
              <a:ext cx="443675" cy="370375"/>
            </a:xfrm>
            <a:custGeom>
              <a:avLst/>
              <a:gdLst/>
              <a:ahLst/>
              <a:cxnLst/>
              <a:rect l="l" t="t" r="r" b="b"/>
              <a:pathLst>
                <a:path w="17747" h="14815" extrusionOk="0">
                  <a:moveTo>
                    <a:pt x="16913" y="1"/>
                  </a:moveTo>
                  <a:cubicBezTo>
                    <a:pt x="14411" y="1502"/>
                    <a:pt x="11876" y="3003"/>
                    <a:pt x="9374" y="4504"/>
                  </a:cubicBezTo>
                  <a:cubicBezTo>
                    <a:pt x="6805" y="6038"/>
                    <a:pt x="4104" y="7673"/>
                    <a:pt x="1168" y="8040"/>
                  </a:cubicBezTo>
                  <a:cubicBezTo>
                    <a:pt x="801" y="8106"/>
                    <a:pt x="468" y="8140"/>
                    <a:pt x="101" y="8140"/>
                  </a:cubicBezTo>
                  <a:cubicBezTo>
                    <a:pt x="101" y="9040"/>
                    <a:pt x="134" y="10008"/>
                    <a:pt x="134" y="10942"/>
                  </a:cubicBezTo>
                  <a:cubicBezTo>
                    <a:pt x="167" y="12209"/>
                    <a:pt x="167" y="13510"/>
                    <a:pt x="1" y="14811"/>
                  </a:cubicBezTo>
                  <a:cubicBezTo>
                    <a:pt x="95" y="14814"/>
                    <a:pt x="188" y="14815"/>
                    <a:pt x="282" y="14815"/>
                  </a:cubicBezTo>
                  <a:cubicBezTo>
                    <a:pt x="1451" y="14815"/>
                    <a:pt x="2594" y="14630"/>
                    <a:pt x="3737" y="14444"/>
                  </a:cubicBezTo>
                  <a:cubicBezTo>
                    <a:pt x="5038" y="14211"/>
                    <a:pt x="6338" y="13944"/>
                    <a:pt x="7573" y="13477"/>
                  </a:cubicBezTo>
                  <a:cubicBezTo>
                    <a:pt x="13343" y="11442"/>
                    <a:pt x="17713" y="5671"/>
                    <a:pt x="17747" y="134"/>
                  </a:cubicBezTo>
                  <a:lnTo>
                    <a:pt x="16913" y="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1" name="Google Shape;7304;p120">
              <a:extLst>
                <a:ext uri="{FF2B5EF4-FFF2-40B4-BE49-F238E27FC236}">
                  <a16:creationId xmlns:a16="http://schemas.microsoft.com/office/drawing/2014/main" id="{11AA2AB7-458C-B051-FDD9-2C56F0DFF3A5}"/>
                </a:ext>
              </a:extLst>
            </p:cNvPr>
            <p:cNvSpPr/>
            <p:nvPr/>
          </p:nvSpPr>
          <p:spPr>
            <a:xfrm>
              <a:off x="3492570" y="2363706"/>
              <a:ext cx="117600" cy="228525"/>
            </a:xfrm>
            <a:custGeom>
              <a:avLst/>
              <a:gdLst/>
              <a:ahLst/>
              <a:cxnLst/>
              <a:rect l="l" t="t" r="r" b="b"/>
              <a:pathLst>
                <a:path w="4704" h="9141" extrusionOk="0">
                  <a:moveTo>
                    <a:pt x="3670" y="0"/>
                  </a:moveTo>
                  <a:cubicBezTo>
                    <a:pt x="3670" y="234"/>
                    <a:pt x="3369" y="334"/>
                    <a:pt x="3169" y="334"/>
                  </a:cubicBezTo>
                  <a:cubicBezTo>
                    <a:pt x="2936" y="334"/>
                    <a:pt x="2736" y="267"/>
                    <a:pt x="2535" y="234"/>
                  </a:cubicBezTo>
                  <a:cubicBezTo>
                    <a:pt x="2484" y="224"/>
                    <a:pt x="2431" y="219"/>
                    <a:pt x="2378" y="219"/>
                  </a:cubicBezTo>
                  <a:cubicBezTo>
                    <a:pt x="2090" y="219"/>
                    <a:pt x="1788" y="360"/>
                    <a:pt x="1535" y="501"/>
                  </a:cubicBezTo>
                  <a:lnTo>
                    <a:pt x="601" y="567"/>
                  </a:lnTo>
                  <a:cubicBezTo>
                    <a:pt x="1068" y="3003"/>
                    <a:pt x="0" y="5805"/>
                    <a:pt x="868" y="8106"/>
                  </a:cubicBezTo>
                  <a:cubicBezTo>
                    <a:pt x="1001" y="8406"/>
                    <a:pt x="1168" y="8740"/>
                    <a:pt x="1435" y="8840"/>
                  </a:cubicBezTo>
                  <a:cubicBezTo>
                    <a:pt x="1539" y="8898"/>
                    <a:pt x="1668" y="8928"/>
                    <a:pt x="1799" y="8928"/>
                  </a:cubicBezTo>
                  <a:cubicBezTo>
                    <a:pt x="2043" y="8928"/>
                    <a:pt x="2293" y="8824"/>
                    <a:pt x="2402" y="8607"/>
                  </a:cubicBezTo>
                  <a:cubicBezTo>
                    <a:pt x="2502" y="8440"/>
                    <a:pt x="2535" y="8240"/>
                    <a:pt x="2702" y="8140"/>
                  </a:cubicBezTo>
                  <a:cubicBezTo>
                    <a:pt x="2743" y="8121"/>
                    <a:pt x="2781" y="8113"/>
                    <a:pt x="2815" y="8113"/>
                  </a:cubicBezTo>
                  <a:cubicBezTo>
                    <a:pt x="3030" y="8113"/>
                    <a:pt x="3116" y="8443"/>
                    <a:pt x="3203" y="8673"/>
                  </a:cubicBezTo>
                  <a:cubicBezTo>
                    <a:pt x="3307" y="8965"/>
                    <a:pt x="3620" y="9140"/>
                    <a:pt x="3930" y="9140"/>
                  </a:cubicBezTo>
                  <a:cubicBezTo>
                    <a:pt x="4115" y="9140"/>
                    <a:pt x="4299" y="9078"/>
                    <a:pt x="4437" y="8940"/>
                  </a:cubicBezTo>
                  <a:cubicBezTo>
                    <a:pt x="4704" y="8673"/>
                    <a:pt x="4704" y="8306"/>
                    <a:pt x="4670" y="7973"/>
                  </a:cubicBezTo>
                  <a:cubicBezTo>
                    <a:pt x="4537" y="5838"/>
                    <a:pt x="4370" y="3770"/>
                    <a:pt x="4170" y="1635"/>
                  </a:cubicBezTo>
                  <a:cubicBezTo>
                    <a:pt x="4103" y="1068"/>
                    <a:pt x="4037" y="467"/>
                    <a:pt x="3670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2" name="Google Shape;7305;p120">
              <a:extLst>
                <a:ext uri="{FF2B5EF4-FFF2-40B4-BE49-F238E27FC236}">
                  <a16:creationId xmlns:a16="http://schemas.microsoft.com/office/drawing/2014/main" id="{EFE667EF-0F39-BCC6-AA1A-E2F29FF84616}"/>
                </a:ext>
              </a:extLst>
            </p:cNvPr>
            <p:cNvSpPr/>
            <p:nvPr/>
          </p:nvSpPr>
          <p:spPr>
            <a:xfrm>
              <a:off x="3999895" y="1934881"/>
              <a:ext cx="58100" cy="33150"/>
            </a:xfrm>
            <a:custGeom>
              <a:avLst/>
              <a:gdLst/>
              <a:ahLst/>
              <a:cxnLst/>
              <a:rect l="l" t="t" r="r" b="b"/>
              <a:pathLst>
                <a:path w="2324" h="1326" extrusionOk="0">
                  <a:moveTo>
                    <a:pt x="1258" y="0"/>
                  </a:moveTo>
                  <a:cubicBezTo>
                    <a:pt x="1175" y="0"/>
                    <a:pt x="1086" y="14"/>
                    <a:pt x="989" y="41"/>
                  </a:cubicBezTo>
                  <a:cubicBezTo>
                    <a:pt x="622" y="141"/>
                    <a:pt x="89" y="875"/>
                    <a:pt x="89" y="875"/>
                  </a:cubicBezTo>
                  <a:cubicBezTo>
                    <a:pt x="0" y="1022"/>
                    <a:pt x="224" y="1326"/>
                    <a:pt x="829" y="1326"/>
                  </a:cubicBezTo>
                  <a:cubicBezTo>
                    <a:pt x="909" y="1326"/>
                    <a:pt x="996" y="1320"/>
                    <a:pt x="1089" y="1309"/>
                  </a:cubicBezTo>
                  <a:cubicBezTo>
                    <a:pt x="1890" y="1242"/>
                    <a:pt x="2323" y="942"/>
                    <a:pt x="2057" y="542"/>
                  </a:cubicBezTo>
                  <a:cubicBezTo>
                    <a:pt x="1818" y="197"/>
                    <a:pt x="1580" y="0"/>
                    <a:pt x="1258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3" name="Google Shape;7306;p120">
              <a:extLst>
                <a:ext uri="{FF2B5EF4-FFF2-40B4-BE49-F238E27FC236}">
                  <a16:creationId xmlns:a16="http://schemas.microsoft.com/office/drawing/2014/main" id="{765F24A2-F4AA-464B-8E15-A01D6EFA36F2}"/>
                </a:ext>
              </a:extLst>
            </p:cNvPr>
            <p:cNvSpPr/>
            <p:nvPr/>
          </p:nvSpPr>
          <p:spPr>
            <a:xfrm>
              <a:off x="4119745" y="1924481"/>
              <a:ext cx="45000" cy="32475"/>
            </a:xfrm>
            <a:custGeom>
              <a:avLst/>
              <a:gdLst/>
              <a:ahLst/>
              <a:cxnLst/>
              <a:rect l="l" t="t" r="r" b="b"/>
              <a:pathLst>
                <a:path w="1800" h="1299" extrusionOk="0">
                  <a:moveTo>
                    <a:pt x="835" y="0"/>
                  </a:moveTo>
                  <a:cubicBezTo>
                    <a:pt x="791" y="0"/>
                    <a:pt x="746" y="8"/>
                    <a:pt x="698" y="24"/>
                  </a:cubicBezTo>
                  <a:cubicBezTo>
                    <a:pt x="398" y="124"/>
                    <a:pt x="98" y="491"/>
                    <a:pt x="31" y="657"/>
                  </a:cubicBezTo>
                  <a:cubicBezTo>
                    <a:pt x="0" y="935"/>
                    <a:pt x="141" y="1298"/>
                    <a:pt x="690" y="1298"/>
                  </a:cubicBezTo>
                  <a:cubicBezTo>
                    <a:pt x="735" y="1298"/>
                    <a:pt x="782" y="1296"/>
                    <a:pt x="832" y="1291"/>
                  </a:cubicBezTo>
                  <a:cubicBezTo>
                    <a:pt x="1532" y="1158"/>
                    <a:pt x="1799" y="791"/>
                    <a:pt x="1499" y="491"/>
                  </a:cubicBezTo>
                  <a:cubicBezTo>
                    <a:pt x="1246" y="210"/>
                    <a:pt x="1065" y="0"/>
                    <a:pt x="83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4" name="Google Shape;7307;p120">
              <a:extLst>
                <a:ext uri="{FF2B5EF4-FFF2-40B4-BE49-F238E27FC236}">
                  <a16:creationId xmlns:a16="http://schemas.microsoft.com/office/drawing/2014/main" id="{F0D16AF0-A9F7-1A94-41D4-F151BA93B681}"/>
                </a:ext>
              </a:extLst>
            </p:cNvPr>
            <p:cNvSpPr/>
            <p:nvPr/>
          </p:nvSpPr>
          <p:spPr>
            <a:xfrm>
              <a:off x="4087695" y="1921506"/>
              <a:ext cx="43675" cy="98000"/>
            </a:xfrm>
            <a:custGeom>
              <a:avLst/>
              <a:gdLst/>
              <a:ahLst/>
              <a:cxnLst/>
              <a:rect l="l" t="t" r="r" b="b"/>
              <a:pathLst>
                <a:path w="1747" h="3920" extrusionOk="0">
                  <a:moveTo>
                    <a:pt x="642" y="1"/>
                  </a:moveTo>
                  <a:cubicBezTo>
                    <a:pt x="613" y="1"/>
                    <a:pt x="579" y="26"/>
                    <a:pt x="579" y="76"/>
                  </a:cubicBezTo>
                  <a:cubicBezTo>
                    <a:pt x="331" y="1040"/>
                    <a:pt x="517" y="2266"/>
                    <a:pt x="1301" y="2967"/>
                  </a:cubicBezTo>
                  <a:lnTo>
                    <a:pt x="1301" y="2967"/>
                  </a:lnTo>
                  <a:cubicBezTo>
                    <a:pt x="974" y="3222"/>
                    <a:pt x="623" y="3367"/>
                    <a:pt x="246" y="3512"/>
                  </a:cubicBezTo>
                  <a:cubicBezTo>
                    <a:pt x="1" y="3603"/>
                    <a:pt x="93" y="3920"/>
                    <a:pt x="265" y="3920"/>
                  </a:cubicBezTo>
                  <a:cubicBezTo>
                    <a:pt x="280" y="3920"/>
                    <a:pt x="296" y="3917"/>
                    <a:pt x="313" y="3912"/>
                  </a:cubicBezTo>
                  <a:cubicBezTo>
                    <a:pt x="813" y="3678"/>
                    <a:pt x="1247" y="3445"/>
                    <a:pt x="1647" y="3078"/>
                  </a:cubicBezTo>
                  <a:cubicBezTo>
                    <a:pt x="1747" y="2978"/>
                    <a:pt x="1680" y="2844"/>
                    <a:pt x="1613" y="2811"/>
                  </a:cubicBezTo>
                  <a:cubicBezTo>
                    <a:pt x="746" y="2177"/>
                    <a:pt x="746" y="1010"/>
                    <a:pt x="679" y="76"/>
                  </a:cubicBezTo>
                  <a:cubicBezTo>
                    <a:pt x="696" y="26"/>
                    <a:pt x="671" y="1"/>
                    <a:pt x="642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5" name="Google Shape;7308;p120">
              <a:extLst>
                <a:ext uri="{FF2B5EF4-FFF2-40B4-BE49-F238E27FC236}">
                  <a16:creationId xmlns:a16="http://schemas.microsoft.com/office/drawing/2014/main" id="{4893D8BA-533B-08BE-3B53-3B02210A8ECA}"/>
                </a:ext>
              </a:extLst>
            </p:cNvPr>
            <p:cNvSpPr/>
            <p:nvPr/>
          </p:nvSpPr>
          <p:spPr>
            <a:xfrm>
              <a:off x="4060470" y="2035981"/>
              <a:ext cx="61725" cy="34200"/>
            </a:xfrm>
            <a:custGeom>
              <a:avLst/>
              <a:gdLst/>
              <a:ahLst/>
              <a:cxnLst/>
              <a:rect l="l" t="t" r="r" b="b"/>
              <a:pathLst>
                <a:path w="2469" h="1368" extrusionOk="0">
                  <a:moveTo>
                    <a:pt x="2469" y="0"/>
                  </a:moveTo>
                  <a:lnTo>
                    <a:pt x="2469" y="0"/>
                  </a:lnTo>
                  <a:cubicBezTo>
                    <a:pt x="2020" y="39"/>
                    <a:pt x="1524" y="55"/>
                    <a:pt x="1057" y="55"/>
                  </a:cubicBezTo>
                  <a:cubicBezTo>
                    <a:pt x="727" y="55"/>
                    <a:pt x="410" y="47"/>
                    <a:pt x="134" y="33"/>
                  </a:cubicBezTo>
                  <a:lnTo>
                    <a:pt x="134" y="33"/>
                  </a:lnTo>
                  <a:cubicBezTo>
                    <a:pt x="1" y="901"/>
                    <a:pt x="401" y="1334"/>
                    <a:pt x="1135" y="1368"/>
                  </a:cubicBezTo>
                  <a:cubicBezTo>
                    <a:pt x="2135" y="1334"/>
                    <a:pt x="2369" y="667"/>
                    <a:pt x="2469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6" name="Google Shape;7309;p120">
              <a:extLst>
                <a:ext uri="{FF2B5EF4-FFF2-40B4-BE49-F238E27FC236}">
                  <a16:creationId xmlns:a16="http://schemas.microsoft.com/office/drawing/2014/main" id="{138FABC3-4CCD-19D5-B761-B83205734FE1}"/>
                </a:ext>
              </a:extLst>
            </p:cNvPr>
            <p:cNvSpPr/>
            <p:nvPr/>
          </p:nvSpPr>
          <p:spPr>
            <a:xfrm>
              <a:off x="3986245" y="1928681"/>
              <a:ext cx="71500" cy="40825"/>
            </a:xfrm>
            <a:custGeom>
              <a:avLst/>
              <a:gdLst/>
              <a:ahLst/>
              <a:cxnLst/>
              <a:rect l="l" t="t" r="r" b="b"/>
              <a:pathLst>
                <a:path w="2860" h="1633" extrusionOk="0">
                  <a:moveTo>
                    <a:pt x="1721" y="0"/>
                  </a:moveTo>
                  <a:cubicBezTo>
                    <a:pt x="1661" y="0"/>
                    <a:pt x="1599" y="7"/>
                    <a:pt x="1535" y="22"/>
                  </a:cubicBezTo>
                  <a:cubicBezTo>
                    <a:pt x="1202" y="122"/>
                    <a:pt x="935" y="356"/>
                    <a:pt x="668" y="623"/>
                  </a:cubicBezTo>
                  <a:cubicBezTo>
                    <a:pt x="534" y="623"/>
                    <a:pt x="468" y="623"/>
                    <a:pt x="334" y="556"/>
                  </a:cubicBezTo>
                  <a:cubicBezTo>
                    <a:pt x="268" y="556"/>
                    <a:pt x="201" y="656"/>
                    <a:pt x="268" y="689"/>
                  </a:cubicBezTo>
                  <a:cubicBezTo>
                    <a:pt x="334" y="790"/>
                    <a:pt x="434" y="790"/>
                    <a:pt x="534" y="823"/>
                  </a:cubicBezTo>
                  <a:cubicBezTo>
                    <a:pt x="501" y="856"/>
                    <a:pt x="501" y="890"/>
                    <a:pt x="501" y="890"/>
                  </a:cubicBezTo>
                  <a:cubicBezTo>
                    <a:pt x="334" y="890"/>
                    <a:pt x="168" y="890"/>
                    <a:pt x="34" y="956"/>
                  </a:cubicBezTo>
                  <a:cubicBezTo>
                    <a:pt x="1" y="956"/>
                    <a:pt x="1" y="1023"/>
                    <a:pt x="34" y="1056"/>
                  </a:cubicBezTo>
                  <a:lnTo>
                    <a:pt x="434" y="1056"/>
                  </a:lnTo>
                  <a:cubicBezTo>
                    <a:pt x="368" y="1123"/>
                    <a:pt x="368" y="1156"/>
                    <a:pt x="334" y="1190"/>
                  </a:cubicBezTo>
                  <a:cubicBezTo>
                    <a:pt x="301" y="1290"/>
                    <a:pt x="434" y="1290"/>
                    <a:pt x="468" y="1290"/>
                  </a:cubicBezTo>
                  <a:cubicBezTo>
                    <a:pt x="701" y="1056"/>
                    <a:pt x="935" y="823"/>
                    <a:pt x="1168" y="656"/>
                  </a:cubicBezTo>
                  <a:lnTo>
                    <a:pt x="1168" y="656"/>
                  </a:lnTo>
                  <a:cubicBezTo>
                    <a:pt x="1135" y="723"/>
                    <a:pt x="1135" y="823"/>
                    <a:pt x="1135" y="890"/>
                  </a:cubicBezTo>
                  <a:cubicBezTo>
                    <a:pt x="1135" y="1056"/>
                    <a:pt x="1168" y="1190"/>
                    <a:pt x="1302" y="1323"/>
                  </a:cubicBezTo>
                  <a:cubicBezTo>
                    <a:pt x="1335" y="1390"/>
                    <a:pt x="1368" y="1457"/>
                    <a:pt x="1468" y="1490"/>
                  </a:cubicBezTo>
                  <a:cubicBezTo>
                    <a:pt x="1594" y="1588"/>
                    <a:pt x="1731" y="1633"/>
                    <a:pt x="1865" y="1633"/>
                  </a:cubicBezTo>
                  <a:cubicBezTo>
                    <a:pt x="2052" y="1633"/>
                    <a:pt x="2233" y="1545"/>
                    <a:pt x="2369" y="1390"/>
                  </a:cubicBezTo>
                  <a:cubicBezTo>
                    <a:pt x="2503" y="1290"/>
                    <a:pt x="2536" y="1056"/>
                    <a:pt x="2536" y="890"/>
                  </a:cubicBezTo>
                  <a:lnTo>
                    <a:pt x="2536" y="723"/>
                  </a:lnTo>
                  <a:cubicBezTo>
                    <a:pt x="2603" y="790"/>
                    <a:pt x="2669" y="823"/>
                    <a:pt x="2703" y="890"/>
                  </a:cubicBezTo>
                  <a:cubicBezTo>
                    <a:pt x="2722" y="909"/>
                    <a:pt x="2745" y="917"/>
                    <a:pt x="2766" y="917"/>
                  </a:cubicBezTo>
                  <a:cubicBezTo>
                    <a:pt x="2817" y="917"/>
                    <a:pt x="2860" y="870"/>
                    <a:pt x="2836" y="823"/>
                  </a:cubicBezTo>
                  <a:cubicBezTo>
                    <a:pt x="2570" y="438"/>
                    <a:pt x="2198" y="0"/>
                    <a:pt x="1721" y="0"/>
                  </a:cubicBezTo>
                  <a:close/>
                </a:path>
              </a:pathLst>
            </a:custGeom>
            <a:solidFill>
              <a:srgbClr val="101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7" name="Google Shape;7310;p120">
              <a:extLst>
                <a:ext uri="{FF2B5EF4-FFF2-40B4-BE49-F238E27FC236}">
                  <a16:creationId xmlns:a16="http://schemas.microsoft.com/office/drawing/2014/main" id="{2FB2A990-7C82-2EFC-5F78-21929F8046CC}"/>
                </a:ext>
              </a:extLst>
            </p:cNvPr>
            <p:cNvSpPr/>
            <p:nvPr/>
          </p:nvSpPr>
          <p:spPr>
            <a:xfrm>
              <a:off x="4116345" y="1919681"/>
              <a:ext cx="57200" cy="37425"/>
            </a:xfrm>
            <a:custGeom>
              <a:avLst/>
              <a:gdLst/>
              <a:ahLst/>
              <a:cxnLst/>
              <a:rect l="l" t="t" r="r" b="b"/>
              <a:pathLst>
                <a:path w="2288" h="1497" extrusionOk="0">
                  <a:moveTo>
                    <a:pt x="972" y="1"/>
                  </a:moveTo>
                  <a:cubicBezTo>
                    <a:pt x="926" y="1"/>
                    <a:pt x="880" y="5"/>
                    <a:pt x="834" y="15"/>
                  </a:cubicBezTo>
                  <a:cubicBezTo>
                    <a:pt x="401" y="49"/>
                    <a:pt x="101" y="516"/>
                    <a:pt x="0" y="916"/>
                  </a:cubicBezTo>
                  <a:cubicBezTo>
                    <a:pt x="0" y="974"/>
                    <a:pt x="34" y="1010"/>
                    <a:pt x="69" y="1010"/>
                  </a:cubicBezTo>
                  <a:cubicBezTo>
                    <a:pt x="94" y="1010"/>
                    <a:pt x="120" y="991"/>
                    <a:pt x="134" y="949"/>
                  </a:cubicBezTo>
                  <a:cubicBezTo>
                    <a:pt x="234" y="783"/>
                    <a:pt x="301" y="683"/>
                    <a:pt x="401" y="516"/>
                  </a:cubicBezTo>
                  <a:lnTo>
                    <a:pt x="401" y="516"/>
                  </a:lnTo>
                  <a:cubicBezTo>
                    <a:pt x="334" y="716"/>
                    <a:pt x="334" y="916"/>
                    <a:pt x="434" y="1083"/>
                  </a:cubicBezTo>
                  <a:cubicBezTo>
                    <a:pt x="482" y="1325"/>
                    <a:pt x="653" y="1496"/>
                    <a:pt x="871" y="1496"/>
                  </a:cubicBezTo>
                  <a:cubicBezTo>
                    <a:pt x="953" y="1496"/>
                    <a:pt x="1043" y="1471"/>
                    <a:pt x="1135" y="1416"/>
                  </a:cubicBezTo>
                  <a:cubicBezTo>
                    <a:pt x="1401" y="1250"/>
                    <a:pt x="1502" y="916"/>
                    <a:pt x="1502" y="616"/>
                  </a:cubicBezTo>
                  <a:cubicBezTo>
                    <a:pt x="1602" y="716"/>
                    <a:pt x="1635" y="783"/>
                    <a:pt x="1735" y="849"/>
                  </a:cubicBezTo>
                  <a:cubicBezTo>
                    <a:pt x="1759" y="890"/>
                    <a:pt x="1793" y="907"/>
                    <a:pt x="1830" y="907"/>
                  </a:cubicBezTo>
                  <a:cubicBezTo>
                    <a:pt x="1943" y="907"/>
                    <a:pt x="2078" y="742"/>
                    <a:pt x="2002" y="616"/>
                  </a:cubicBezTo>
                  <a:cubicBezTo>
                    <a:pt x="2102" y="616"/>
                    <a:pt x="2135" y="582"/>
                    <a:pt x="2169" y="516"/>
                  </a:cubicBezTo>
                  <a:cubicBezTo>
                    <a:pt x="2287" y="516"/>
                    <a:pt x="2274" y="410"/>
                    <a:pt x="2176" y="410"/>
                  </a:cubicBezTo>
                  <a:cubicBezTo>
                    <a:pt x="2164" y="410"/>
                    <a:pt x="2150" y="412"/>
                    <a:pt x="2135" y="416"/>
                  </a:cubicBezTo>
                  <a:cubicBezTo>
                    <a:pt x="2069" y="482"/>
                    <a:pt x="2002" y="482"/>
                    <a:pt x="1935" y="516"/>
                  </a:cubicBezTo>
                  <a:lnTo>
                    <a:pt x="1902" y="482"/>
                  </a:lnTo>
                  <a:cubicBezTo>
                    <a:pt x="2002" y="382"/>
                    <a:pt x="2135" y="282"/>
                    <a:pt x="2102" y="115"/>
                  </a:cubicBezTo>
                  <a:cubicBezTo>
                    <a:pt x="2102" y="82"/>
                    <a:pt x="2069" y="82"/>
                    <a:pt x="2002" y="82"/>
                  </a:cubicBezTo>
                  <a:cubicBezTo>
                    <a:pt x="1902" y="115"/>
                    <a:pt x="1802" y="249"/>
                    <a:pt x="1735" y="349"/>
                  </a:cubicBezTo>
                  <a:cubicBezTo>
                    <a:pt x="1508" y="151"/>
                    <a:pt x="1234" y="1"/>
                    <a:pt x="972" y="1"/>
                  </a:cubicBezTo>
                  <a:close/>
                </a:path>
              </a:pathLst>
            </a:custGeom>
            <a:solidFill>
              <a:srgbClr val="101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8" name="Google Shape;7311;p120">
              <a:extLst>
                <a:ext uri="{FF2B5EF4-FFF2-40B4-BE49-F238E27FC236}">
                  <a16:creationId xmlns:a16="http://schemas.microsoft.com/office/drawing/2014/main" id="{7EA5D90C-3920-EE22-DCB3-D6ACE3C4C0F1}"/>
                </a:ext>
              </a:extLst>
            </p:cNvPr>
            <p:cNvSpPr/>
            <p:nvPr/>
          </p:nvSpPr>
          <p:spPr>
            <a:xfrm>
              <a:off x="3987320" y="1898281"/>
              <a:ext cx="68175" cy="21125"/>
            </a:xfrm>
            <a:custGeom>
              <a:avLst/>
              <a:gdLst/>
              <a:ahLst/>
              <a:cxnLst/>
              <a:rect l="l" t="t" r="r" b="b"/>
              <a:pathLst>
                <a:path w="2727" h="845" extrusionOk="0">
                  <a:moveTo>
                    <a:pt x="1573" y="0"/>
                  </a:moveTo>
                  <a:cubicBezTo>
                    <a:pt x="945" y="0"/>
                    <a:pt x="273" y="255"/>
                    <a:pt x="58" y="705"/>
                  </a:cubicBezTo>
                  <a:cubicBezTo>
                    <a:pt x="0" y="762"/>
                    <a:pt x="67" y="845"/>
                    <a:pt x="129" y="845"/>
                  </a:cubicBezTo>
                  <a:cubicBezTo>
                    <a:pt x="139" y="845"/>
                    <a:pt x="149" y="843"/>
                    <a:pt x="158" y="838"/>
                  </a:cubicBezTo>
                  <a:cubicBezTo>
                    <a:pt x="592" y="604"/>
                    <a:pt x="958" y="404"/>
                    <a:pt x="1425" y="404"/>
                  </a:cubicBezTo>
                  <a:cubicBezTo>
                    <a:pt x="1795" y="404"/>
                    <a:pt x="2164" y="575"/>
                    <a:pt x="2508" y="575"/>
                  </a:cubicBezTo>
                  <a:cubicBezTo>
                    <a:pt x="2536" y="575"/>
                    <a:pt x="2565" y="574"/>
                    <a:pt x="2593" y="571"/>
                  </a:cubicBezTo>
                  <a:cubicBezTo>
                    <a:pt x="2660" y="571"/>
                    <a:pt x="2726" y="504"/>
                    <a:pt x="2660" y="404"/>
                  </a:cubicBezTo>
                  <a:cubicBezTo>
                    <a:pt x="2439" y="128"/>
                    <a:pt x="2017" y="0"/>
                    <a:pt x="1573" y="0"/>
                  </a:cubicBezTo>
                  <a:close/>
                </a:path>
              </a:pathLst>
            </a:custGeom>
            <a:solidFill>
              <a:srgbClr val="101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79" name="Google Shape;7312;p120">
              <a:extLst>
                <a:ext uri="{FF2B5EF4-FFF2-40B4-BE49-F238E27FC236}">
                  <a16:creationId xmlns:a16="http://schemas.microsoft.com/office/drawing/2014/main" id="{C180DB91-B3CA-63C5-D7FE-70E91E7E8BDB}"/>
                </a:ext>
              </a:extLst>
            </p:cNvPr>
            <p:cNvSpPr/>
            <p:nvPr/>
          </p:nvSpPr>
          <p:spPr>
            <a:xfrm>
              <a:off x="4114845" y="1890756"/>
              <a:ext cx="51550" cy="17875"/>
            </a:xfrm>
            <a:custGeom>
              <a:avLst/>
              <a:gdLst/>
              <a:ahLst/>
              <a:cxnLst/>
              <a:rect l="l" t="t" r="r" b="b"/>
              <a:pathLst>
                <a:path w="2062" h="715" extrusionOk="0">
                  <a:moveTo>
                    <a:pt x="1413" y="0"/>
                  </a:moveTo>
                  <a:cubicBezTo>
                    <a:pt x="1226" y="0"/>
                    <a:pt x="1036" y="40"/>
                    <a:pt x="861" y="72"/>
                  </a:cubicBezTo>
                  <a:cubicBezTo>
                    <a:pt x="561" y="138"/>
                    <a:pt x="60" y="238"/>
                    <a:pt x="27" y="639"/>
                  </a:cubicBezTo>
                  <a:cubicBezTo>
                    <a:pt x="0" y="666"/>
                    <a:pt x="39" y="714"/>
                    <a:pt x="90" y="714"/>
                  </a:cubicBezTo>
                  <a:cubicBezTo>
                    <a:pt x="102" y="714"/>
                    <a:pt x="114" y="712"/>
                    <a:pt x="127" y="705"/>
                  </a:cubicBezTo>
                  <a:cubicBezTo>
                    <a:pt x="461" y="639"/>
                    <a:pt x="728" y="505"/>
                    <a:pt x="1128" y="472"/>
                  </a:cubicBezTo>
                  <a:lnTo>
                    <a:pt x="1628" y="472"/>
                  </a:lnTo>
                  <a:cubicBezTo>
                    <a:pt x="1678" y="489"/>
                    <a:pt x="1720" y="497"/>
                    <a:pt x="1770" y="497"/>
                  </a:cubicBezTo>
                  <a:cubicBezTo>
                    <a:pt x="1820" y="497"/>
                    <a:pt x="1878" y="489"/>
                    <a:pt x="1962" y="472"/>
                  </a:cubicBezTo>
                  <a:cubicBezTo>
                    <a:pt x="2029" y="405"/>
                    <a:pt x="2062" y="238"/>
                    <a:pt x="1995" y="205"/>
                  </a:cubicBezTo>
                  <a:cubicBezTo>
                    <a:pt x="1821" y="48"/>
                    <a:pt x="1619" y="0"/>
                    <a:pt x="1413" y="0"/>
                  </a:cubicBezTo>
                  <a:close/>
                </a:path>
              </a:pathLst>
            </a:custGeom>
            <a:solidFill>
              <a:srgbClr val="101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0" name="Google Shape;7313;p120">
              <a:extLst>
                <a:ext uri="{FF2B5EF4-FFF2-40B4-BE49-F238E27FC236}">
                  <a16:creationId xmlns:a16="http://schemas.microsoft.com/office/drawing/2014/main" id="{B86CBB63-9B5A-EA47-3F01-E4A07CCF712E}"/>
                </a:ext>
              </a:extLst>
            </p:cNvPr>
            <p:cNvSpPr/>
            <p:nvPr/>
          </p:nvSpPr>
          <p:spPr>
            <a:xfrm>
              <a:off x="3842820" y="1739656"/>
              <a:ext cx="300225" cy="871750"/>
            </a:xfrm>
            <a:custGeom>
              <a:avLst/>
              <a:gdLst/>
              <a:ahLst/>
              <a:cxnLst/>
              <a:rect l="l" t="t" r="r" b="b"/>
              <a:pathLst>
                <a:path w="12009" h="34870" extrusionOk="0">
                  <a:moveTo>
                    <a:pt x="5354" y="0"/>
                  </a:moveTo>
                  <a:cubicBezTo>
                    <a:pt x="5184" y="0"/>
                    <a:pt x="5031" y="15"/>
                    <a:pt x="4904" y="45"/>
                  </a:cubicBezTo>
                  <a:cubicBezTo>
                    <a:pt x="3203" y="411"/>
                    <a:pt x="1668" y="1546"/>
                    <a:pt x="868" y="3080"/>
                  </a:cubicBezTo>
                  <a:cubicBezTo>
                    <a:pt x="34" y="4681"/>
                    <a:pt x="0" y="6549"/>
                    <a:pt x="0" y="8351"/>
                  </a:cubicBezTo>
                  <a:cubicBezTo>
                    <a:pt x="0" y="11519"/>
                    <a:pt x="0" y="14722"/>
                    <a:pt x="1034" y="17724"/>
                  </a:cubicBezTo>
                  <a:cubicBezTo>
                    <a:pt x="1902" y="20192"/>
                    <a:pt x="3436" y="22361"/>
                    <a:pt x="4237" y="24796"/>
                  </a:cubicBezTo>
                  <a:cubicBezTo>
                    <a:pt x="5271" y="28031"/>
                    <a:pt x="4937" y="31467"/>
                    <a:pt x="4570" y="34869"/>
                  </a:cubicBezTo>
                  <a:cubicBezTo>
                    <a:pt x="5404" y="34736"/>
                    <a:pt x="6038" y="34036"/>
                    <a:pt x="6338" y="33268"/>
                  </a:cubicBezTo>
                  <a:cubicBezTo>
                    <a:pt x="6672" y="32534"/>
                    <a:pt x="6705" y="31701"/>
                    <a:pt x="6738" y="30867"/>
                  </a:cubicBezTo>
                  <a:cubicBezTo>
                    <a:pt x="6839" y="32201"/>
                    <a:pt x="7072" y="33535"/>
                    <a:pt x="7439" y="34803"/>
                  </a:cubicBezTo>
                  <a:cubicBezTo>
                    <a:pt x="7476" y="34810"/>
                    <a:pt x="7513" y="34814"/>
                    <a:pt x="7548" y="34814"/>
                  </a:cubicBezTo>
                  <a:cubicBezTo>
                    <a:pt x="7988" y="34814"/>
                    <a:pt x="8285" y="34265"/>
                    <a:pt x="8440" y="33802"/>
                  </a:cubicBezTo>
                  <a:cubicBezTo>
                    <a:pt x="9440" y="30700"/>
                    <a:pt x="8907" y="27297"/>
                    <a:pt x="8406" y="24095"/>
                  </a:cubicBezTo>
                  <a:lnTo>
                    <a:pt x="8406" y="24095"/>
                  </a:lnTo>
                  <a:cubicBezTo>
                    <a:pt x="9440" y="25596"/>
                    <a:pt x="10508" y="27097"/>
                    <a:pt x="11575" y="28565"/>
                  </a:cubicBezTo>
                  <a:cubicBezTo>
                    <a:pt x="12009" y="22227"/>
                    <a:pt x="6405" y="20292"/>
                    <a:pt x="4870" y="12887"/>
                  </a:cubicBezTo>
                  <a:cubicBezTo>
                    <a:pt x="4570" y="11586"/>
                    <a:pt x="4437" y="6883"/>
                    <a:pt x="4337" y="5548"/>
                  </a:cubicBezTo>
                  <a:cubicBezTo>
                    <a:pt x="4323" y="5396"/>
                    <a:pt x="4309" y="5244"/>
                    <a:pt x="4295" y="5091"/>
                  </a:cubicBezTo>
                  <a:lnTo>
                    <a:pt x="4295" y="5091"/>
                  </a:lnTo>
                  <a:cubicBezTo>
                    <a:pt x="6233" y="3542"/>
                    <a:pt x="10107" y="3162"/>
                    <a:pt x="9674" y="2079"/>
                  </a:cubicBezTo>
                  <a:cubicBezTo>
                    <a:pt x="9171" y="895"/>
                    <a:pt x="6697" y="0"/>
                    <a:pt x="5354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1" name="Google Shape;7314;p120">
              <a:extLst>
                <a:ext uri="{FF2B5EF4-FFF2-40B4-BE49-F238E27FC236}">
                  <a16:creationId xmlns:a16="http://schemas.microsoft.com/office/drawing/2014/main" id="{0338FC98-1C6A-8602-B773-E851C688C364}"/>
                </a:ext>
              </a:extLst>
            </p:cNvPr>
            <p:cNvSpPr/>
            <p:nvPr/>
          </p:nvSpPr>
          <p:spPr>
            <a:xfrm>
              <a:off x="4048795" y="1765781"/>
              <a:ext cx="120100" cy="108425"/>
            </a:xfrm>
            <a:custGeom>
              <a:avLst/>
              <a:gdLst/>
              <a:ahLst/>
              <a:cxnLst/>
              <a:rect l="l" t="t" r="r" b="b"/>
              <a:pathLst>
                <a:path w="4804" h="4337" extrusionOk="0">
                  <a:moveTo>
                    <a:pt x="768" y="0"/>
                  </a:moveTo>
                  <a:cubicBezTo>
                    <a:pt x="1" y="0"/>
                    <a:pt x="301" y="367"/>
                    <a:pt x="701" y="601"/>
                  </a:cubicBezTo>
                  <a:cubicBezTo>
                    <a:pt x="1135" y="868"/>
                    <a:pt x="1502" y="1735"/>
                    <a:pt x="2836" y="2002"/>
                  </a:cubicBezTo>
                  <a:cubicBezTo>
                    <a:pt x="4157" y="2233"/>
                    <a:pt x="4792" y="4165"/>
                    <a:pt x="4804" y="4332"/>
                  </a:cubicBezTo>
                  <a:lnTo>
                    <a:pt x="4804" y="4332"/>
                  </a:lnTo>
                  <a:lnTo>
                    <a:pt x="4704" y="1868"/>
                  </a:lnTo>
                  <a:lnTo>
                    <a:pt x="4204" y="1068"/>
                  </a:lnTo>
                  <a:lnTo>
                    <a:pt x="3303" y="267"/>
                  </a:lnTo>
                  <a:cubicBezTo>
                    <a:pt x="3303" y="267"/>
                    <a:pt x="1502" y="0"/>
                    <a:pt x="768" y="0"/>
                  </a:cubicBezTo>
                  <a:close/>
                  <a:moveTo>
                    <a:pt x="4804" y="4332"/>
                  </a:moveTo>
                  <a:lnTo>
                    <a:pt x="4804" y="4337"/>
                  </a:lnTo>
                  <a:cubicBezTo>
                    <a:pt x="4804" y="4335"/>
                    <a:pt x="4804" y="4334"/>
                    <a:pt x="4804" y="4332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2" name="Google Shape;7315;p120">
              <a:extLst>
                <a:ext uri="{FF2B5EF4-FFF2-40B4-BE49-F238E27FC236}">
                  <a16:creationId xmlns:a16="http://schemas.microsoft.com/office/drawing/2014/main" id="{EBAA8855-88DD-C0E1-F00D-F1CD0A79C611}"/>
                </a:ext>
              </a:extLst>
            </p:cNvPr>
            <p:cNvSpPr/>
            <p:nvPr/>
          </p:nvSpPr>
          <p:spPr>
            <a:xfrm>
              <a:off x="3916195" y="1807931"/>
              <a:ext cx="66750" cy="128825"/>
            </a:xfrm>
            <a:custGeom>
              <a:avLst/>
              <a:gdLst/>
              <a:ahLst/>
              <a:cxnLst/>
              <a:rect l="l" t="t" r="r" b="b"/>
              <a:pathLst>
                <a:path w="2670" h="5153" extrusionOk="0">
                  <a:moveTo>
                    <a:pt x="2559" y="1"/>
                  </a:moveTo>
                  <a:cubicBezTo>
                    <a:pt x="2525" y="1"/>
                    <a:pt x="2480" y="15"/>
                    <a:pt x="2436" y="15"/>
                  </a:cubicBezTo>
                  <a:cubicBezTo>
                    <a:pt x="1735" y="216"/>
                    <a:pt x="1135" y="816"/>
                    <a:pt x="768" y="1483"/>
                  </a:cubicBezTo>
                  <a:cubicBezTo>
                    <a:pt x="401" y="2150"/>
                    <a:pt x="168" y="2884"/>
                    <a:pt x="1" y="3618"/>
                  </a:cubicBezTo>
                  <a:lnTo>
                    <a:pt x="1102" y="5153"/>
                  </a:lnTo>
                  <a:cubicBezTo>
                    <a:pt x="1468" y="4852"/>
                    <a:pt x="1802" y="4552"/>
                    <a:pt x="2102" y="4218"/>
                  </a:cubicBezTo>
                  <a:cubicBezTo>
                    <a:pt x="2236" y="4085"/>
                    <a:pt x="2336" y="3952"/>
                    <a:pt x="2436" y="3785"/>
                  </a:cubicBezTo>
                  <a:cubicBezTo>
                    <a:pt x="2569" y="3551"/>
                    <a:pt x="2569" y="3318"/>
                    <a:pt x="2603" y="3051"/>
                  </a:cubicBezTo>
                  <a:cubicBezTo>
                    <a:pt x="2669" y="2117"/>
                    <a:pt x="2669" y="1116"/>
                    <a:pt x="2636" y="149"/>
                  </a:cubicBezTo>
                  <a:cubicBezTo>
                    <a:pt x="2636" y="116"/>
                    <a:pt x="2636" y="15"/>
                    <a:pt x="2603" y="15"/>
                  </a:cubicBezTo>
                  <a:cubicBezTo>
                    <a:pt x="2591" y="4"/>
                    <a:pt x="2577" y="1"/>
                    <a:pt x="255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3" name="Google Shape;7316;p120">
              <a:extLst>
                <a:ext uri="{FF2B5EF4-FFF2-40B4-BE49-F238E27FC236}">
                  <a16:creationId xmlns:a16="http://schemas.microsoft.com/office/drawing/2014/main" id="{2EED2888-24B4-7F44-C8DB-9A163605AEF3}"/>
                </a:ext>
              </a:extLst>
            </p:cNvPr>
            <p:cNvSpPr/>
            <p:nvPr/>
          </p:nvSpPr>
          <p:spPr>
            <a:xfrm>
              <a:off x="3788620" y="2726456"/>
              <a:ext cx="287725" cy="83025"/>
            </a:xfrm>
            <a:custGeom>
              <a:avLst/>
              <a:gdLst/>
              <a:ahLst/>
              <a:cxnLst/>
              <a:rect l="l" t="t" r="r" b="b"/>
              <a:pathLst>
                <a:path w="11509" h="3321" extrusionOk="0">
                  <a:moveTo>
                    <a:pt x="234" y="1"/>
                  </a:moveTo>
                  <a:cubicBezTo>
                    <a:pt x="234" y="301"/>
                    <a:pt x="0" y="1635"/>
                    <a:pt x="0" y="1635"/>
                  </a:cubicBezTo>
                  <a:cubicBezTo>
                    <a:pt x="0" y="1635"/>
                    <a:pt x="1201" y="2469"/>
                    <a:pt x="5771" y="2970"/>
                  </a:cubicBezTo>
                  <a:cubicBezTo>
                    <a:pt x="8226" y="3254"/>
                    <a:pt x="9666" y="3321"/>
                    <a:pt x="10475" y="3321"/>
                  </a:cubicBezTo>
                  <a:cubicBezTo>
                    <a:pt x="11183" y="3321"/>
                    <a:pt x="11408" y="3270"/>
                    <a:pt x="11408" y="3270"/>
                  </a:cubicBezTo>
                  <a:lnTo>
                    <a:pt x="11508" y="1102"/>
                  </a:lnTo>
                  <a:lnTo>
                    <a:pt x="234" y="1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4" name="Google Shape;7317;p120">
              <a:extLst>
                <a:ext uri="{FF2B5EF4-FFF2-40B4-BE49-F238E27FC236}">
                  <a16:creationId xmlns:a16="http://schemas.microsoft.com/office/drawing/2014/main" id="{796A1413-9CDD-50BF-B43B-9EEDD73B2779}"/>
                </a:ext>
              </a:extLst>
            </p:cNvPr>
            <p:cNvSpPr/>
            <p:nvPr/>
          </p:nvSpPr>
          <p:spPr>
            <a:xfrm>
              <a:off x="3900345" y="2633556"/>
              <a:ext cx="116550" cy="76975"/>
            </a:xfrm>
            <a:custGeom>
              <a:avLst/>
              <a:gdLst/>
              <a:ahLst/>
              <a:cxnLst/>
              <a:rect l="l" t="t" r="r" b="b"/>
              <a:pathLst>
                <a:path w="4662" h="3079" extrusionOk="0">
                  <a:moveTo>
                    <a:pt x="4523" y="1"/>
                  </a:moveTo>
                  <a:cubicBezTo>
                    <a:pt x="4507" y="1"/>
                    <a:pt x="4489" y="5"/>
                    <a:pt x="4471" y="14"/>
                  </a:cubicBezTo>
                  <a:cubicBezTo>
                    <a:pt x="3637" y="348"/>
                    <a:pt x="2836" y="981"/>
                    <a:pt x="2069" y="1448"/>
                  </a:cubicBezTo>
                  <a:cubicBezTo>
                    <a:pt x="1335" y="1882"/>
                    <a:pt x="668" y="2316"/>
                    <a:pt x="68" y="2883"/>
                  </a:cubicBezTo>
                  <a:cubicBezTo>
                    <a:pt x="1" y="2950"/>
                    <a:pt x="1" y="2950"/>
                    <a:pt x="1" y="2983"/>
                  </a:cubicBezTo>
                  <a:lnTo>
                    <a:pt x="1" y="3016"/>
                  </a:lnTo>
                  <a:cubicBezTo>
                    <a:pt x="1" y="3050"/>
                    <a:pt x="68" y="3050"/>
                    <a:pt x="101" y="3050"/>
                  </a:cubicBezTo>
                  <a:cubicBezTo>
                    <a:pt x="132" y="3070"/>
                    <a:pt x="153" y="3078"/>
                    <a:pt x="168" y="3078"/>
                  </a:cubicBezTo>
                  <a:cubicBezTo>
                    <a:pt x="201" y="3078"/>
                    <a:pt x="201" y="3039"/>
                    <a:pt x="201" y="3016"/>
                  </a:cubicBezTo>
                  <a:cubicBezTo>
                    <a:pt x="201" y="3016"/>
                    <a:pt x="201" y="3017"/>
                    <a:pt x="202" y="3017"/>
                  </a:cubicBezTo>
                  <a:cubicBezTo>
                    <a:pt x="254" y="3017"/>
                    <a:pt x="4273" y="513"/>
                    <a:pt x="4604" y="214"/>
                  </a:cubicBezTo>
                  <a:cubicBezTo>
                    <a:pt x="4662" y="157"/>
                    <a:pt x="4620" y="1"/>
                    <a:pt x="4523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5" name="Google Shape;7318;p120">
              <a:extLst>
                <a:ext uri="{FF2B5EF4-FFF2-40B4-BE49-F238E27FC236}">
                  <a16:creationId xmlns:a16="http://schemas.microsoft.com/office/drawing/2014/main" id="{DCE5887F-548C-60FC-78B7-8B56444543C5}"/>
                </a:ext>
              </a:extLst>
            </p:cNvPr>
            <p:cNvSpPr/>
            <p:nvPr/>
          </p:nvSpPr>
          <p:spPr>
            <a:xfrm>
              <a:off x="3855895" y="2351356"/>
              <a:ext cx="76175" cy="118625"/>
            </a:xfrm>
            <a:custGeom>
              <a:avLst/>
              <a:gdLst/>
              <a:ahLst/>
              <a:cxnLst/>
              <a:rect l="l" t="t" r="r" b="b"/>
              <a:pathLst>
                <a:path w="3047" h="4745" extrusionOk="0">
                  <a:moveTo>
                    <a:pt x="2943" y="0"/>
                  </a:moveTo>
                  <a:cubicBezTo>
                    <a:pt x="2909" y="0"/>
                    <a:pt x="2880" y="19"/>
                    <a:pt x="2880" y="61"/>
                  </a:cubicBezTo>
                  <a:cubicBezTo>
                    <a:pt x="2546" y="1929"/>
                    <a:pt x="1746" y="3430"/>
                    <a:pt x="144" y="4464"/>
                  </a:cubicBezTo>
                  <a:cubicBezTo>
                    <a:pt x="0" y="4579"/>
                    <a:pt x="55" y="4744"/>
                    <a:pt x="159" y="4744"/>
                  </a:cubicBezTo>
                  <a:cubicBezTo>
                    <a:pt x="175" y="4744"/>
                    <a:pt x="193" y="4740"/>
                    <a:pt x="211" y="4731"/>
                  </a:cubicBezTo>
                  <a:cubicBezTo>
                    <a:pt x="1746" y="3730"/>
                    <a:pt x="3047" y="1995"/>
                    <a:pt x="3047" y="94"/>
                  </a:cubicBezTo>
                  <a:cubicBezTo>
                    <a:pt x="3047" y="36"/>
                    <a:pt x="2990" y="0"/>
                    <a:pt x="2943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6" name="Google Shape;7319;p120">
              <a:extLst>
                <a:ext uri="{FF2B5EF4-FFF2-40B4-BE49-F238E27FC236}">
                  <a16:creationId xmlns:a16="http://schemas.microsoft.com/office/drawing/2014/main" id="{41599EA7-61EA-357C-A243-299A140E97E5}"/>
                </a:ext>
              </a:extLst>
            </p:cNvPr>
            <p:cNvSpPr/>
            <p:nvPr/>
          </p:nvSpPr>
          <p:spPr>
            <a:xfrm>
              <a:off x="3812740" y="4362637"/>
              <a:ext cx="218516" cy="65880"/>
            </a:xfrm>
            <a:custGeom>
              <a:avLst/>
              <a:gdLst/>
              <a:ahLst/>
              <a:cxnLst/>
              <a:rect l="l" t="t" r="r" b="b"/>
              <a:pathLst>
                <a:path w="8307" h="2636" extrusionOk="0">
                  <a:moveTo>
                    <a:pt x="3403" y="1"/>
                  </a:moveTo>
                  <a:cubicBezTo>
                    <a:pt x="3403" y="1"/>
                    <a:pt x="3195" y="468"/>
                    <a:pt x="1996" y="468"/>
                  </a:cubicBezTo>
                  <a:cubicBezTo>
                    <a:pt x="1529" y="468"/>
                    <a:pt x="913" y="397"/>
                    <a:pt x="100" y="201"/>
                  </a:cubicBezTo>
                  <a:lnTo>
                    <a:pt x="0" y="2369"/>
                  </a:lnTo>
                  <a:lnTo>
                    <a:pt x="7873" y="2636"/>
                  </a:lnTo>
                  <a:cubicBezTo>
                    <a:pt x="7873" y="2636"/>
                    <a:pt x="8306" y="2102"/>
                    <a:pt x="7739" y="1935"/>
                  </a:cubicBezTo>
                  <a:cubicBezTo>
                    <a:pt x="7205" y="1769"/>
                    <a:pt x="3403" y="1"/>
                    <a:pt x="340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7" name="Google Shape;7320;p120">
              <a:extLst>
                <a:ext uri="{FF2B5EF4-FFF2-40B4-BE49-F238E27FC236}">
                  <a16:creationId xmlns:a16="http://schemas.microsoft.com/office/drawing/2014/main" id="{CAA8F26A-E45A-DA59-C8E2-73876A74CCD2}"/>
                </a:ext>
              </a:extLst>
            </p:cNvPr>
            <p:cNvSpPr/>
            <p:nvPr/>
          </p:nvSpPr>
          <p:spPr>
            <a:xfrm>
              <a:off x="3815371" y="4347641"/>
              <a:ext cx="97434" cy="50035"/>
            </a:xfrm>
            <a:custGeom>
              <a:avLst/>
              <a:gdLst/>
              <a:ahLst/>
              <a:cxnLst/>
              <a:rect l="l" t="t" r="r" b="b"/>
              <a:pathLst>
                <a:path w="3704" h="2002" extrusionOk="0">
                  <a:moveTo>
                    <a:pt x="0" y="0"/>
                  </a:moveTo>
                  <a:lnTo>
                    <a:pt x="0" y="801"/>
                  </a:lnTo>
                  <a:lnTo>
                    <a:pt x="1735" y="2002"/>
                  </a:lnTo>
                  <a:lnTo>
                    <a:pt x="3069" y="1835"/>
                  </a:lnTo>
                  <a:lnTo>
                    <a:pt x="3703" y="1168"/>
                  </a:lnTo>
                  <a:lnTo>
                    <a:pt x="3603" y="1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89" name="Google Shape;7321;p120">
              <a:extLst>
                <a:ext uri="{FF2B5EF4-FFF2-40B4-BE49-F238E27FC236}">
                  <a16:creationId xmlns:a16="http://schemas.microsoft.com/office/drawing/2014/main" id="{46859FEE-46F1-A5C0-11E0-7B246ED58C41}"/>
                </a:ext>
              </a:extLst>
            </p:cNvPr>
            <p:cNvSpPr/>
            <p:nvPr/>
          </p:nvSpPr>
          <p:spPr>
            <a:xfrm>
              <a:off x="4359845" y="4362631"/>
              <a:ext cx="206850" cy="65900"/>
            </a:xfrm>
            <a:custGeom>
              <a:avLst/>
              <a:gdLst/>
              <a:ahLst/>
              <a:cxnLst/>
              <a:rect l="l" t="t" r="r" b="b"/>
              <a:pathLst>
                <a:path w="8274" h="2636" extrusionOk="0">
                  <a:moveTo>
                    <a:pt x="3403" y="1"/>
                  </a:moveTo>
                  <a:cubicBezTo>
                    <a:pt x="3403" y="1"/>
                    <a:pt x="3196" y="468"/>
                    <a:pt x="1984" y="468"/>
                  </a:cubicBezTo>
                  <a:cubicBezTo>
                    <a:pt x="1513" y="468"/>
                    <a:pt x="889" y="397"/>
                    <a:pt x="67" y="201"/>
                  </a:cubicBezTo>
                  <a:lnTo>
                    <a:pt x="1" y="2369"/>
                  </a:lnTo>
                  <a:lnTo>
                    <a:pt x="7873" y="2636"/>
                  </a:lnTo>
                  <a:cubicBezTo>
                    <a:pt x="7873" y="2636"/>
                    <a:pt x="8273" y="2102"/>
                    <a:pt x="7740" y="1935"/>
                  </a:cubicBezTo>
                  <a:cubicBezTo>
                    <a:pt x="7206" y="1769"/>
                    <a:pt x="3403" y="1"/>
                    <a:pt x="3403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0" name="Google Shape;7322;p120">
              <a:extLst>
                <a:ext uri="{FF2B5EF4-FFF2-40B4-BE49-F238E27FC236}">
                  <a16:creationId xmlns:a16="http://schemas.microsoft.com/office/drawing/2014/main" id="{594D74A7-C1CE-A7B4-82C6-FB74BD405BC3}"/>
                </a:ext>
              </a:extLst>
            </p:cNvPr>
            <p:cNvSpPr/>
            <p:nvPr/>
          </p:nvSpPr>
          <p:spPr>
            <a:xfrm>
              <a:off x="4359845" y="4351781"/>
              <a:ext cx="89250" cy="40125"/>
            </a:xfrm>
            <a:custGeom>
              <a:avLst/>
              <a:gdLst/>
              <a:ahLst/>
              <a:cxnLst/>
              <a:rect l="l" t="t" r="r" b="b"/>
              <a:pathLst>
                <a:path w="3570" h="1605" extrusionOk="0">
                  <a:moveTo>
                    <a:pt x="1" y="1"/>
                  </a:moveTo>
                  <a:lnTo>
                    <a:pt x="67" y="635"/>
                  </a:lnTo>
                  <a:lnTo>
                    <a:pt x="1001" y="1302"/>
                  </a:lnTo>
                  <a:cubicBezTo>
                    <a:pt x="1001" y="1302"/>
                    <a:pt x="2212" y="1604"/>
                    <a:pt x="2385" y="1604"/>
                  </a:cubicBezTo>
                  <a:cubicBezTo>
                    <a:pt x="2393" y="1604"/>
                    <a:pt x="2399" y="1604"/>
                    <a:pt x="2402" y="1602"/>
                  </a:cubicBezTo>
                  <a:lnTo>
                    <a:pt x="3570" y="1002"/>
                  </a:lnTo>
                  <a:lnTo>
                    <a:pt x="3503" y="34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1" name="Google Shape;7323;p120">
              <a:extLst>
                <a:ext uri="{FF2B5EF4-FFF2-40B4-BE49-F238E27FC236}">
                  <a16:creationId xmlns:a16="http://schemas.microsoft.com/office/drawing/2014/main" id="{F62802EA-864E-FADF-75FA-C5C4FF5D576E}"/>
                </a:ext>
              </a:extLst>
            </p:cNvPr>
            <p:cNvSpPr/>
            <p:nvPr/>
          </p:nvSpPr>
          <p:spPr>
            <a:xfrm>
              <a:off x="3956220" y="1877056"/>
              <a:ext cx="145975" cy="131900"/>
            </a:xfrm>
            <a:custGeom>
              <a:avLst/>
              <a:gdLst/>
              <a:ahLst/>
              <a:cxnLst/>
              <a:rect l="l" t="t" r="r" b="b"/>
              <a:pathLst>
                <a:path w="5839" h="5276" extrusionOk="0">
                  <a:moveTo>
                    <a:pt x="2960" y="1"/>
                  </a:moveTo>
                  <a:cubicBezTo>
                    <a:pt x="2864" y="1"/>
                    <a:pt x="2768" y="7"/>
                    <a:pt x="2669" y="19"/>
                  </a:cubicBezTo>
                  <a:cubicBezTo>
                    <a:pt x="1369" y="186"/>
                    <a:pt x="1" y="1287"/>
                    <a:pt x="134" y="2721"/>
                  </a:cubicBezTo>
                  <a:cubicBezTo>
                    <a:pt x="201" y="3588"/>
                    <a:pt x="902" y="4789"/>
                    <a:pt x="1836" y="4956"/>
                  </a:cubicBezTo>
                  <a:cubicBezTo>
                    <a:pt x="2181" y="5159"/>
                    <a:pt x="2587" y="5276"/>
                    <a:pt x="3003" y="5276"/>
                  </a:cubicBezTo>
                  <a:cubicBezTo>
                    <a:pt x="3271" y="5276"/>
                    <a:pt x="3542" y="5227"/>
                    <a:pt x="3804" y="5123"/>
                  </a:cubicBezTo>
                  <a:cubicBezTo>
                    <a:pt x="5038" y="4689"/>
                    <a:pt x="5838" y="3422"/>
                    <a:pt x="5471" y="2087"/>
                  </a:cubicBezTo>
                  <a:cubicBezTo>
                    <a:pt x="5101" y="944"/>
                    <a:pt x="4157" y="1"/>
                    <a:pt x="2960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2" name="Google Shape;7324;p120">
              <a:extLst>
                <a:ext uri="{FF2B5EF4-FFF2-40B4-BE49-F238E27FC236}">
                  <a16:creationId xmlns:a16="http://schemas.microsoft.com/office/drawing/2014/main" id="{1C54EA7B-61C4-27D4-4B4E-4FC8338E78D6}"/>
                </a:ext>
              </a:extLst>
            </p:cNvPr>
            <p:cNvSpPr/>
            <p:nvPr/>
          </p:nvSpPr>
          <p:spPr>
            <a:xfrm>
              <a:off x="4103845" y="1879656"/>
              <a:ext cx="115850" cy="116525"/>
            </a:xfrm>
            <a:custGeom>
              <a:avLst/>
              <a:gdLst/>
              <a:ahLst/>
              <a:cxnLst/>
              <a:rect l="l" t="t" r="r" b="b"/>
              <a:pathLst>
                <a:path w="4634" h="4661" extrusionOk="0">
                  <a:moveTo>
                    <a:pt x="2149" y="0"/>
                  </a:moveTo>
                  <a:cubicBezTo>
                    <a:pt x="1837" y="0"/>
                    <a:pt x="1505" y="96"/>
                    <a:pt x="1168" y="315"/>
                  </a:cubicBezTo>
                  <a:cubicBezTo>
                    <a:pt x="334" y="916"/>
                    <a:pt x="0" y="2117"/>
                    <a:pt x="300" y="3084"/>
                  </a:cubicBezTo>
                  <a:cubicBezTo>
                    <a:pt x="497" y="3804"/>
                    <a:pt x="1206" y="4619"/>
                    <a:pt x="1957" y="4619"/>
                  </a:cubicBezTo>
                  <a:cubicBezTo>
                    <a:pt x="1972" y="4619"/>
                    <a:pt x="1987" y="4619"/>
                    <a:pt x="2002" y="4619"/>
                  </a:cubicBezTo>
                  <a:cubicBezTo>
                    <a:pt x="2121" y="4647"/>
                    <a:pt x="2240" y="4661"/>
                    <a:pt x="2357" y="4661"/>
                  </a:cubicBezTo>
                  <a:cubicBezTo>
                    <a:pt x="3064" y="4661"/>
                    <a:pt x="3717" y="4171"/>
                    <a:pt x="4003" y="3484"/>
                  </a:cubicBezTo>
                  <a:cubicBezTo>
                    <a:pt x="4634" y="2058"/>
                    <a:pt x="3596" y="0"/>
                    <a:pt x="2149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3" name="Google Shape;7325;p120">
              <a:extLst>
                <a:ext uri="{FF2B5EF4-FFF2-40B4-BE49-F238E27FC236}">
                  <a16:creationId xmlns:a16="http://schemas.microsoft.com/office/drawing/2014/main" id="{617A74E2-256C-0B04-316B-F51A17F7E88A}"/>
                </a:ext>
              </a:extLst>
            </p:cNvPr>
            <p:cNvSpPr/>
            <p:nvPr/>
          </p:nvSpPr>
          <p:spPr>
            <a:xfrm>
              <a:off x="3945395" y="1874806"/>
              <a:ext cx="158475" cy="137425"/>
            </a:xfrm>
            <a:custGeom>
              <a:avLst/>
              <a:gdLst/>
              <a:ahLst/>
              <a:cxnLst/>
              <a:rect l="l" t="t" r="r" b="b"/>
              <a:pathLst>
                <a:path w="6339" h="5497" extrusionOk="0">
                  <a:moveTo>
                    <a:pt x="3336" y="402"/>
                  </a:moveTo>
                  <a:cubicBezTo>
                    <a:pt x="3412" y="402"/>
                    <a:pt x="3490" y="404"/>
                    <a:pt x="3569" y="409"/>
                  </a:cubicBezTo>
                  <a:cubicBezTo>
                    <a:pt x="5071" y="509"/>
                    <a:pt x="6005" y="2011"/>
                    <a:pt x="5504" y="3412"/>
                  </a:cubicBezTo>
                  <a:cubicBezTo>
                    <a:pt x="5149" y="4454"/>
                    <a:pt x="4171" y="5059"/>
                    <a:pt x="3156" y="5059"/>
                  </a:cubicBezTo>
                  <a:cubicBezTo>
                    <a:pt x="2742" y="5059"/>
                    <a:pt x="2321" y="4958"/>
                    <a:pt x="1935" y="4746"/>
                  </a:cubicBezTo>
                  <a:cubicBezTo>
                    <a:pt x="1106" y="4331"/>
                    <a:pt x="758" y="3578"/>
                    <a:pt x="696" y="2746"/>
                  </a:cubicBezTo>
                  <a:lnTo>
                    <a:pt x="696" y="2746"/>
                  </a:lnTo>
                  <a:cubicBezTo>
                    <a:pt x="712" y="2728"/>
                    <a:pt x="725" y="2705"/>
                    <a:pt x="734" y="2678"/>
                  </a:cubicBezTo>
                  <a:cubicBezTo>
                    <a:pt x="924" y="1284"/>
                    <a:pt x="1896" y="402"/>
                    <a:pt x="3336" y="402"/>
                  </a:cubicBezTo>
                  <a:close/>
                  <a:moveTo>
                    <a:pt x="3376" y="1"/>
                  </a:moveTo>
                  <a:cubicBezTo>
                    <a:pt x="2101" y="1"/>
                    <a:pt x="850" y="719"/>
                    <a:pt x="498" y="1938"/>
                  </a:cubicBezTo>
                  <a:lnTo>
                    <a:pt x="498" y="1938"/>
                  </a:lnTo>
                  <a:cubicBezTo>
                    <a:pt x="1" y="3235"/>
                    <a:pt x="819" y="4703"/>
                    <a:pt x="2068" y="5280"/>
                  </a:cubicBezTo>
                  <a:cubicBezTo>
                    <a:pt x="2417" y="5428"/>
                    <a:pt x="2778" y="5497"/>
                    <a:pt x="3135" y="5497"/>
                  </a:cubicBezTo>
                  <a:cubicBezTo>
                    <a:pt x="4384" y="5497"/>
                    <a:pt x="5575" y="4649"/>
                    <a:pt x="5938" y="3378"/>
                  </a:cubicBezTo>
                  <a:cubicBezTo>
                    <a:pt x="6338" y="1944"/>
                    <a:pt x="5437" y="309"/>
                    <a:pt x="3903" y="42"/>
                  </a:cubicBezTo>
                  <a:cubicBezTo>
                    <a:pt x="3728" y="14"/>
                    <a:pt x="3552" y="1"/>
                    <a:pt x="337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4" name="Google Shape;7326;p120">
              <a:extLst>
                <a:ext uri="{FF2B5EF4-FFF2-40B4-BE49-F238E27FC236}">
                  <a16:creationId xmlns:a16="http://schemas.microsoft.com/office/drawing/2014/main" id="{1D5ABD7F-C120-F1A7-C7F2-F22BBED3ACC9}"/>
                </a:ext>
              </a:extLst>
            </p:cNvPr>
            <p:cNvSpPr/>
            <p:nvPr/>
          </p:nvSpPr>
          <p:spPr>
            <a:xfrm>
              <a:off x="4102170" y="1879181"/>
              <a:ext cx="107600" cy="119350"/>
            </a:xfrm>
            <a:custGeom>
              <a:avLst/>
              <a:gdLst/>
              <a:ahLst/>
              <a:cxnLst/>
              <a:rect l="l" t="t" r="r" b="b"/>
              <a:pathLst>
                <a:path w="4304" h="4774" extrusionOk="0">
                  <a:moveTo>
                    <a:pt x="2067" y="319"/>
                  </a:moveTo>
                  <a:cubicBezTo>
                    <a:pt x="3066" y="319"/>
                    <a:pt x="3754" y="1484"/>
                    <a:pt x="3836" y="2469"/>
                  </a:cubicBezTo>
                  <a:cubicBezTo>
                    <a:pt x="3889" y="3521"/>
                    <a:pt x="3154" y="4366"/>
                    <a:pt x="2236" y="4366"/>
                  </a:cubicBezTo>
                  <a:cubicBezTo>
                    <a:pt x="1989" y="4366"/>
                    <a:pt x="1729" y="4305"/>
                    <a:pt x="1468" y="4171"/>
                  </a:cubicBezTo>
                  <a:cubicBezTo>
                    <a:pt x="781" y="3837"/>
                    <a:pt x="471" y="3218"/>
                    <a:pt x="408" y="2548"/>
                  </a:cubicBezTo>
                  <a:lnTo>
                    <a:pt x="408" y="2548"/>
                  </a:lnTo>
                  <a:cubicBezTo>
                    <a:pt x="439" y="1740"/>
                    <a:pt x="601" y="927"/>
                    <a:pt x="1368" y="501"/>
                  </a:cubicBezTo>
                  <a:cubicBezTo>
                    <a:pt x="1614" y="375"/>
                    <a:pt x="1848" y="319"/>
                    <a:pt x="2067" y="319"/>
                  </a:cubicBezTo>
                  <a:close/>
                  <a:moveTo>
                    <a:pt x="2002" y="1"/>
                  </a:moveTo>
                  <a:cubicBezTo>
                    <a:pt x="334" y="1"/>
                    <a:pt x="0" y="1635"/>
                    <a:pt x="167" y="2970"/>
                  </a:cubicBezTo>
                  <a:cubicBezTo>
                    <a:pt x="167" y="3030"/>
                    <a:pt x="197" y="3068"/>
                    <a:pt x="236" y="3085"/>
                  </a:cubicBezTo>
                  <a:lnTo>
                    <a:pt x="236" y="3085"/>
                  </a:lnTo>
                  <a:cubicBezTo>
                    <a:pt x="432" y="3800"/>
                    <a:pt x="922" y="4411"/>
                    <a:pt x="1702" y="4671"/>
                  </a:cubicBezTo>
                  <a:cubicBezTo>
                    <a:pt x="1917" y="4741"/>
                    <a:pt x="2127" y="4773"/>
                    <a:pt x="2330" y="4773"/>
                  </a:cubicBezTo>
                  <a:cubicBezTo>
                    <a:pt x="3383" y="4773"/>
                    <a:pt x="4209" y="3889"/>
                    <a:pt x="4237" y="2770"/>
                  </a:cubicBezTo>
                  <a:cubicBezTo>
                    <a:pt x="4303" y="1435"/>
                    <a:pt x="3470" y="1"/>
                    <a:pt x="2002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5" name="Google Shape;7327;p120">
              <a:extLst>
                <a:ext uri="{FF2B5EF4-FFF2-40B4-BE49-F238E27FC236}">
                  <a16:creationId xmlns:a16="http://schemas.microsoft.com/office/drawing/2014/main" id="{EDADC40B-8168-A8A4-89F3-95D9181E21AB}"/>
                </a:ext>
              </a:extLst>
            </p:cNvPr>
            <p:cNvSpPr/>
            <p:nvPr/>
          </p:nvSpPr>
          <p:spPr>
            <a:xfrm>
              <a:off x="4084645" y="1912706"/>
              <a:ext cx="31675" cy="13425"/>
            </a:xfrm>
            <a:custGeom>
              <a:avLst/>
              <a:gdLst/>
              <a:ahLst/>
              <a:cxnLst/>
              <a:rect l="l" t="t" r="r" b="b"/>
              <a:pathLst>
                <a:path w="1267" h="537" extrusionOk="0">
                  <a:moveTo>
                    <a:pt x="742" y="0"/>
                  </a:moveTo>
                  <a:cubicBezTo>
                    <a:pt x="647" y="0"/>
                    <a:pt x="543" y="14"/>
                    <a:pt x="435" y="27"/>
                  </a:cubicBezTo>
                  <a:cubicBezTo>
                    <a:pt x="334" y="94"/>
                    <a:pt x="1" y="161"/>
                    <a:pt x="101" y="361"/>
                  </a:cubicBezTo>
                  <a:cubicBezTo>
                    <a:pt x="201" y="495"/>
                    <a:pt x="268" y="495"/>
                    <a:pt x="401" y="495"/>
                  </a:cubicBezTo>
                  <a:lnTo>
                    <a:pt x="801" y="495"/>
                  </a:lnTo>
                  <a:cubicBezTo>
                    <a:pt x="843" y="524"/>
                    <a:pt x="886" y="537"/>
                    <a:pt x="927" y="537"/>
                  </a:cubicBezTo>
                  <a:cubicBezTo>
                    <a:pt x="1115" y="537"/>
                    <a:pt x="1266" y="265"/>
                    <a:pt x="1102" y="128"/>
                  </a:cubicBezTo>
                  <a:cubicBezTo>
                    <a:pt x="1003" y="29"/>
                    <a:pt x="881" y="0"/>
                    <a:pt x="74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6" name="Google Shape;7328;p120">
              <a:extLst>
                <a:ext uri="{FF2B5EF4-FFF2-40B4-BE49-F238E27FC236}">
                  <a16:creationId xmlns:a16="http://schemas.microsoft.com/office/drawing/2014/main" id="{E06D175F-F995-33CE-A344-05D00D6FD416}"/>
                </a:ext>
              </a:extLst>
            </p:cNvPr>
            <p:cNvSpPr/>
            <p:nvPr/>
          </p:nvSpPr>
          <p:spPr>
            <a:xfrm>
              <a:off x="6380470" y="2107681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7" name="Google Shape;7329;p120">
              <a:extLst>
                <a:ext uri="{FF2B5EF4-FFF2-40B4-BE49-F238E27FC236}">
                  <a16:creationId xmlns:a16="http://schemas.microsoft.com/office/drawing/2014/main" id="{FE887894-3934-19E9-F8B3-5D50454DEBE4}"/>
                </a:ext>
              </a:extLst>
            </p:cNvPr>
            <p:cNvSpPr/>
            <p:nvPr/>
          </p:nvSpPr>
          <p:spPr>
            <a:xfrm>
              <a:off x="6282895" y="2032631"/>
              <a:ext cx="57550" cy="35500"/>
            </a:xfrm>
            <a:custGeom>
              <a:avLst/>
              <a:gdLst/>
              <a:ahLst/>
              <a:cxnLst/>
              <a:rect l="l" t="t" r="r" b="b"/>
              <a:pathLst>
                <a:path w="2302" h="1420" extrusionOk="0">
                  <a:moveTo>
                    <a:pt x="2302" y="1"/>
                  </a:moveTo>
                  <a:cubicBezTo>
                    <a:pt x="2302" y="1"/>
                    <a:pt x="2302" y="1"/>
                    <a:pt x="2302" y="1"/>
                  </a:cubicBezTo>
                  <a:lnTo>
                    <a:pt x="2302" y="1"/>
                  </a:lnTo>
                  <a:close/>
                  <a:moveTo>
                    <a:pt x="0" y="1"/>
                  </a:moveTo>
                  <a:lnTo>
                    <a:pt x="0" y="1"/>
                  </a:lnTo>
                  <a:cubicBezTo>
                    <a:pt x="167" y="201"/>
                    <a:pt x="200" y="468"/>
                    <a:pt x="334" y="668"/>
                  </a:cubicBezTo>
                  <a:cubicBezTo>
                    <a:pt x="467" y="835"/>
                    <a:pt x="567" y="1001"/>
                    <a:pt x="734" y="1135"/>
                  </a:cubicBezTo>
                  <a:cubicBezTo>
                    <a:pt x="901" y="1235"/>
                    <a:pt x="1134" y="1368"/>
                    <a:pt x="1335" y="1402"/>
                  </a:cubicBezTo>
                  <a:cubicBezTo>
                    <a:pt x="1396" y="1412"/>
                    <a:pt x="1458" y="1419"/>
                    <a:pt x="1519" y="1419"/>
                  </a:cubicBezTo>
                  <a:cubicBezTo>
                    <a:pt x="1655" y="1419"/>
                    <a:pt x="1786" y="1383"/>
                    <a:pt x="1902" y="1268"/>
                  </a:cubicBezTo>
                  <a:cubicBezTo>
                    <a:pt x="2068" y="1168"/>
                    <a:pt x="2202" y="935"/>
                    <a:pt x="2235" y="701"/>
                  </a:cubicBezTo>
                  <a:cubicBezTo>
                    <a:pt x="2296" y="460"/>
                    <a:pt x="2301" y="273"/>
                    <a:pt x="2302" y="67"/>
                  </a:cubicBezTo>
                  <a:lnTo>
                    <a:pt x="2302" y="67"/>
                  </a:lnTo>
                  <a:lnTo>
                    <a:pt x="2302" y="67"/>
                  </a:lnTo>
                  <a:lnTo>
                    <a:pt x="2302" y="1"/>
                  </a:lnTo>
                  <a:cubicBezTo>
                    <a:pt x="2302" y="23"/>
                    <a:pt x="2302" y="45"/>
                    <a:pt x="2302" y="67"/>
                  </a:cubicBezTo>
                  <a:lnTo>
                    <a:pt x="2302" y="67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8" name="Google Shape;7330;p120">
              <a:extLst>
                <a:ext uri="{FF2B5EF4-FFF2-40B4-BE49-F238E27FC236}">
                  <a16:creationId xmlns:a16="http://schemas.microsoft.com/office/drawing/2014/main" id="{E2435100-9EDA-1D5B-3E72-6D19EC73F0AA}"/>
                </a:ext>
              </a:extLst>
            </p:cNvPr>
            <p:cNvSpPr/>
            <p:nvPr/>
          </p:nvSpPr>
          <p:spPr>
            <a:xfrm>
              <a:off x="5656620" y="2427906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lnTo>
                    <a:pt x="0" y="1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999" name="Google Shape;7331;p120">
              <a:extLst>
                <a:ext uri="{FF2B5EF4-FFF2-40B4-BE49-F238E27FC236}">
                  <a16:creationId xmlns:a16="http://schemas.microsoft.com/office/drawing/2014/main" id="{AAFC6052-E65D-C2E2-2804-C3F8312BC561}"/>
                </a:ext>
              </a:extLst>
            </p:cNvPr>
            <p:cNvSpPr/>
            <p:nvPr/>
          </p:nvSpPr>
          <p:spPr>
            <a:xfrm>
              <a:off x="4316495" y="1668481"/>
              <a:ext cx="577925" cy="360325"/>
            </a:xfrm>
            <a:custGeom>
              <a:avLst/>
              <a:gdLst/>
              <a:ahLst/>
              <a:cxnLst/>
              <a:rect l="l" t="t" r="r" b="b"/>
              <a:pathLst>
                <a:path w="23117" h="14413" extrusionOk="0">
                  <a:moveTo>
                    <a:pt x="11432" y="1"/>
                  </a:moveTo>
                  <a:cubicBezTo>
                    <a:pt x="9773" y="1"/>
                    <a:pt x="8097" y="250"/>
                    <a:pt x="6471" y="757"/>
                  </a:cubicBezTo>
                  <a:cubicBezTo>
                    <a:pt x="6004" y="923"/>
                    <a:pt x="5537" y="1090"/>
                    <a:pt x="5104" y="1290"/>
                  </a:cubicBezTo>
                  <a:cubicBezTo>
                    <a:pt x="3936" y="1891"/>
                    <a:pt x="2936" y="2825"/>
                    <a:pt x="1935" y="3792"/>
                  </a:cubicBezTo>
                  <a:cubicBezTo>
                    <a:pt x="1501" y="4226"/>
                    <a:pt x="1068" y="4659"/>
                    <a:pt x="734" y="5227"/>
                  </a:cubicBezTo>
                  <a:cubicBezTo>
                    <a:pt x="367" y="5860"/>
                    <a:pt x="200" y="6594"/>
                    <a:pt x="134" y="7295"/>
                  </a:cubicBezTo>
                  <a:cubicBezTo>
                    <a:pt x="0" y="8295"/>
                    <a:pt x="67" y="9296"/>
                    <a:pt x="467" y="10197"/>
                  </a:cubicBezTo>
                  <a:cubicBezTo>
                    <a:pt x="1268" y="11798"/>
                    <a:pt x="3036" y="12398"/>
                    <a:pt x="4670" y="12865"/>
                  </a:cubicBezTo>
                  <a:cubicBezTo>
                    <a:pt x="5325" y="13035"/>
                    <a:pt x="5962" y="13222"/>
                    <a:pt x="6594" y="13222"/>
                  </a:cubicBezTo>
                  <a:cubicBezTo>
                    <a:pt x="6832" y="13222"/>
                    <a:pt x="7069" y="13196"/>
                    <a:pt x="7305" y="13132"/>
                  </a:cubicBezTo>
                  <a:lnTo>
                    <a:pt x="11442" y="14300"/>
                  </a:lnTo>
                  <a:cubicBezTo>
                    <a:pt x="11964" y="14375"/>
                    <a:pt x="12491" y="14412"/>
                    <a:pt x="13022" y="14412"/>
                  </a:cubicBezTo>
                  <a:cubicBezTo>
                    <a:pt x="15541" y="14412"/>
                    <a:pt x="18110" y="13575"/>
                    <a:pt x="20315" y="12031"/>
                  </a:cubicBezTo>
                  <a:cubicBezTo>
                    <a:pt x="20682" y="11765"/>
                    <a:pt x="21082" y="11464"/>
                    <a:pt x="21349" y="11131"/>
                  </a:cubicBezTo>
                  <a:cubicBezTo>
                    <a:pt x="21749" y="10764"/>
                    <a:pt x="22016" y="10264"/>
                    <a:pt x="22216" y="9730"/>
                  </a:cubicBezTo>
                  <a:cubicBezTo>
                    <a:pt x="23117" y="7495"/>
                    <a:pt x="22483" y="4893"/>
                    <a:pt x="20982" y="3325"/>
                  </a:cubicBezTo>
                  <a:cubicBezTo>
                    <a:pt x="20381" y="2658"/>
                    <a:pt x="19648" y="2224"/>
                    <a:pt x="18847" y="1791"/>
                  </a:cubicBezTo>
                  <a:cubicBezTo>
                    <a:pt x="16588" y="610"/>
                    <a:pt x="14030" y="1"/>
                    <a:pt x="11432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0" name="Google Shape;7332;p120">
              <a:extLst>
                <a:ext uri="{FF2B5EF4-FFF2-40B4-BE49-F238E27FC236}">
                  <a16:creationId xmlns:a16="http://schemas.microsoft.com/office/drawing/2014/main" id="{35B9320E-533C-46CC-23D4-86CC5C54D2BA}"/>
                </a:ext>
              </a:extLst>
            </p:cNvPr>
            <p:cNvSpPr/>
            <p:nvPr/>
          </p:nvSpPr>
          <p:spPr>
            <a:xfrm>
              <a:off x="4424895" y="1954256"/>
              <a:ext cx="349450" cy="199425"/>
            </a:xfrm>
            <a:custGeom>
              <a:avLst/>
              <a:gdLst/>
              <a:ahLst/>
              <a:cxnLst/>
              <a:rect l="l" t="t" r="r" b="b"/>
              <a:pathLst>
                <a:path w="13978" h="7977" extrusionOk="0">
                  <a:moveTo>
                    <a:pt x="12743" y="0"/>
                  </a:moveTo>
                  <a:lnTo>
                    <a:pt x="1235" y="1635"/>
                  </a:lnTo>
                  <a:cubicBezTo>
                    <a:pt x="1335" y="2435"/>
                    <a:pt x="1268" y="3202"/>
                    <a:pt x="935" y="3970"/>
                  </a:cubicBezTo>
                  <a:cubicBezTo>
                    <a:pt x="601" y="4637"/>
                    <a:pt x="101" y="5270"/>
                    <a:pt x="1" y="6004"/>
                  </a:cubicBezTo>
                  <a:cubicBezTo>
                    <a:pt x="1" y="6153"/>
                    <a:pt x="54" y="6382"/>
                    <a:pt x="184" y="6382"/>
                  </a:cubicBezTo>
                  <a:cubicBezTo>
                    <a:pt x="199" y="6382"/>
                    <a:pt x="216" y="6378"/>
                    <a:pt x="234" y="6371"/>
                  </a:cubicBezTo>
                  <a:cubicBezTo>
                    <a:pt x="301" y="6371"/>
                    <a:pt x="401" y="6305"/>
                    <a:pt x="434" y="6271"/>
                  </a:cubicBezTo>
                  <a:lnTo>
                    <a:pt x="1068" y="5637"/>
                  </a:lnTo>
                  <a:lnTo>
                    <a:pt x="1068" y="5637"/>
                  </a:lnTo>
                  <a:cubicBezTo>
                    <a:pt x="968" y="6038"/>
                    <a:pt x="968" y="6471"/>
                    <a:pt x="1101" y="6838"/>
                  </a:cubicBezTo>
                  <a:cubicBezTo>
                    <a:pt x="1135" y="6972"/>
                    <a:pt x="1168" y="7038"/>
                    <a:pt x="1268" y="7138"/>
                  </a:cubicBezTo>
                  <a:cubicBezTo>
                    <a:pt x="1327" y="7187"/>
                    <a:pt x="1394" y="7208"/>
                    <a:pt x="1464" y="7208"/>
                  </a:cubicBezTo>
                  <a:cubicBezTo>
                    <a:pt x="1633" y="7208"/>
                    <a:pt x="1817" y="7090"/>
                    <a:pt x="1935" y="6972"/>
                  </a:cubicBezTo>
                  <a:cubicBezTo>
                    <a:pt x="2102" y="6772"/>
                    <a:pt x="2236" y="6505"/>
                    <a:pt x="2436" y="6438"/>
                  </a:cubicBezTo>
                  <a:lnTo>
                    <a:pt x="2436" y="6438"/>
                  </a:lnTo>
                  <a:cubicBezTo>
                    <a:pt x="2402" y="6805"/>
                    <a:pt x="2436" y="7172"/>
                    <a:pt x="2602" y="7539"/>
                  </a:cubicBezTo>
                  <a:cubicBezTo>
                    <a:pt x="2636" y="7639"/>
                    <a:pt x="2669" y="7739"/>
                    <a:pt x="2769" y="7806"/>
                  </a:cubicBezTo>
                  <a:cubicBezTo>
                    <a:pt x="2796" y="7815"/>
                    <a:pt x="2823" y="7819"/>
                    <a:pt x="2850" y="7819"/>
                  </a:cubicBezTo>
                  <a:cubicBezTo>
                    <a:pt x="3022" y="7819"/>
                    <a:pt x="3188" y="7650"/>
                    <a:pt x="3303" y="7505"/>
                  </a:cubicBezTo>
                  <a:cubicBezTo>
                    <a:pt x="3570" y="7172"/>
                    <a:pt x="3803" y="6805"/>
                    <a:pt x="4070" y="6471"/>
                  </a:cubicBezTo>
                  <a:cubicBezTo>
                    <a:pt x="4137" y="6738"/>
                    <a:pt x="4137" y="7038"/>
                    <a:pt x="4237" y="7339"/>
                  </a:cubicBezTo>
                  <a:cubicBezTo>
                    <a:pt x="4296" y="7604"/>
                    <a:pt x="4537" y="7817"/>
                    <a:pt x="4800" y="7817"/>
                  </a:cubicBezTo>
                  <a:cubicBezTo>
                    <a:pt x="4834" y="7817"/>
                    <a:pt x="4869" y="7813"/>
                    <a:pt x="4904" y="7806"/>
                  </a:cubicBezTo>
                  <a:cubicBezTo>
                    <a:pt x="5304" y="7672"/>
                    <a:pt x="5338" y="7072"/>
                    <a:pt x="5738" y="6872"/>
                  </a:cubicBezTo>
                  <a:cubicBezTo>
                    <a:pt x="5838" y="7205"/>
                    <a:pt x="6005" y="7505"/>
                    <a:pt x="6272" y="7806"/>
                  </a:cubicBezTo>
                  <a:cubicBezTo>
                    <a:pt x="6338" y="7872"/>
                    <a:pt x="6405" y="7972"/>
                    <a:pt x="6505" y="7972"/>
                  </a:cubicBezTo>
                  <a:cubicBezTo>
                    <a:pt x="6523" y="7975"/>
                    <a:pt x="6540" y="7976"/>
                    <a:pt x="6556" y="7976"/>
                  </a:cubicBezTo>
                  <a:cubicBezTo>
                    <a:pt x="6763" y="7976"/>
                    <a:pt x="6913" y="7793"/>
                    <a:pt x="7006" y="7639"/>
                  </a:cubicBezTo>
                  <a:cubicBezTo>
                    <a:pt x="7172" y="7339"/>
                    <a:pt x="7306" y="7072"/>
                    <a:pt x="7473" y="6805"/>
                  </a:cubicBezTo>
                  <a:cubicBezTo>
                    <a:pt x="7639" y="7172"/>
                    <a:pt x="7906" y="7472"/>
                    <a:pt x="8240" y="7739"/>
                  </a:cubicBezTo>
                  <a:cubicBezTo>
                    <a:pt x="8295" y="7821"/>
                    <a:pt x="8395" y="7881"/>
                    <a:pt x="8503" y="7881"/>
                  </a:cubicBezTo>
                  <a:cubicBezTo>
                    <a:pt x="8526" y="7881"/>
                    <a:pt x="8550" y="7878"/>
                    <a:pt x="8573" y="7872"/>
                  </a:cubicBezTo>
                  <a:cubicBezTo>
                    <a:pt x="8640" y="7839"/>
                    <a:pt x="8740" y="7739"/>
                    <a:pt x="8774" y="7672"/>
                  </a:cubicBezTo>
                  <a:cubicBezTo>
                    <a:pt x="8974" y="7305"/>
                    <a:pt x="9241" y="6905"/>
                    <a:pt x="9407" y="6505"/>
                  </a:cubicBezTo>
                  <a:cubicBezTo>
                    <a:pt x="9441" y="6872"/>
                    <a:pt x="9607" y="7205"/>
                    <a:pt x="9808" y="7505"/>
                  </a:cubicBezTo>
                  <a:cubicBezTo>
                    <a:pt x="9908" y="7572"/>
                    <a:pt x="9974" y="7706"/>
                    <a:pt x="10108" y="7706"/>
                  </a:cubicBezTo>
                  <a:cubicBezTo>
                    <a:pt x="10241" y="7706"/>
                    <a:pt x="10308" y="7639"/>
                    <a:pt x="10408" y="7539"/>
                  </a:cubicBezTo>
                  <a:cubicBezTo>
                    <a:pt x="10608" y="7339"/>
                    <a:pt x="10775" y="7038"/>
                    <a:pt x="10842" y="6738"/>
                  </a:cubicBezTo>
                  <a:cubicBezTo>
                    <a:pt x="10942" y="6905"/>
                    <a:pt x="10975" y="7138"/>
                    <a:pt x="11075" y="7305"/>
                  </a:cubicBezTo>
                  <a:cubicBezTo>
                    <a:pt x="11132" y="7446"/>
                    <a:pt x="11283" y="7587"/>
                    <a:pt x="11470" y="7587"/>
                  </a:cubicBezTo>
                  <a:cubicBezTo>
                    <a:pt x="11504" y="7587"/>
                    <a:pt x="11539" y="7582"/>
                    <a:pt x="11576" y="7572"/>
                  </a:cubicBezTo>
                  <a:cubicBezTo>
                    <a:pt x="11776" y="7539"/>
                    <a:pt x="11909" y="7339"/>
                    <a:pt x="11976" y="7138"/>
                  </a:cubicBezTo>
                  <a:cubicBezTo>
                    <a:pt x="12076" y="6905"/>
                    <a:pt x="12109" y="6705"/>
                    <a:pt x="12276" y="6538"/>
                  </a:cubicBezTo>
                  <a:cubicBezTo>
                    <a:pt x="12476" y="6872"/>
                    <a:pt x="12776" y="7205"/>
                    <a:pt x="13077" y="7505"/>
                  </a:cubicBezTo>
                  <a:cubicBezTo>
                    <a:pt x="13110" y="7539"/>
                    <a:pt x="13143" y="7572"/>
                    <a:pt x="13243" y="7572"/>
                  </a:cubicBezTo>
                  <a:cubicBezTo>
                    <a:pt x="13263" y="7580"/>
                    <a:pt x="13282" y="7584"/>
                    <a:pt x="13299" y="7584"/>
                  </a:cubicBezTo>
                  <a:cubicBezTo>
                    <a:pt x="13425" y="7584"/>
                    <a:pt x="13477" y="7385"/>
                    <a:pt x="13477" y="7239"/>
                  </a:cubicBezTo>
                  <a:cubicBezTo>
                    <a:pt x="13493" y="6990"/>
                    <a:pt x="13485" y="6741"/>
                    <a:pt x="13448" y="6501"/>
                  </a:cubicBezTo>
                  <a:lnTo>
                    <a:pt x="13448" y="6501"/>
                  </a:lnTo>
                  <a:cubicBezTo>
                    <a:pt x="13565" y="6701"/>
                    <a:pt x="13730" y="6873"/>
                    <a:pt x="13944" y="7005"/>
                  </a:cubicBezTo>
                  <a:cubicBezTo>
                    <a:pt x="13977" y="6405"/>
                    <a:pt x="13810" y="5838"/>
                    <a:pt x="13677" y="5304"/>
                  </a:cubicBezTo>
                  <a:cubicBezTo>
                    <a:pt x="13277" y="3536"/>
                    <a:pt x="12943" y="1801"/>
                    <a:pt x="12743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1" name="Google Shape;7333;p120">
              <a:extLst>
                <a:ext uri="{FF2B5EF4-FFF2-40B4-BE49-F238E27FC236}">
                  <a16:creationId xmlns:a16="http://schemas.microsoft.com/office/drawing/2014/main" id="{47D80BC0-83FE-01CC-2F46-59EE56EA27BA}"/>
                </a:ext>
              </a:extLst>
            </p:cNvPr>
            <p:cNvSpPr/>
            <p:nvPr/>
          </p:nvSpPr>
          <p:spPr>
            <a:xfrm>
              <a:off x="4415720" y="2447106"/>
              <a:ext cx="442850" cy="407375"/>
            </a:xfrm>
            <a:custGeom>
              <a:avLst/>
              <a:gdLst/>
              <a:ahLst/>
              <a:cxnLst/>
              <a:rect l="l" t="t" r="r" b="b"/>
              <a:pathLst>
                <a:path w="17714" h="16295" extrusionOk="0">
                  <a:moveTo>
                    <a:pt x="15111" y="0"/>
                  </a:moveTo>
                  <a:lnTo>
                    <a:pt x="2035" y="234"/>
                  </a:lnTo>
                  <a:cubicBezTo>
                    <a:pt x="2269" y="834"/>
                    <a:pt x="1969" y="7939"/>
                    <a:pt x="1969" y="7939"/>
                  </a:cubicBezTo>
                  <a:cubicBezTo>
                    <a:pt x="1969" y="7939"/>
                    <a:pt x="1" y="14611"/>
                    <a:pt x="201" y="14677"/>
                  </a:cubicBezTo>
                  <a:cubicBezTo>
                    <a:pt x="421" y="14772"/>
                    <a:pt x="4689" y="16295"/>
                    <a:pt x="8788" y="16295"/>
                  </a:cubicBezTo>
                  <a:cubicBezTo>
                    <a:pt x="9029" y="16295"/>
                    <a:pt x="9269" y="16290"/>
                    <a:pt x="9507" y="16278"/>
                  </a:cubicBezTo>
                  <a:cubicBezTo>
                    <a:pt x="13811" y="16078"/>
                    <a:pt x="17713" y="13777"/>
                    <a:pt x="17713" y="13777"/>
                  </a:cubicBezTo>
                  <a:lnTo>
                    <a:pt x="15712" y="8206"/>
                  </a:lnTo>
                  <a:lnTo>
                    <a:pt x="15111" y="0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2" name="Google Shape;7334;p120">
              <a:extLst>
                <a:ext uri="{FF2B5EF4-FFF2-40B4-BE49-F238E27FC236}">
                  <a16:creationId xmlns:a16="http://schemas.microsoft.com/office/drawing/2014/main" id="{AF3A0260-7FE5-2EAE-26CC-F130BED9BBA6}"/>
                </a:ext>
              </a:extLst>
            </p:cNvPr>
            <p:cNvSpPr/>
            <p:nvPr/>
          </p:nvSpPr>
          <p:spPr>
            <a:xfrm>
              <a:off x="4461595" y="3860606"/>
              <a:ext cx="150125" cy="540425"/>
            </a:xfrm>
            <a:custGeom>
              <a:avLst/>
              <a:gdLst/>
              <a:ahLst/>
              <a:cxnLst/>
              <a:rect l="l" t="t" r="r" b="b"/>
              <a:pathLst>
                <a:path w="6005" h="21617" extrusionOk="0">
                  <a:moveTo>
                    <a:pt x="6005" y="1"/>
                  </a:moveTo>
                  <a:lnTo>
                    <a:pt x="601" y="1869"/>
                  </a:lnTo>
                  <a:cubicBezTo>
                    <a:pt x="834" y="7840"/>
                    <a:pt x="667" y="13844"/>
                    <a:pt x="100" y="19815"/>
                  </a:cubicBezTo>
                  <a:cubicBezTo>
                    <a:pt x="34" y="20282"/>
                    <a:pt x="0" y="20849"/>
                    <a:pt x="334" y="21149"/>
                  </a:cubicBezTo>
                  <a:cubicBezTo>
                    <a:pt x="534" y="21316"/>
                    <a:pt x="801" y="21349"/>
                    <a:pt x="1034" y="21416"/>
                  </a:cubicBezTo>
                  <a:cubicBezTo>
                    <a:pt x="1635" y="21449"/>
                    <a:pt x="2269" y="21516"/>
                    <a:pt x="2836" y="21616"/>
                  </a:cubicBezTo>
                  <a:cubicBezTo>
                    <a:pt x="2969" y="21616"/>
                    <a:pt x="3136" y="21616"/>
                    <a:pt x="3269" y="21516"/>
                  </a:cubicBezTo>
                  <a:cubicBezTo>
                    <a:pt x="3436" y="21416"/>
                    <a:pt x="3436" y="21182"/>
                    <a:pt x="3469" y="21016"/>
                  </a:cubicBezTo>
                  <a:cubicBezTo>
                    <a:pt x="4437" y="14077"/>
                    <a:pt x="5271" y="7006"/>
                    <a:pt x="6005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3" name="Google Shape;7335;p120">
              <a:extLst>
                <a:ext uri="{FF2B5EF4-FFF2-40B4-BE49-F238E27FC236}">
                  <a16:creationId xmlns:a16="http://schemas.microsoft.com/office/drawing/2014/main" id="{0F215E53-8522-0235-CFE5-75254A627EAA}"/>
                </a:ext>
              </a:extLst>
            </p:cNvPr>
            <p:cNvSpPr/>
            <p:nvPr/>
          </p:nvSpPr>
          <p:spPr>
            <a:xfrm>
              <a:off x="4793495" y="3789731"/>
              <a:ext cx="179325" cy="603775"/>
            </a:xfrm>
            <a:custGeom>
              <a:avLst/>
              <a:gdLst/>
              <a:ahLst/>
              <a:cxnLst/>
              <a:rect l="l" t="t" r="r" b="b"/>
              <a:pathLst>
                <a:path w="7173" h="24151" extrusionOk="0">
                  <a:moveTo>
                    <a:pt x="5604" y="0"/>
                  </a:moveTo>
                  <a:lnTo>
                    <a:pt x="0" y="1635"/>
                  </a:lnTo>
                  <a:cubicBezTo>
                    <a:pt x="1568" y="9107"/>
                    <a:pt x="3003" y="16612"/>
                    <a:pt x="4237" y="24151"/>
                  </a:cubicBezTo>
                  <a:cubicBezTo>
                    <a:pt x="5071" y="23951"/>
                    <a:pt x="5905" y="23784"/>
                    <a:pt x="6705" y="23584"/>
                  </a:cubicBezTo>
                  <a:cubicBezTo>
                    <a:pt x="6839" y="23517"/>
                    <a:pt x="7005" y="23484"/>
                    <a:pt x="7072" y="23350"/>
                  </a:cubicBezTo>
                  <a:cubicBezTo>
                    <a:pt x="7172" y="23250"/>
                    <a:pt x="7172" y="23083"/>
                    <a:pt x="7172" y="22917"/>
                  </a:cubicBezTo>
                  <a:cubicBezTo>
                    <a:pt x="6772" y="15278"/>
                    <a:pt x="6272" y="7639"/>
                    <a:pt x="560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4" name="Google Shape;7336;p120">
              <a:extLst>
                <a:ext uri="{FF2B5EF4-FFF2-40B4-BE49-F238E27FC236}">
                  <a16:creationId xmlns:a16="http://schemas.microsoft.com/office/drawing/2014/main" id="{327A1F6F-5DD7-DA5E-AA33-7F09C6C88B94}"/>
                </a:ext>
              </a:extLst>
            </p:cNvPr>
            <p:cNvSpPr/>
            <p:nvPr/>
          </p:nvSpPr>
          <p:spPr>
            <a:xfrm>
              <a:off x="4258120" y="2683106"/>
              <a:ext cx="865625" cy="1612100"/>
            </a:xfrm>
            <a:custGeom>
              <a:avLst/>
              <a:gdLst/>
              <a:ahLst/>
              <a:cxnLst/>
              <a:rect l="l" t="t" r="r" b="b"/>
              <a:pathLst>
                <a:path w="34625" h="64484" extrusionOk="0">
                  <a:moveTo>
                    <a:pt x="17513" y="18513"/>
                  </a:moveTo>
                  <a:cubicBezTo>
                    <a:pt x="17513" y="18513"/>
                    <a:pt x="17352" y="23878"/>
                    <a:pt x="17465" y="30926"/>
                  </a:cubicBezTo>
                  <a:lnTo>
                    <a:pt x="17465" y="30926"/>
                  </a:lnTo>
                  <a:cubicBezTo>
                    <a:pt x="17136" y="23875"/>
                    <a:pt x="16679" y="18513"/>
                    <a:pt x="16679" y="18513"/>
                  </a:cubicBezTo>
                  <a:close/>
                  <a:moveTo>
                    <a:pt x="23083" y="0"/>
                  </a:moveTo>
                  <a:cubicBezTo>
                    <a:pt x="20533" y="690"/>
                    <a:pt x="17910" y="1023"/>
                    <a:pt x="15222" y="1023"/>
                  </a:cubicBezTo>
                  <a:cubicBezTo>
                    <a:pt x="12707" y="1023"/>
                    <a:pt x="10133" y="731"/>
                    <a:pt x="7506" y="167"/>
                  </a:cubicBezTo>
                  <a:lnTo>
                    <a:pt x="7506" y="167"/>
                  </a:lnTo>
                  <a:cubicBezTo>
                    <a:pt x="1801" y="40329"/>
                    <a:pt x="0" y="61444"/>
                    <a:pt x="7806" y="64246"/>
                  </a:cubicBezTo>
                  <a:cubicBezTo>
                    <a:pt x="7806" y="64246"/>
                    <a:pt x="9600" y="64483"/>
                    <a:pt x="11369" y="64483"/>
                  </a:cubicBezTo>
                  <a:cubicBezTo>
                    <a:pt x="12253" y="64483"/>
                    <a:pt x="13132" y="64424"/>
                    <a:pt x="13777" y="64246"/>
                  </a:cubicBezTo>
                  <a:cubicBezTo>
                    <a:pt x="17322" y="64246"/>
                    <a:pt x="17961" y="51832"/>
                    <a:pt x="17759" y="39939"/>
                  </a:cubicBezTo>
                  <a:lnTo>
                    <a:pt x="17759" y="39939"/>
                  </a:lnTo>
                  <a:cubicBezTo>
                    <a:pt x="18368" y="51765"/>
                    <a:pt x="20005" y="64079"/>
                    <a:pt x="24184" y="64079"/>
                  </a:cubicBezTo>
                  <a:cubicBezTo>
                    <a:pt x="25312" y="64192"/>
                    <a:pt x="26410" y="64233"/>
                    <a:pt x="27322" y="64233"/>
                  </a:cubicBezTo>
                  <a:cubicBezTo>
                    <a:pt x="28568" y="64233"/>
                    <a:pt x="29467" y="64156"/>
                    <a:pt x="29621" y="64079"/>
                  </a:cubicBezTo>
                  <a:cubicBezTo>
                    <a:pt x="34625" y="59610"/>
                    <a:pt x="31589" y="34758"/>
                    <a:pt x="23083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5" name="Google Shape;7337;p120">
              <a:extLst>
                <a:ext uri="{FF2B5EF4-FFF2-40B4-BE49-F238E27FC236}">
                  <a16:creationId xmlns:a16="http://schemas.microsoft.com/office/drawing/2014/main" id="{21B9895F-B838-C808-CAF7-80B365455085}"/>
                </a:ext>
              </a:extLst>
            </p:cNvPr>
            <p:cNvSpPr/>
            <p:nvPr/>
          </p:nvSpPr>
          <p:spPr>
            <a:xfrm>
              <a:off x="4560820" y="2035981"/>
              <a:ext cx="95925" cy="172000"/>
            </a:xfrm>
            <a:custGeom>
              <a:avLst/>
              <a:gdLst/>
              <a:ahLst/>
              <a:cxnLst/>
              <a:rect l="l" t="t" r="r" b="b"/>
              <a:pathLst>
                <a:path w="3837" h="6880" extrusionOk="0">
                  <a:moveTo>
                    <a:pt x="2503" y="0"/>
                  </a:moveTo>
                  <a:lnTo>
                    <a:pt x="1" y="33"/>
                  </a:lnTo>
                  <a:lnTo>
                    <a:pt x="1" y="4036"/>
                  </a:lnTo>
                  <a:lnTo>
                    <a:pt x="1" y="6438"/>
                  </a:lnTo>
                  <a:cubicBezTo>
                    <a:pt x="1" y="6571"/>
                    <a:pt x="1" y="6738"/>
                    <a:pt x="68" y="6838"/>
                  </a:cubicBezTo>
                  <a:cubicBezTo>
                    <a:pt x="118" y="6872"/>
                    <a:pt x="176" y="6880"/>
                    <a:pt x="234" y="6880"/>
                  </a:cubicBezTo>
                  <a:cubicBezTo>
                    <a:pt x="293" y="6880"/>
                    <a:pt x="351" y="6872"/>
                    <a:pt x="401" y="6872"/>
                  </a:cubicBezTo>
                  <a:cubicBezTo>
                    <a:pt x="1569" y="6705"/>
                    <a:pt x="2703" y="6438"/>
                    <a:pt x="3837" y="6071"/>
                  </a:cubicBezTo>
                  <a:cubicBezTo>
                    <a:pt x="3703" y="5904"/>
                    <a:pt x="3570" y="5504"/>
                    <a:pt x="3470" y="4937"/>
                  </a:cubicBezTo>
                  <a:cubicBezTo>
                    <a:pt x="3403" y="4703"/>
                    <a:pt x="3337" y="4437"/>
                    <a:pt x="3270" y="4170"/>
                  </a:cubicBezTo>
                  <a:cubicBezTo>
                    <a:pt x="3236" y="4036"/>
                    <a:pt x="3236" y="3903"/>
                    <a:pt x="3203" y="3736"/>
                  </a:cubicBezTo>
                  <a:cubicBezTo>
                    <a:pt x="3136" y="3336"/>
                    <a:pt x="3036" y="2902"/>
                    <a:pt x="2970" y="2435"/>
                  </a:cubicBezTo>
                  <a:cubicBezTo>
                    <a:pt x="2836" y="1701"/>
                    <a:pt x="2669" y="867"/>
                    <a:pt x="2503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6" name="Google Shape;7338;p120">
              <a:extLst>
                <a:ext uri="{FF2B5EF4-FFF2-40B4-BE49-F238E27FC236}">
                  <a16:creationId xmlns:a16="http://schemas.microsoft.com/office/drawing/2014/main" id="{3766766C-E625-CEB3-E926-B1A133F50D57}"/>
                </a:ext>
              </a:extLst>
            </p:cNvPr>
            <p:cNvSpPr/>
            <p:nvPr/>
          </p:nvSpPr>
          <p:spPr>
            <a:xfrm>
              <a:off x="4578345" y="2096006"/>
              <a:ext cx="61725" cy="34800"/>
            </a:xfrm>
            <a:custGeom>
              <a:avLst/>
              <a:gdLst/>
              <a:ahLst/>
              <a:cxnLst/>
              <a:rect l="l" t="t" r="r" b="b"/>
              <a:pathLst>
                <a:path w="2469" h="1392" extrusionOk="0">
                  <a:moveTo>
                    <a:pt x="2202" y="1"/>
                  </a:moveTo>
                  <a:cubicBezTo>
                    <a:pt x="1857" y="34"/>
                    <a:pt x="1498" y="45"/>
                    <a:pt x="1172" y="45"/>
                  </a:cubicBezTo>
                  <a:cubicBezTo>
                    <a:pt x="519" y="45"/>
                    <a:pt x="0" y="1"/>
                    <a:pt x="0" y="1"/>
                  </a:cubicBezTo>
                  <a:lnTo>
                    <a:pt x="0" y="1"/>
                  </a:lnTo>
                  <a:cubicBezTo>
                    <a:pt x="443" y="1130"/>
                    <a:pt x="1033" y="1392"/>
                    <a:pt x="1613" y="1392"/>
                  </a:cubicBezTo>
                  <a:cubicBezTo>
                    <a:pt x="1907" y="1392"/>
                    <a:pt x="2199" y="1324"/>
                    <a:pt x="2469" y="1268"/>
                  </a:cubicBezTo>
                  <a:cubicBezTo>
                    <a:pt x="2369" y="868"/>
                    <a:pt x="2335" y="468"/>
                    <a:pt x="2202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7" name="Google Shape;7339;p120">
              <a:extLst>
                <a:ext uri="{FF2B5EF4-FFF2-40B4-BE49-F238E27FC236}">
                  <a16:creationId xmlns:a16="http://schemas.microsoft.com/office/drawing/2014/main" id="{9DD61E8C-B54F-E783-F2C4-844723B2B94B}"/>
                </a:ext>
              </a:extLst>
            </p:cNvPr>
            <p:cNvSpPr/>
            <p:nvPr/>
          </p:nvSpPr>
          <p:spPr>
            <a:xfrm>
              <a:off x="4456595" y="1765806"/>
              <a:ext cx="276050" cy="343250"/>
            </a:xfrm>
            <a:custGeom>
              <a:avLst/>
              <a:gdLst/>
              <a:ahLst/>
              <a:cxnLst/>
              <a:rect l="l" t="t" r="r" b="b"/>
              <a:pathLst>
                <a:path w="11042" h="13730" extrusionOk="0">
                  <a:moveTo>
                    <a:pt x="4750" y="1"/>
                  </a:moveTo>
                  <a:cubicBezTo>
                    <a:pt x="2085" y="1"/>
                    <a:pt x="549" y="1207"/>
                    <a:pt x="334" y="2067"/>
                  </a:cubicBezTo>
                  <a:cubicBezTo>
                    <a:pt x="0" y="3335"/>
                    <a:pt x="200" y="4703"/>
                    <a:pt x="134" y="6004"/>
                  </a:cubicBezTo>
                  <a:cubicBezTo>
                    <a:pt x="34" y="7171"/>
                    <a:pt x="667" y="9640"/>
                    <a:pt x="1068" y="10207"/>
                  </a:cubicBezTo>
                  <a:cubicBezTo>
                    <a:pt x="1835" y="11241"/>
                    <a:pt x="2335" y="12742"/>
                    <a:pt x="4570" y="13476"/>
                  </a:cubicBezTo>
                  <a:cubicBezTo>
                    <a:pt x="5129" y="13651"/>
                    <a:pt x="5615" y="13730"/>
                    <a:pt x="6050" y="13730"/>
                  </a:cubicBezTo>
                  <a:cubicBezTo>
                    <a:pt x="7355" y="13730"/>
                    <a:pt x="8206" y="13017"/>
                    <a:pt x="9207" y="12041"/>
                  </a:cubicBezTo>
                  <a:cubicBezTo>
                    <a:pt x="10074" y="11174"/>
                    <a:pt x="10508" y="9840"/>
                    <a:pt x="10708" y="8572"/>
                  </a:cubicBezTo>
                  <a:cubicBezTo>
                    <a:pt x="11008" y="6904"/>
                    <a:pt x="11041" y="5203"/>
                    <a:pt x="10875" y="3535"/>
                  </a:cubicBezTo>
                  <a:cubicBezTo>
                    <a:pt x="10875" y="3535"/>
                    <a:pt x="10841" y="1033"/>
                    <a:pt x="6872" y="233"/>
                  </a:cubicBezTo>
                  <a:cubicBezTo>
                    <a:pt x="6101" y="71"/>
                    <a:pt x="5393" y="1"/>
                    <a:pt x="4750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8" name="Google Shape;7340;p120">
              <a:extLst>
                <a:ext uri="{FF2B5EF4-FFF2-40B4-BE49-F238E27FC236}">
                  <a16:creationId xmlns:a16="http://schemas.microsoft.com/office/drawing/2014/main" id="{1F6DCCAE-6A03-F274-D77C-945E52FA1B9A}"/>
                </a:ext>
              </a:extLst>
            </p:cNvPr>
            <p:cNvSpPr/>
            <p:nvPr/>
          </p:nvSpPr>
          <p:spPr>
            <a:xfrm>
              <a:off x="4552495" y="2107681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09" name="Google Shape;7341;p120">
              <a:extLst>
                <a:ext uri="{FF2B5EF4-FFF2-40B4-BE49-F238E27FC236}">
                  <a16:creationId xmlns:a16="http://schemas.microsoft.com/office/drawing/2014/main" id="{9B169C0F-59A8-844B-B806-C5F06966B1FB}"/>
                </a:ext>
              </a:extLst>
            </p:cNvPr>
            <p:cNvSpPr/>
            <p:nvPr/>
          </p:nvSpPr>
          <p:spPr>
            <a:xfrm>
              <a:off x="4530216" y="1926976"/>
              <a:ext cx="28451" cy="32067"/>
            </a:xfrm>
            <a:custGeom>
              <a:avLst/>
              <a:gdLst/>
              <a:ahLst/>
              <a:cxnLst/>
              <a:rect l="l" t="t" r="r" b="b"/>
              <a:pathLst>
                <a:path w="1473" h="1543" extrusionOk="0">
                  <a:moveTo>
                    <a:pt x="768" y="0"/>
                  </a:moveTo>
                  <a:cubicBezTo>
                    <a:pt x="726" y="0"/>
                    <a:pt x="681" y="8"/>
                    <a:pt x="634" y="24"/>
                  </a:cubicBezTo>
                  <a:cubicBezTo>
                    <a:pt x="543" y="61"/>
                    <a:pt x="457" y="110"/>
                    <a:pt x="379" y="169"/>
                  </a:cubicBezTo>
                  <a:lnTo>
                    <a:pt x="379" y="169"/>
                  </a:lnTo>
                  <a:cubicBezTo>
                    <a:pt x="306" y="217"/>
                    <a:pt x="243" y="278"/>
                    <a:pt x="193" y="351"/>
                  </a:cubicBezTo>
                  <a:lnTo>
                    <a:pt x="193" y="351"/>
                  </a:lnTo>
                  <a:cubicBezTo>
                    <a:pt x="87" y="486"/>
                    <a:pt x="17" y="648"/>
                    <a:pt x="0" y="825"/>
                  </a:cubicBezTo>
                  <a:cubicBezTo>
                    <a:pt x="0" y="1081"/>
                    <a:pt x="163" y="1304"/>
                    <a:pt x="385" y="1405"/>
                  </a:cubicBezTo>
                  <a:lnTo>
                    <a:pt x="385" y="1405"/>
                  </a:lnTo>
                  <a:cubicBezTo>
                    <a:pt x="502" y="1498"/>
                    <a:pt x="642" y="1543"/>
                    <a:pt x="782" y="1543"/>
                  </a:cubicBezTo>
                  <a:cubicBezTo>
                    <a:pt x="964" y="1543"/>
                    <a:pt x="1144" y="1467"/>
                    <a:pt x="1268" y="1325"/>
                  </a:cubicBezTo>
                  <a:cubicBezTo>
                    <a:pt x="1420" y="1174"/>
                    <a:pt x="1473" y="938"/>
                    <a:pt x="1446" y="709"/>
                  </a:cubicBezTo>
                  <a:lnTo>
                    <a:pt x="1446" y="709"/>
                  </a:lnTo>
                  <a:cubicBezTo>
                    <a:pt x="1442" y="590"/>
                    <a:pt x="1407" y="478"/>
                    <a:pt x="1348" y="383"/>
                  </a:cubicBezTo>
                  <a:lnTo>
                    <a:pt x="1348" y="383"/>
                  </a:lnTo>
                  <a:cubicBezTo>
                    <a:pt x="1344" y="375"/>
                    <a:pt x="1339" y="366"/>
                    <a:pt x="1335" y="358"/>
                  </a:cubicBezTo>
                  <a:cubicBezTo>
                    <a:pt x="1325" y="345"/>
                    <a:pt x="1315" y="333"/>
                    <a:pt x="1305" y="321"/>
                  </a:cubicBezTo>
                  <a:lnTo>
                    <a:pt x="1305" y="321"/>
                  </a:lnTo>
                  <a:cubicBezTo>
                    <a:pt x="1239" y="237"/>
                    <a:pt x="1154" y="171"/>
                    <a:pt x="1055" y="129"/>
                  </a:cubicBezTo>
                  <a:lnTo>
                    <a:pt x="1055" y="129"/>
                  </a:lnTo>
                  <a:cubicBezTo>
                    <a:pt x="1046" y="124"/>
                    <a:pt x="1036" y="119"/>
                    <a:pt x="1026" y="115"/>
                  </a:cubicBezTo>
                  <a:lnTo>
                    <a:pt x="1026" y="115"/>
                  </a:lnTo>
                  <a:cubicBezTo>
                    <a:pt x="959" y="45"/>
                    <a:pt x="871" y="0"/>
                    <a:pt x="768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0" name="Google Shape;7342;p120">
              <a:extLst>
                <a:ext uri="{FF2B5EF4-FFF2-40B4-BE49-F238E27FC236}">
                  <a16:creationId xmlns:a16="http://schemas.microsoft.com/office/drawing/2014/main" id="{41D2CD9E-419D-376B-C247-BE21BAA769B5}"/>
                </a:ext>
              </a:extLst>
            </p:cNvPr>
            <p:cNvSpPr/>
            <p:nvPr/>
          </p:nvSpPr>
          <p:spPr>
            <a:xfrm>
              <a:off x="4654511" y="1927330"/>
              <a:ext cx="28385" cy="31365"/>
            </a:xfrm>
            <a:custGeom>
              <a:avLst/>
              <a:gdLst/>
              <a:ahLst/>
              <a:cxnLst/>
              <a:rect l="l" t="t" r="r" b="b"/>
              <a:pathLst>
                <a:path w="1366" h="1509" extrusionOk="0">
                  <a:moveTo>
                    <a:pt x="736" y="1"/>
                  </a:moveTo>
                  <a:cubicBezTo>
                    <a:pt x="223" y="1"/>
                    <a:pt x="0" y="703"/>
                    <a:pt x="214" y="1105"/>
                  </a:cubicBezTo>
                  <a:lnTo>
                    <a:pt x="214" y="1105"/>
                  </a:lnTo>
                  <a:cubicBezTo>
                    <a:pt x="274" y="1348"/>
                    <a:pt x="465" y="1509"/>
                    <a:pt x="681" y="1509"/>
                  </a:cubicBezTo>
                  <a:cubicBezTo>
                    <a:pt x="763" y="1509"/>
                    <a:pt x="848" y="1486"/>
                    <a:pt x="932" y="1436"/>
                  </a:cubicBezTo>
                  <a:cubicBezTo>
                    <a:pt x="1199" y="1269"/>
                    <a:pt x="1365" y="969"/>
                    <a:pt x="1365" y="669"/>
                  </a:cubicBezTo>
                  <a:cubicBezTo>
                    <a:pt x="1365" y="335"/>
                    <a:pt x="1099" y="68"/>
                    <a:pt x="765" y="2"/>
                  </a:cubicBezTo>
                  <a:cubicBezTo>
                    <a:pt x="755" y="1"/>
                    <a:pt x="746" y="1"/>
                    <a:pt x="736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1" name="Google Shape;7343;p120">
              <a:extLst>
                <a:ext uri="{FF2B5EF4-FFF2-40B4-BE49-F238E27FC236}">
                  <a16:creationId xmlns:a16="http://schemas.microsoft.com/office/drawing/2014/main" id="{CEDCEEA1-7ABC-8A61-6EFC-C40136364298}"/>
                </a:ext>
              </a:extLst>
            </p:cNvPr>
            <p:cNvSpPr/>
            <p:nvPr/>
          </p:nvSpPr>
          <p:spPr>
            <a:xfrm>
              <a:off x="4565820" y="2033456"/>
              <a:ext cx="90925" cy="40075"/>
            </a:xfrm>
            <a:custGeom>
              <a:avLst/>
              <a:gdLst/>
              <a:ahLst/>
              <a:cxnLst/>
              <a:rect l="l" t="t" r="r" b="b"/>
              <a:pathLst>
                <a:path w="3637" h="1603" extrusionOk="0">
                  <a:moveTo>
                    <a:pt x="101" y="1"/>
                  </a:moveTo>
                  <a:lnTo>
                    <a:pt x="1" y="34"/>
                  </a:lnTo>
                  <a:cubicBezTo>
                    <a:pt x="1" y="34"/>
                    <a:pt x="134" y="1535"/>
                    <a:pt x="1769" y="1602"/>
                  </a:cubicBezTo>
                  <a:cubicBezTo>
                    <a:pt x="3370" y="1602"/>
                    <a:pt x="3637" y="1"/>
                    <a:pt x="3637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2" name="Google Shape;7344;p120">
              <a:extLst>
                <a:ext uri="{FF2B5EF4-FFF2-40B4-BE49-F238E27FC236}">
                  <a16:creationId xmlns:a16="http://schemas.microsoft.com/office/drawing/2014/main" id="{8FF6446A-027E-57B1-A282-351AF45982D1}"/>
                </a:ext>
              </a:extLst>
            </p:cNvPr>
            <p:cNvSpPr/>
            <p:nvPr/>
          </p:nvSpPr>
          <p:spPr>
            <a:xfrm>
              <a:off x="4504120" y="1892206"/>
              <a:ext cx="74250" cy="16950"/>
            </a:xfrm>
            <a:custGeom>
              <a:avLst/>
              <a:gdLst/>
              <a:ahLst/>
              <a:cxnLst/>
              <a:rect l="l" t="t" r="r" b="b"/>
              <a:pathLst>
                <a:path w="2970" h="678" extrusionOk="0">
                  <a:moveTo>
                    <a:pt x="1536" y="1"/>
                  </a:moveTo>
                  <a:cubicBezTo>
                    <a:pt x="1008" y="1"/>
                    <a:pt x="479" y="117"/>
                    <a:pt x="167" y="314"/>
                  </a:cubicBezTo>
                  <a:cubicBezTo>
                    <a:pt x="1" y="414"/>
                    <a:pt x="101" y="647"/>
                    <a:pt x="267" y="647"/>
                  </a:cubicBezTo>
                  <a:cubicBezTo>
                    <a:pt x="314" y="650"/>
                    <a:pt x="360" y="652"/>
                    <a:pt x="406" y="652"/>
                  </a:cubicBezTo>
                  <a:cubicBezTo>
                    <a:pt x="776" y="652"/>
                    <a:pt x="1145" y="565"/>
                    <a:pt x="1514" y="565"/>
                  </a:cubicBezTo>
                  <a:cubicBezTo>
                    <a:pt x="1599" y="565"/>
                    <a:pt x="1684" y="569"/>
                    <a:pt x="1768" y="581"/>
                  </a:cubicBezTo>
                  <a:cubicBezTo>
                    <a:pt x="2003" y="602"/>
                    <a:pt x="2264" y="677"/>
                    <a:pt x="2500" y="677"/>
                  </a:cubicBezTo>
                  <a:cubicBezTo>
                    <a:pt x="2634" y="677"/>
                    <a:pt x="2761" y="653"/>
                    <a:pt x="2869" y="581"/>
                  </a:cubicBezTo>
                  <a:cubicBezTo>
                    <a:pt x="2969" y="514"/>
                    <a:pt x="2969" y="447"/>
                    <a:pt x="2936" y="414"/>
                  </a:cubicBezTo>
                  <a:cubicBezTo>
                    <a:pt x="2631" y="125"/>
                    <a:pt x="2084" y="1"/>
                    <a:pt x="1536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3" name="Google Shape;7345;p120">
              <a:extLst>
                <a:ext uri="{FF2B5EF4-FFF2-40B4-BE49-F238E27FC236}">
                  <a16:creationId xmlns:a16="http://schemas.microsoft.com/office/drawing/2014/main" id="{47013FE0-F040-4E83-5572-6700E00C9CCB}"/>
                </a:ext>
              </a:extLst>
            </p:cNvPr>
            <p:cNvSpPr/>
            <p:nvPr/>
          </p:nvSpPr>
          <p:spPr>
            <a:xfrm>
              <a:off x="4635045" y="1895481"/>
              <a:ext cx="68400" cy="14550"/>
            </a:xfrm>
            <a:custGeom>
              <a:avLst/>
              <a:gdLst/>
              <a:ahLst/>
              <a:cxnLst/>
              <a:rect l="l" t="t" r="r" b="b"/>
              <a:pathLst>
                <a:path w="2736" h="582" extrusionOk="0">
                  <a:moveTo>
                    <a:pt x="1555" y="0"/>
                  </a:moveTo>
                  <a:cubicBezTo>
                    <a:pt x="1419" y="0"/>
                    <a:pt x="1287" y="7"/>
                    <a:pt x="1168" y="16"/>
                  </a:cubicBezTo>
                  <a:cubicBezTo>
                    <a:pt x="768" y="16"/>
                    <a:pt x="267" y="16"/>
                    <a:pt x="34" y="350"/>
                  </a:cubicBezTo>
                  <a:cubicBezTo>
                    <a:pt x="1" y="350"/>
                    <a:pt x="34" y="450"/>
                    <a:pt x="67" y="483"/>
                  </a:cubicBezTo>
                  <a:cubicBezTo>
                    <a:pt x="192" y="558"/>
                    <a:pt x="336" y="582"/>
                    <a:pt x="487" y="582"/>
                  </a:cubicBezTo>
                  <a:cubicBezTo>
                    <a:pt x="737" y="582"/>
                    <a:pt x="1005" y="516"/>
                    <a:pt x="1235" y="516"/>
                  </a:cubicBezTo>
                  <a:cubicBezTo>
                    <a:pt x="1546" y="516"/>
                    <a:pt x="1857" y="546"/>
                    <a:pt x="2149" y="546"/>
                  </a:cubicBezTo>
                  <a:cubicBezTo>
                    <a:pt x="2295" y="546"/>
                    <a:pt x="2436" y="539"/>
                    <a:pt x="2569" y="516"/>
                  </a:cubicBezTo>
                  <a:cubicBezTo>
                    <a:pt x="2703" y="483"/>
                    <a:pt x="2736" y="316"/>
                    <a:pt x="2602" y="216"/>
                  </a:cubicBezTo>
                  <a:cubicBezTo>
                    <a:pt x="2312" y="47"/>
                    <a:pt x="1916" y="0"/>
                    <a:pt x="155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4" name="Google Shape;7346;p120">
              <a:extLst>
                <a:ext uri="{FF2B5EF4-FFF2-40B4-BE49-F238E27FC236}">
                  <a16:creationId xmlns:a16="http://schemas.microsoft.com/office/drawing/2014/main" id="{431F8BC9-D3B9-A028-611A-698ECC89EC78}"/>
                </a:ext>
              </a:extLst>
            </p:cNvPr>
            <p:cNvSpPr/>
            <p:nvPr/>
          </p:nvSpPr>
          <p:spPr>
            <a:xfrm>
              <a:off x="4439920" y="1937556"/>
              <a:ext cx="49225" cy="74575"/>
            </a:xfrm>
            <a:custGeom>
              <a:avLst/>
              <a:gdLst/>
              <a:ahLst/>
              <a:cxnLst/>
              <a:rect l="l" t="t" r="r" b="b"/>
              <a:pathLst>
                <a:path w="1969" h="2983" extrusionOk="0">
                  <a:moveTo>
                    <a:pt x="867" y="1"/>
                  </a:moveTo>
                  <a:cubicBezTo>
                    <a:pt x="667" y="1"/>
                    <a:pt x="500" y="101"/>
                    <a:pt x="367" y="201"/>
                  </a:cubicBezTo>
                  <a:cubicBezTo>
                    <a:pt x="234" y="334"/>
                    <a:pt x="167" y="535"/>
                    <a:pt x="133" y="701"/>
                  </a:cubicBezTo>
                  <a:cubicBezTo>
                    <a:pt x="67" y="835"/>
                    <a:pt x="33" y="1002"/>
                    <a:pt x="33" y="1168"/>
                  </a:cubicBezTo>
                  <a:cubicBezTo>
                    <a:pt x="0" y="1869"/>
                    <a:pt x="400" y="2603"/>
                    <a:pt x="1034" y="2870"/>
                  </a:cubicBezTo>
                  <a:cubicBezTo>
                    <a:pt x="1192" y="2940"/>
                    <a:pt x="1360" y="2983"/>
                    <a:pt x="1527" y="2983"/>
                  </a:cubicBezTo>
                  <a:cubicBezTo>
                    <a:pt x="1677" y="2983"/>
                    <a:pt x="1826" y="2948"/>
                    <a:pt x="1968" y="2870"/>
                  </a:cubicBezTo>
                  <a:lnTo>
                    <a:pt x="1468" y="435"/>
                  </a:lnTo>
                  <a:cubicBezTo>
                    <a:pt x="1334" y="201"/>
                    <a:pt x="1134" y="1"/>
                    <a:pt x="867" y="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5" name="Google Shape;7347;p120">
              <a:extLst>
                <a:ext uri="{FF2B5EF4-FFF2-40B4-BE49-F238E27FC236}">
                  <a16:creationId xmlns:a16="http://schemas.microsoft.com/office/drawing/2014/main" id="{E214976D-C0A0-9ECF-EBF9-1D65E5D37C05}"/>
                </a:ext>
              </a:extLst>
            </p:cNvPr>
            <p:cNvSpPr/>
            <p:nvPr/>
          </p:nvSpPr>
          <p:spPr>
            <a:xfrm>
              <a:off x="4703420" y="1937256"/>
              <a:ext cx="52575" cy="73725"/>
            </a:xfrm>
            <a:custGeom>
              <a:avLst/>
              <a:gdLst/>
              <a:ahLst/>
              <a:cxnLst/>
              <a:rect l="l" t="t" r="r" b="b"/>
              <a:pathLst>
                <a:path w="2103" h="2949" extrusionOk="0">
                  <a:moveTo>
                    <a:pt x="1544" y="0"/>
                  </a:moveTo>
                  <a:cubicBezTo>
                    <a:pt x="1419" y="0"/>
                    <a:pt x="1293" y="38"/>
                    <a:pt x="1168" y="113"/>
                  </a:cubicBezTo>
                  <a:cubicBezTo>
                    <a:pt x="902" y="213"/>
                    <a:pt x="701" y="346"/>
                    <a:pt x="635" y="547"/>
                  </a:cubicBezTo>
                  <a:lnTo>
                    <a:pt x="1" y="2848"/>
                  </a:lnTo>
                  <a:cubicBezTo>
                    <a:pt x="34" y="2948"/>
                    <a:pt x="134" y="2948"/>
                    <a:pt x="201" y="2948"/>
                  </a:cubicBezTo>
                  <a:cubicBezTo>
                    <a:pt x="701" y="2882"/>
                    <a:pt x="1202" y="2615"/>
                    <a:pt x="1535" y="2214"/>
                  </a:cubicBezTo>
                  <a:cubicBezTo>
                    <a:pt x="1869" y="1848"/>
                    <a:pt x="2102" y="1314"/>
                    <a:pt x="2102" y="813"/>
                  </a:cubicBezTo>
                  <a:cubicBezTo>
                    <a:pt x="2102" y="480"/>
                    <a:pt x="1969" y="113"/>
                    <a:pt x="1669" y="13"/>
                  </a:cubicBezTo>
                  <a:cubicBezTo>
                    <a:pt x="1627" y="5"/>
                    <a:pt x="1585" y="0"/>
                    <a:pt x="1544" y="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6" name="Google Shape;7348;p120">
              <a:extLst>
                <a:ext uri="{FF2B5EF4-FFF2-40B4-BE49-F238E27FC236}">
                  <a16:creationId xmlns:a16="http://schemas.microsoft.com/office/drawing/2014/main" id="{D0A2E10D-78D6-9168-0384-BB6429918CC4}"/>
                </a:ext>
              </a:extLst>
            </p:cNvPr>
            <p:cNvSpPr/>
            <p:nvPr/>
          </p:nvSpPr>
          <p:spPr>
            <a:xfrm>
              <a:off x="4453245" y="2161056"/>
              <a:ext cx="300250" cy="128450"/>
            </a:xfrm>
            <a:custGeom>
              <a:avLst/>
              <a:gdLst/>
              <a:ahLst/>
              <a:cxnLst/>
              <a:rect l="l" t="t" r="r" b="b"/>
              <a:pathLst>
                <a:path w="12010" h="5138" extrusionOk="0">
                  <a:moveTo>
                    <a:pt x="7439" y="1"/>
                  </a:moveTo>
                  <a:lnTo>
                    <a:pt x="4170" y="201"/>
                  </a:lnTo>
                  <a:cubicBezTo>
                    <a:pt x="3970" y="201"/>
                    <a:pt x="1" y="2135"/>
                    <a:pt x="1" y="2135"/>
                  </a:cubicBezTo>
                  <a:lnTo>
                    <a:pt x="6605" y="5138"/>
                  </a:lnTo>
                  <a:lnTo>
                    <a:pt x="12009" y="1735"/>
                  </a:lnTo>
                  <a:lnTo>
                    <a:pt x="7439" y="1"/>
                  </a:ln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7" name="Google Shape;7349;p120">
              <a:extLst>
                <a:ext uri="{FF2B5EF4-FFF2-40B4-BE49-F238E27FC236}">
                  <a16:creationId xmlns:a16="http://schemas.microsoft.com/office/drawing/2014/main" id="{99D6229E-FB98-2A96-264C-D4FB1A1CA8FE}"/>
                </a:ext>
              </a:extLst>
            </p:cNvPr>
            <p:cNvSpPr/>
            <p:nvPr/>
          </p:nvSpPr>
          <p:spPr>
            <a:xfrm>
              <a:off x="4599745" y="1921506"/>
              <a:ext cx="42825" cy="98000"/>
            </a:xfrm>
            <a:custGeom>
              <a:avLst/>
              <a:gdLst/>
              <a:ahLst/>
              <a:cxnLst/>
              <a:rect l="l" t="t" r="r" b="b"/>
              <a:pathLst>
                <a:path w="1713" h="3920" extrusionOk="0">
                  <a:moveTo>
                    <a:pt x="666" y="1"/>
                  </a:moveTo>
                  <a:cubicBezTo>
                    <a:pt x="637" y="1"/>
                    <a:pt x="595" y="26"/>
                    <a:pt x="579" y="76"/>
                  </a:cubicBezTo>
                  <a:cubicBezTo>
                    <a:pt x="330" y="1041"/>
                    <a:pt x="487" y="2268"/>
                    <a:pt x="1297" y="2970"/>
                  </a:cubicBezTo>
                  <a:lnTo>
                    <a:pt x="1297" y="2970"/>
                  </a:lnTo>
                  <a:cubicBezTo>
                    <a:pt x="971" y="3223"/>
                    <a:pt x="621" y="3367"/>
                    <a:pt x="245" y="3512"/>
                  </a:cubicBezTo>
                  <a:cubicBezTo>
                    <a:pt x="0" y="3603"/>
                    <a:pt x="92" y="3920"/>
                    <a:pt x="264" y="3920"/>
                  </a:cubicBezTo>
                  <a:cubicBezTo>
                    <a:pt x="279" y="3920"/>
                    <a:pt x="295" y="3917"/>
                    <a:pt x="312" y="3912"/>
                  </a:cubicBezTo>
                  <a:cubicBezTo>
                    <a:pt x="812" y="3678"/>
                    <a:pt x="1212" y="3445"/>
                    <a:pt x="1646" y="3078"/>
                  </a:cubicBezTo>
                  <a:cubicBezTo>
                    <a:pt x="1713" y="2978"/>
                    <a:pt x="1679" y="2844"/>
                    <a:pt x="1613" y="2811"/>
                  </a:cubicBezTo>
                  <a:cubicBezTo>
                    <a:pt x="712" y="2177"/>
                    <a:pt x="712" y="1010"/>
                    <a:pt x="679" y="76"/>
                  </a:cubicBezTo>
                  <a:cubicBezTo>
                    <a:pt x="712" y="26"/>
                    <a:pt x="695" y="1"/>
                    <a:pt x="666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8" name="Google Shape;7350;p120">
              <a:extLst>
                <a:ext uri="{FF2B5EF4-FFF2-40B4-BE49-F238E27FC236}">
                  <a16:creationId xmlns:a16="http://schemas.microsoft.com/office/drawing/2014/main" id="{4D43DE63-181B-089A-C05D-0ECB9B2D65BA}"/>
                </a:ext>
              </a:extLst>
            </p:cNvPr>
            <p:cNvSpPr/>
            <p:nvPr/>
          </p:nvSpPr>
          <p:spPr>
            <a:xfrm>
              <a:off x="4506620" y="1738106"/>
              <a:ext cx="262725" cy="156200"/>
            </a:xfrm>
            <a:custGeom>
              <a:avLst/>
              <a:gdLst/>
              <a:ahLst/>
              <a:cxnLst/>
              <a:rect l="l" t="t" r="r" b="b"/>
              <a:pathLst>
                <a:path w="10509" h="6248" extrusionOk="0">
                  <a:moveTo>
                    <a:pt x="3479" y="1"/>
                  </a:moveTo>
                  <a:cubicBezTo>
                    <a:pt x="2276" y="1"/>
                    <a:pt x="1048" y="147"/>
                    <a:pt x="34" y="774"/>
                  </a:cubicBezTo>
                  <a:cubicBezTo>
                    <a:pt x="1" y="1574"/>
                    <a:pt x="134" y="2341"/>
                    <a:pt x="368" y="3109"/>
                  </a:cubicBezTo>
                  <a:cubicBezTo>
                    <a:pt x="634" y="3809"/>
                    <a:pt x="901" y="4476"/>
                    <a:pt x="1468" y="5010"/>
                  </a:cubicBezTo>
                  <a:cubicBezTo>
                    <a:pt x="1923" y="5525"/>
                    <a:pt x="2569" y="5820"/>
                    <a:pt x="3209" y="5820"/>
                  </a:cubicBezTo>
                  <a:cubicBezTo>
                    <a:pt x="3274" y="5820"/>
                    <a:pt x="3339" y="5817"/>
                    <a:pt x="3403" y="5811"/>
                  </a:cubicBezTo>
                  <a:cubicBezTo>
                    <a:pt x="3170" y="5143"/>
                    <a:pt x="2402" y="4643"/>
                    <a:pt x="2369" y="3943"/>
                  </a:cubicBezTo>
                  <a:cubicBezTo>
                    <a:pt x="2536" y="3943"/>
                    <a:pt x="2636" y="4076"/>
                    <a:pt x="2736" y="4176"/>
                  </a:cubicBezTo>
                  <a:cubicBezTo>
                    <a:pt x="3236" y="4777"/>
                    <a:pt x="3803" y="5277"/>
                    <a:pt x="4470" y="5677"/>
                  </a:cubicBezTo>
                  <a:cubicBezTo>
                    <a:pt x="5095" y="6021"/>
                    <a:pt x="5779" y="6247"/>
                    <a:pt x="6493" y="6247"/>
                  </a:cubicBezTo>
                  <a:cubicBezTo>
                    <a:pt x="6541" y="6247"/>
                    <a:pt x="6590" y="6246"/>
                    <a:pt x="6639" y="6244"/>
                  </a:cubicBezTo>
                  <a:cubicBezTo>
                    <a:pt x="6705" y="6244"/>
                    <a:pt x="6839" y="6178"/>
                    <a:pt x="6872" y="6111"/>
                  </a:cubicBezTo>
                  <a:cubicBezTo>
                    <a:pt x="6705" y="5844"/>
                    <a:pt x="6372" y="5711"/>
                    <a:pt x="6105" y="5544"/>
                  </a:cubicBezTo>
                  <a:cubicBezTo>
                    <a:pt x="5871" y="5377"/>
                    <a:pt x="5638" y="5143"/>
                    <a:pt x="5638" y="4810"/>
                  </a:cubicBezTo>
                  <a:lnTo>
                    <a:pt x="5638" y="4810"/>
                  </a:lnTo>
                  <a:cubicBezTo>
                    <a:pt x="6639" y="5444"/>
                    <a:pt x="7739" y="5844"/>
                    <a:pt x="8974" y="5977"/>
                  </a:cubicBezTo>
                  <a:cubicBezTo>
                    <a:pt x="9074" y="5987"/>
                    <a:pt x="9183" y="5993"/>
                    <a:pt x="9292" y="5993"/>
                  </a:cubicBezTo>
                  <a:cubicBezTo>
                    <a:pt x="9582" y="5993"/>
                    <a:pt x="9881" y="5947"/>
                    <a:pt x="10074" y="5777"/>
                  </a:cubicBezTo>
                  <a:cubicBezTo>
                    <a:pt x="10508" y="5444"/>
                    <a:pt x="10441" y="4810"/>
                    <a:pt x="10341" y="4276"/>
                  </a:cubicBezTo>
                  <a:cubicBezTo>
                    <a:pt x="10041" y="3209"/>
                    <a:pt x="9407" y="2341"/>
                    <a:pt x="8673" y="1541"/>
                  </a:cubicBezTo>
                  <a:cubicBezTo>
                    <a:pt x="8407" y="1307"/>
                    <a:pt x="8173" y="1041"/>
                    <a:pt x="7873" y="840"/>
                  </a:cubicBezTo>
                  <a:cubicBezTo>
                    <a:pt x="7606" y="674"/>
                    <a:pt x="7339" y="574"/>
                    <a:pt x="7006" y="440"/>
                  </a:cubicBezTo>
                  <a:cubicBezTo>
                    <a:pt x="6005" y="107"/>
                    <a:pt x="4937" y="6"/>
                    <a:pt x="3903" y="6"/>
                  </a:cubicBezTo>
                  <a:cubicBezTo>
                    <a:pt x="3763" y="3"/>
                    <a:pt x="3621" y="1"/>
                    <a:pt x="347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19" name="Google Shape;7351;p120">
              <a:extLst>
                <a:ext uri="{FF2B5EF4-FFF2-40B4-BE49-F238E27FC236}">
                  <a16:creationId xmlns:a16="http://schemas.microsoft.com/office/drawing/2014/main" id="{234E4B1B-A05C-0FF5-7917-5883DD230BD4}"/>
                </a:ext>
              </a:extLst>
            </p:cNvPr>
            <p:cNvSpPr/>
            <p:nvPr/>
          </p:nvSpPr>
          <p:spPr>
            <a:xfrm>
              <a:off x="4441570" y="1754556"/>
              <a:ext cx="79250" cy="214725"/>
            </a:xfrm>
            <a:custGeom>
              <a:avLst/>
              <a:gdLst/>
              <a:ahLst/>
              <a:cxnLst/>
              <a:rect l="l" t="t" r="r" b="b"/>
              <a:pathLst>
                <a:path w="3170" h="8589" extrusionOk="0">
                  <a:moveTo>
                    <a:pt x="2569" y="1"/>
                  </a:moveTo>
                  <a:cubicBezTo>
                    <a:pt x="2525" y="1"/>
                    <a:pt x="2480" y="16"/>
                    <a:pt x="2436" y="16"/>
                  </a:cubicBezTo>
                  <a:cubicBezTo>
                    <a:pt x="1502" y="216"/>
                    <a:pt x="801" y="983"/>
                    <a:pt x="434" y="1850"/>
                  </a:cubicBezTo>
                  <a:cubicBezTo>
                    <a:pt x="67" y="2718"/>
                    <a:pt x="1" y="3685"/>
                    <a:pt x="67" y="4652"/>
                  </a:cubicBezTo>
                  <a:cubicBezTo>
                    <a:pt x="101" y="5620"/>
                    <a:pt x="268" y="6520"/>
                    <a:pt x="334" y="7488"/>
                  </a:cubicBezTo>
                  <a:cubicBezTo>
                    <a:pt x="350" y="7486"/>
                    <a:pt x="365" y="7485"/>
                    <a:pt x="380" y="7485"/>
                  </a:cubicBezTo>
                  <a:cubicBezTo>
                    <a:pt x="648" y="7485"/>
                    <a:pt x="771" y="7765"/>
                    <a:pt x="835" y="7955"/>
                  </a:cubicBezTo>
                  <a:cubicBezTo>
                    <a:pt x="901" y="8188"/>
                    <a:pt x="968" y="8488"/>
                    <a:pt x="1235" y="8588"/>
                  </a:cubicBezTo>
                  <a:cubicBezTo>
                    <a:pt x="1669" y="7221"/>
                    <a:pt x="1335" y="5653"/>
                    <a:pt x="2102" y="4452"/>
                  </a:cubicBezTo>
                  <a:cubicBezTo>
                    <a:pt x="2436" y="3952"/>
                    <a:pt x="2903" y="3551"/>
                    <a:pt x="3070" y="2984"/>
                  </a:cubicBezTo>
                  <a:cubicBezTo>
                    <a:pt x="3170" y="2651"/>
                    <a:pt x="3103" y="2284"/>
                    <a:pt x="3070" y="1884"/>
                  </a:cubicBezTo>
                  <a:cubicBezTo>
                    <a:pt x="2970" y="1350"/>
                    <a:pt x="2903" y="850"/>
                    <a:pt x="2803" y="316"/>
                  </a:cubicBezTo>
                  <a:cubicBezTo>
                    <a:pt x="2803" y="216"/>
                    <a:pt x="2769" y="49"/>
                    <a:pt x="2636" y="16"/>
                  </a:cubicBezTo>
                  <a:cubicBezTo>
                    <a:pt x="2614" y="5"/>
                    <a:pt x="2591" y="1"/>
                    <a:pt x="256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0" name="Google Shape;7352;p120">
              <a:extLst>
                <a:ext uri="{FF2B5EF4-FFF2-40B4-BE49-F238E27FC236}">
                  <a16:creationId xmlns:a16="http://schemas.microsoft.com/office/drawing/2014/main" id="{F80DBAAB-E16B-B45B-DCC6-E77D2827EFA0}"/>
                </a:ext>
              </a:extLst>
            </p:cNvPr>
            <p:cNvSpPr/>
            <p:nvPr/>
          </p:nvSpPr>
          <p:spPr>
            <a:xfrm>
              <a:off x="4714270" y="1877531"/>
              <a:ext cx="28375" cy="93425"/>
            </a:xfrm>
            <a:custGeom>
              <a:avLst/>
              <a:gdLst/>
              <a:ahLst/>
              <a:cxnLst/>
              <a:rect l="l" t="t" r="r" b="b"/>
              <a:pathLst>
                <a:path w="1135" h="3737" extrusionOk="0">
                  <a:moveTo>
                    <a:pt x="1035" y="0"/>
                  </a:moveTo>
                  <a:lnTo>
                    <a:pt x="1" y="367"/>
                  </a:lnTo>
                  <a:cubicBezTo>
                    <a:pt x="401" y="1401"/>
                    <a:pt x="67" y="2602"/>
                    <a:pt x="267" y="3736"/>
                  </a:cubicBezTo>
                  <a:cubicBezTo>
                    <a:pt x="367" y="3269"/>
                    <a:pt x="468" y="2769"/>
                    <a:pt x="901" y="2535"/>
                  </a:cubicBezTo>
                  <a:cubicBezTo>
                    <a:pt x="968" y="2502"/>
                    <a:pt x="1068" y="2435"/>
                    <a:pt x="1101" y="2402"/>
                  </a:cubicBezTo>
                  <a:cubicBezTo>
                    <a:pt x="1135" y="2335"/>
                    <a:pt x="1135" y="2235"/>
                    <a:pt x="1135" y="2102"/>
                  </a:cubicBezTo>
                  <a:lnTo>
                    <a:pt x="1035" y="0"/>
                  </a:lnTo>
                  <a:close/>
                </a:path>
              </a:pathLst>
            </a:custGeom>
            <a:solidFill>
              <a:srgbClr val="101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1" name="Google Shape;7353;p120">
              <a:extLst>
                <a:ext uri="{FF2B5EF4-FFF2-40B4-BE49-F238E27FC236}">
                  <a16:creationId xmlns:a16="http://schemas.microsoft.com/office/drawing/2014/main" id="{16371FB4-C2FB-DF51-3C17-08B02545CC11}"/>
                </a:ext>
              </a:extLst>
            </p:cNvPr>
            <p:cNvSpPr/>
            <p:nvPr/>
          </p:nvSpPr>
          <p:spPr>
            <a:xfrm>
              <a:off x="4655895" y="2721456"/>
              <a:ext cx="29700" cy="411400"/>
            </a:xfrm>
            <a:custGeom>
              <a:avLst/>
              <a:gdLst/>
              <a:ahLst/>
              <a:cxnLst/>
              <a:rect l="l" t="t" r="r" b="b"/>
              <a:pathLst>
                <a:path w="1188" h="16456" extrusionOk="0">
                  <a:moveTo>
                    <a:pt x="301" y="1"/>
                  </a:moveTo>
                  <a:cubicBezTo>
                    <a:pt x="184" y="1"/>
                    <a:pt x="67" y="67"/>
                    <a:pt x="67" y="201"/>
                  </a:cubicBezTo>
                  <a:cubicBezTo>
                    <a:pt x="1" y="3070"/>
                    <a:pt x="167" y="5972"/>
                    <a:pt x="234" y="8840"/>
                  </a:cubicBezTo>
                  <a:cubicBezTo>
                    <a:pt x="267" y="11309"/>
                    <a:pt x="101" y="13877"/>
                    <a:pt x="768" y="16312"/>
                  </a:cubicBezTo>
                  <a:cubicBezTo>
                    <a:pt x="810" y="16410"/>
                    <a:pt x="892" y="16455"/>
                    <a:pt x="972" y="16455"/>
                  </a:cubicBezTo>
                  <a:cubicBezTo>
                    <a:pt x="1083" y="16455"/>
                    <a:pt x="1187" y="16368"/>
                    <a:pt x="1168" y="16212"/>
                  </a:cubicBezTo>
                  <a:cubicBezTo>
                    <a:pt x="167" y="11009"/>
                    <a:pt x="901" y="5471"/>
                    <a:pt x="534" y="201"/>
                  </a:cubicBezTo>
                  <a:cubicBezTo>
                    <a:pt x="534" y="67"/>
                    <a:pt x="418" y="1"/>
                    <a:pt x="30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2" name="Google Shape;7354;p120">
              <a:extLst>
                <a:ext uri="{FF2B5EF4-FFF2-40B4-BE49-F238E27FC236}">
                  <a16:creationId xmlns:a16="http://schemas.microsoft.com/office/drawing/2014/main" id="{33E924C8-F2B7-A40C-703E-04CFEE74B2E1}"/>
                </a:ext>
              </a:extLst>
            </p:cNvPr>
            <p:cNvSpPr/>
            <p:nvPr/>
          </p:nvSpPr>
          <p:spPr>
            <a:xfrm>
              <a:off x="4445745" y="2720156"/>
              <a:ext cx="396850" cy="44400"/>
            </a:xfrm>
            <a:custGeom>
              <a:avLst/>
              <a:gdLst/>
              <a:ahLst/>
              <a:cxnLst/>
              <a:rect l="l" t="t" r="r" b="b"/>
              <a:pathLst>
                <a:path w="15874" h="1776" extrusionOk="0">
                  <a:moveTo>
                    <a:pt x="15452" y="1"/>
                  </a:moveTo>
                  <a:cubicBezTo>
                    <a:pt x="15419" y="1"/>
                    <a:pt x="15383" y="7"/>
                    <a:pt x="15345" y="19"/>
                  </a:cubicBezTo>
                  <a:cubicBezTo>
                    <a:pt x="12884" y="658"/>
                    <a:pt x="10331" y="1022"/>
                    <a:pt x="7774" y="1022"/>
                  </a:cubicBezTo>
                  <a:cubicBezTo>
                    <a:pt x="7663" y="1022"/>
                    <a:pt x="7551" y="1021"/>
                    <a:pt x="7439" y="1020"/>
                  </a:cubicBezTo>
                  <a:cubicBezTo>
                    <a:pt x="4971" y="1020"/>
                    <a:pt x="2602" y="453"/>
                    <a:pt x="167" y="253"/>
                  </a:cubicBezTo>
                  <a:cubicBezTo>
                    <a:pt x="1" y="253"/>
                    <a:pt x="1" y="486"/>
                    <a:pt x="134" y="520"/>
                  </a:cubicBezTo>
                  <a:cubicBezTo>
                    <a:pt x="2270" y="1420"/>
                    <a:pt x="4677" y="1776"/>
                    <a:pt x="7114" y="1776"/>
                  </a:cubicBezTo>
                  <a:cubicBezTo>
                    <a:pt x="10007" y="1776"/>
                    <a:pt x="12941" y="1274"/>
                    <a:pt x="15512" y="586"/>
                  </a:cubicBezTo>
                  <a:cubicBezTo>
                    <a:pt x="15874" y="526"/>
                    <a:pt x="15772" y="1"/>
                    <a:pt x="1545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29" name="Google Shape;7355;p120">
              <a:extLst>
                <a:ext uri="{FF2B5EF4-FFF2-40B4-BE49-F238E27FC236}">
                  <a16:creationId xmlns:a16="http://schemas.microsoft.com/office/drawing/2014/main" id="{5B909A1B-A638-3D80-242E-AF92A52725FC}"/>
                </a:ext>
              </a:extLst>
            </p:cNvPr>
            <p:cNvSpPr/>
            <p:nvPr/>
          </p:nvSpPr>
          <p:spPr>
            <a:xfrm>
              <a:off x="4615045" y="2722281"/>
              <a:ext cx="70075" cy="377425"/>
            </a:xfrm>
            <a:custGeom>
              <a:avLst/>
              <a:gdLst/>
              <a:ahLst/>
              <a:cxnLst/>
              <a:rect l="l" t="t" r="r" b="b"/>
              <a:pathLst>
                <a:path w="2803" h="15097" extrusionOk="0">
                  <a:moveTo>
                    <a:pt x="238" y="1"/>
                  </a:moveTo>
                  <a:cubicBezTo>
                    <a:pt x="184" y="1"/>
                    <a:pt x="133" y="34"/>
                    <a:pt x="133" y="101"/>
                  </a:cubicBezTo>
                  <a:cubicBezTo>
                    <a:pt x="0" y="3770"/>
                    <a:pt x="200" y="7473"/>
                    <a:pt x="367" y="11142"/>
                  </a:cubicBezTo>
                  <a:cubicBezTo>
                    <a:pt x="399" y="12511"/>
                    <a:pt x="187" y="15096"/>
                    <a:pt x="2083" y="15096"/>
                  </a:cubicBezTo>
                  <a:cubicBezTo>
                    <a:pt x="2173" y="15096"/>
                    <a:pt x="2268" y="15091"/>
                    <a:pt x="2368" y="15078"/>
                  </a:cubicBezTo>
                  <a:cubicBezTo>
                    <a:pt x="2803" y="15016"/>
                    <a:pt x="2746" y="14434"/>
                    <a:pt x="2387" y="14434"/>
                  </a:cubicBezTo>
                  <a:cubicBezTo>
                    <a:pt x="2360" y="14434"/>
                    <a:pt x="2332" y="14438"/>
                    <a:pt x="2302" y="14445"/>
                  </a:cubicBezTo>
                  <a:cubicBezTo>
                    <a:pt x="2251" y="14455"/>
                    <a:pt x="2202" y="14460"/>
                    <a:pt x="2155" y="14460"/>
                  </a:cubicBezTo>
                  <a:cubicBezTo>
                    <a:pt x="487" y="14460"/>
                    <a:pt x="833" y="8308"/>
                    <a:pt x="801" y="7173"/>
                  </a:cubicBezTo>
                  <a:cubicBezTo>
                    <a:pt x="701" y="4804"/>
                    <a:pt x="634" y="2436"/>
                    <a:pt x="367" y="101"/>
                  </a:cubicBezTo>
                  <a:cubicBezTo>
                    <a:pt x="350" y="34"/>
                    <a:pt x="292" y="1"/>
                    <a:pt x="23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0" name="Google Shape;7356;p120">
              <a:extLst>
                <a:ext uri="{FF2B5EF4-FFF2-40B4-BE49-F238E27FC236}">
                  <a16:creationId xmlns:a16="http://schemas.microsoft.com/office/drawing/2014/main" id="{1AAF94DC-0754-BAA3-B55E-14E49D973A6D}"/>
                </a:ext>
              </a:extLst>
            </p:cNvPr>
            <p:cNvSpPr/>
            <p:nvPr/>
          </p:nvSpPr>
          <p:spPr>
            <a:xfrm>
              <a:off x="4590020" y="3133956"/>
              <a:ext cx="196000" cy="14975"/>
            </a:xfrm>
            <a:custGeom>
              <a:avLst/>
              <a:gdLst/>
              <a:ahLst/>
              <a:cxnLst/>
              <a:rect l="l" t="t" r="r" b="b"/>
              <a:pathLst>
                <a:path w="7840" h="599" extrusionOk="0">
                  <a:moveTo>
                    <a:pt x="5757" y="0"/>
                  </a:moveTo>
                  <a:cubicBezTo>
                    <a:pt x="5277" y="0"/>
                    <a:pt x="4798" y="32"/>
                    <a:pt x="4337" y="46"/>
                  </a:cubicBezTo>
                  <a:cubicBezTo>
                    <a:pt x="2936" y="79"/>
                    <a:pt x="1535" y="146"/>
                    <a:pt x="167" y="313"/>
                  </a:cubicBezTo>
                  <a:cubicBezTo>
                    <a:pt x="0" y="346"/>
                    <a:pt x="0" y="546"/>
                    <a:pt x="167" y="546"/>
                  </a:cubicBezTo>
                  <a:cubicBezTo>
                    <a:pt x="904" y="585"/>
                    <a:pt x="1641" y="599"/>
                    <a:pt x="2377" y="599"/>
                  </a:cubicBezTo>
                  <a:cubicBezTo>
                    <a:pt x="3906" y="599"/>
                    <a:pt x="5435" y="542"/>
                    <a:pt x="6963" y="542"/>
                  </a:cubicBezTo>
                  <a:cubicBezTo>
                    <a:pt x="7200" y="542"/>
                    <a:pt x="7436" y="543"/>
                    <a:pt x="7672" y="546"/>
                  </a:cubicBezTo>
                  <a:cubicBezTo>
                    <a:pt x="7806" y="546"/>
                    <a:pt x="7839" y="346"/>
                    <a:pt x="7706" y="313"/>
                  </a:cubicBezTo>
                  <a:cubicBezTo>
                    <a:pt x="7086" y="61"/>
                    <a:pt x="6421" y="0"/>
                    <a:pt x="5757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1" name="Google Shape;7357;p120">
              <a:extLst>
                <a:ext uri="{FF2B5EF4-FFF2-40B4-BE49-F238E27FC236}">
                  <a16:creationId xmlns:a16="http://schemas.microsoft.com/office/drawing/2014/main" id="{247101E6-0476-C920-519E-40699CC8028E}"/>
                </a:ext>
              </a:extLst>
            </p:cNvPr>
            <p:cNvSpPr/>
            <p:nvPr/>
          </p:nvSpPr>
          <p:spPr>
            <a:xfrm>
              <a:off x="4459920" y="4118281"/>
              <a:ext cx="73425" cy="32550"/>
            </a:xfrm>
            <a:custGeom>
              <a:avLst/>
              <a:gdLst/>
              <a:ahLst/>
              <a:cxnLst/>
              <a:rect l="l" t="t" r="r" b="b"/>
              <a:pathLst>
                <a:path w="2937" h="1302" extrusionOk="0">
                  <a:moveTo>
                    <a:pt x="1" y="1"/>
                  </a:moveTo>
                  <a:cubicBezTo>
                    <a:pt x="734" y="802"/>
                    <a:pt x="1769" y="1302"/>
                    <a:pt x="2903" y="1302"/>
                  </a:cubicBezTo>
                  <a:cubicBezTo>
                    <a:pt x="2936" y="1302"/>
                    <a:pt x="2936" y="1269"/>
                    <a:pt x="2903" y="1202"/>
                  </a:cubicBezTo>
                  <a:cubicBezTo>
                    <a:pt x="1769" y="1202"/>
                    <a:pt x="835" y="802"/>
                    <a:pt x="1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2" name="Google Shape;7358;p120">
              <a:extLst>
                <a:ext uri="{FF2B5EF4-FFF2-40B4-BE49-F238E27FC236}">
                  <a16:creationId xmlns:a16="http://schemas.microsoft.com/office/drawing/2014/main" id="{65444F31-BF3A-DA51-D6E8-FFC631E8A8E5}"/>
                </a:ext>
              </a:extLst>
            </p:cNvPr>
            <p:cNvSpPr/>
            <p:nvPr/>
          </p:nvSpPr>
          <p:spPr>
            <a:xfrm>
              <a:off x="4554645" y="3842556"/>
              <a:ext cx="70425" cy="174475"/>
            </a:xfrm>
            <a:custGeom>
              <a:avLst/>
              <a:gdLst/>
              <a:ahLst/>
              <a:cxnLst/>
              <a:rect l="l" t="t" r="r" b="b"/>
              <a:pathLst>
                <a:path w="2817" h="6979" extrusionOk="0">
                  <a:moveTo>
                    <a:pt x="2354" y="0"/>
                  </a:moveTo>
                  <a:cubicBezTo>
                    <a:pt x="2306" y="0"/>
                    <a:pt x="2249" y="16"/>
                    <a:pt x="2249" y="55"/>
                  </a:cubicBezTo>
                  <a:cubicBezTo>
                    <a:pt x="2483" y="2624"/>
                    <a:pt x="1649" y="4892"/>
                    <a:pt x="81" y="6827"/>
                  </a:cubicBezTo>
                  <a:cubicBezTo>
                    <a:pt x="0" y="6881"/>
                    <a:pt x="72" y="6979"/>
                    <a:pt x="155" y="6979"/>
                  </a:cubicBezTo>
                  <a:cubicBezTo>
                    <a:pt x="175" y="6979"/>
                    <a:pt x="195" y="6973"/>
                    <a:pt x="214" y="6960"/>
                  </a:cubicBezTo>
                  <a:cubicBezTo>
                    <a:pt x="2082" y="5159"/>
                    <a:pt x="2816" y="2557"/>
                    <a:pt x="2416" y="22"/>
                  </a:cubicBezTo>
                  <a:cubicBezTo>
                    <a:pt x="2416" y="8"/>
                    <a:pt x="2387" y="0"/>
                    <a:pt x="235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3" name="Google Shape;7359;p120">
              <a:extLst>
                <a:ext uri="{FF2B5EF4-FFF2-40B4-BE49-F238E27FC236}">
                  <a16:creationId xmlns:a16="http://schemas.microsoft.com/office/drawing/2014/main" id="{3A1E6ECF-A78F-6777-03F5-4FB46B71B085}"/>
                </a:ext>
              </a:extLst>
            </p:cNvPr>
            <p:cNvSpPr/>
            <p:nvPr/>
          </p:nvSpPr>
          <p:spPr>
            <a:xfrm>
              <a:off x="4416570" y="3977656"/>
              <a:ext cx="119675" cy="195750"/>
            </a:xfrm>
            <a:custGeom>
              <a:avLst/>
              <a:gdLst/>
              <a:ahLst/>
              <a:cxnLst/>
              <a:rect l="l" t="t" r="r" b="b"/>
              <a:pathLst>
                <a:path w="4787" h="7830" extrusionOk="0">
                  <a:moveTo>
                    <a:pt x="74" y="1"/>
                  </a:moveTo>
                  <a:cubicBezTo>
                    <a:pt x="38" y="1"/>
                    <a:pt x="0" y="35"/>
                    <a:pt x="0" y="89"/>
                  </a:cubicBezTo>
                  <a:cubicBezTo>
                    <a:pt x="934" y="2957"/>
                    <a:pt x="2468" y="5626"/>
                    <a:pt x="4603" y="7794"/>
                  </a:cubicBezTo>
                  <a:cubicBezTo>
                    <a:pt x="4620" y="7819"/>
                    <a:pt x="4641" y="7830"/>
                    <a:pt x="4662" y="7830"/>
                  </a:cubicBezTo>
                  <a:cubicBezTo>
                    <a:pt x="4724" y="7830"/>
                    <a:pt x="4787" y="7736"/>
                    <a:pt x="4737" y="7661"/>
                  </a:cubicBezTo>
                  <a:cubicBezTo>
                    <a:pt x="2835" y="5292"/>
                    <a:pt x="1334" y="2824"/>
                    <a:pt x="133" y="89"/>
                  </a:cubicBezTo>
                  <a:cubicBezTo>
                    <a:pt x="133" y="27"/>
                    <a:pt x="105" y="1"/>
                    <a:pt x="7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4" name="Google Shape;7360;p120">
              <a:extLst>
                <a:ext uri="{FF2B5EF4-FFF2-40B4-BE49-F238E27FC236}">
                  <a16:creationId xmlns:a16="http://schemas.microsoft.com/office/drawing/2014/main" id="{3CA2C40C-CEB8-4ED4-B7D0-CCF41B0372E3}"/>
                </a:ext>
              </a:extLst>
            </p:cNvPr>
            <p:cNvSpPr/>
            <p:nvPr/>
          </p:nvSpPr>
          <p:spPr>
            <a:xfrm>
              <a:off x="4820170" y="3963131"/>
              <a:ext cx="77600" cy="147675"/>
            </a:xfrm>
            <a:custGeom>
              <a:avLst/>
              <a:gdLst/>
              <a:ahLst/>
              <a:cxnLst/>
              <a:rect l="l" t="t" r="r" b="b"/>
              <a:pathLst>
                <a:path w="3104" h="5907" extrusionOk="0">
                  <a:moveTo>
                    <a:pt x="2958" y="1"/>
                  </a:moveTo>
                  <a:cubicBezTo>
                    <a:pt x="2904" y="1"/>
                    <a:pt x="2851" y="26"/>
                    <a:pt x="2836" y="69"/>
                  </a:cubicBezTo>
                  <a:cubicBezTo>
                    <a:pt x="2503" y="1170"/>
                    <a:pt x="2169" y="2237"/>
                    <a:pt x="1635" y="3305"/>
                  </a:cubicBezTo>
                  <a:cubicBezTo>
                    <a:pt x="1135" y="4172"/>
                    <a:pt x="435" y="4973"/>
                    <a:pt x="1" y="5907"/>
                  </a:cubicBezTo>
                  <a:cubicBezTo>
                    <a:pt x="1802" y="4873"/>
                    <a:pt x="2836" y="2037"/>
                    <a:pt x="3103" y="136"/>
                  </a:cubicBezTo>
                  <a:cubicBezTo>
                    <a:pt x="3103" y="42"/>
                    <a:pt x="3029" y="1"/>
                    <a:pt x="2958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5" name="Google Shape;7361;p120">
              <a:extLst>
                <a:ext uri="{FF2B5EF4-FFF2-40B4-BE49-F238E27FC236}">
                  <a16:creationId xmlns:a16="http://schemas.microsoft.com/office/drawing/2014/main" id="{70E15066-4625-34D7-A361-1A9140F5E0EA}"/>
                </a:ext>
              </a:extLst>
            </p:cNvPr>
            <p:cNvSpPr/>
            <p:nvPr/>
          </p:nvSpPr>
          <p:spPr>
            <a:xfrm>
              <a:off x="4423220" y="2748531"/>
              <a:ext cx="83275" cy="80525"/>
            </a:xfrm>
            <a:custGeom>
              <a:avLst/>
              <a:gdLst/>
              <a:ahLst/>
              <a:cxnLst/>
              <a:rect l="l" t="t" r="r" b="b"/>
              <a:pathLst>
                <a:path w="3331" h="3221" extrusionOk="0">
                  <a:moveTo>
                    <a:pt x="3112" y="1"/>
                  </a:moveTo>
                  <a:cubicBezTo>
                    <a:pt x="3086" y="1"/>
                    <a:pt x="3061" y="6"/>
                    <a:pt x="3036" y="18"/>
                  </a:cubicBezTo>
                  <a:cubicBezTo>
                    <a:pt x="2469" y="285"/>
                    <a:pt x="2036" y="1052"/>
                    <a:pt x="1569" y="1519"/>
                  </a:cubicBezTo>
                  <a:cubicBezTo>
                    <a:pt x="1135" y="1953"/>
                    <a:pt x="368" y="2387"/>
                    <a:pt x="68" y="2954"/>
                  </a:cubicBezTo>
                  <a:cubicBezTo>
                    <a:pt x="1" y="3087"/>
                    <a:pt x="134" y="3221"/>
                    <a:pt x="234" y="3221"/>
                  </a:cubicBezTo>
                  <a:cubicBezTo>
                    <a:pt x="902" y="3087"/>
                    <a:pt x="1502" y="2387"/>
                    <a:pt x="1969" y="1920"/>
                  </a:cubicBezTo>
                  <a:cubicBezTo>
                    <a:pt x="2403" y="1453"/>
                    <a:pt x="3136" y="852"/>
                    <a:pt x="3303" y="219"/>
                  </a:cubicBezTo>
                  <a:cubicBezTo>
                    <a:pt x="3330" y="110"/>
                    <a:pt x="3224" y="1"/>
                    <a:pt x="3112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6" name="Google Shape;7362;p120">
              <a:extLst>
                <a:ext uri="{FF2B5EF4-FFF2-40B4-BE49-F238E27FC236}">
                  <a16:creationId xmlns:a16="http://schemas.microsoft.com/office/drawing/2014/main" id="{B15D2FFE-2342-B1C8-A913-B85BEA33A829}"/>
                </a:ext>
              </a:extLst>
            </p:cNvPr>
            <p:cNvSpPr/>
            <p:nvPr/>
          </p:nvSpPr>
          <p:spPr>
            <a:xfrm>
              <a:off x="4421020" y="2757556"/>
              <a:ext cx="109850" cy="114150"/>
            </a:xfrm>
            <a:custGeom>
              <a:avLst/>
              <a:gdLst/>
              <a:ahLst/>
              <a:cxnLst/>
              <a:rect l="l" t="t" r="r" b="b"/>
              <a:pathLst>
                <a:path w="4394" h="4566" extrusionOk="0">
                  <a:moveTo>
                    <a:pt x="4127" y="1"/>
                  </a:moveTo>
                  <a:cubicBezTo>
                    <a:pt x="4064" y="1"/>
                    <a:pt x="4001" y="27"/>
                    <a:pt x="3958" y="91"/>
                  </a:cubicBezTo>
                  <a:cubicBezTo>
                    <a:pt x="3458" y="992"/>
                    <a:pt x="2958" y="1859"/>
                    <a:pt x="2257" y="2560"/>
                  </a:cubicBezTo>
                  <a:cubicBezTo>
                    <a:pt x="1590" y="3227"/>
                    <a:pt x="823" y="3760"/>
                    <a:pt x="122" y="4361"/>
                  </a:cubicBezTo>
                  <a:cubicBezTo>
                    <a:pt x="1" y="4422"/>
                    <a:pt x="101" y="4565"/>
                    <a:pt x="195" y="4565"/>
                  </a:cubicBezTo>
                  <a:cubicBezTo>
                    <a:pt x="204" y="4565"/>
                    <a:pt x="213" y="4564"/>
                    <a:pt x="222" y="4561"/>
                  </a:cubicBezTo>
                  <a:cubicBezTo>
                    <a:pt x="2057" y="3860"/>
                    <a:pt x="3591" y="2059"/>
                    <a:pt x="4325" y="258"/>
                  </a:cubicBezTo>
                  <a:cubicBezTo>
                    <a:pt x="4393" y="122"/>
                    <a:pt x="4260" y="1"/>
                    <a:pt x="4127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7" name="Google Shape;7363;p120">
              <a:extLst>
                <a:ext uri="{FF2B5EF4-FFF2-40B4-BE49-F238E27FC236}">
                  <a16:creationId xmlns:a16="http://schemas.microsoft.com/office/drawing/2014/main" id="{1CE29B71-464F-4FD6-2F2D-8D1117F50615}"/>
                </a:ext>
              </a:extLst>
            </p:cNvPr>
            <p:cNvSpPr/>
            <p:nvPr/>
          </p:nvSpPr>
          <p:spPr>
            <a:xfrm>
              <a:off x="4782645" y="2746581"/>
              <a:ext cx="68875" cy="88875"/>
            </a:xfrm>
            <a:custGeom>
              <a:avLst/>
              <a:gdLst/>
              <a:ahLst/>
              <a:cxnLst/>
              <a:rect l="l" t="t" r="r" b="b"/>
              <a:pathLst>
                <a:path w="2755" h="3555" extrusionOk="0">
                  <a:moveTo>
                    <a:pt x="114" y="0"/>
                  </a:moveTo>
                  <a:cubicBezTo>
                    <a:pt x="57" y="0"/>
                    <a:pt x="1" y="42"/>
                    <a:pt x="1" y="130"/>
                  </a:cubicBezTo>
                  <a:cubicBezTo>
                    <a:pt x="101" y="864"/>
                    <a:pt x="468" y="1531"/>
                    <a:pt x="935" y="2131"/>
                  </a:cubicBezTo>
                  <a:cubicBezTo>
                    <a:pt x="1302" y="2665"/>
                    <a:pt x="1802" y="3299"/>
                    <a:pt x="2436" y="3532"/>
                  </a:cubicBezTo>
                  <a:cubicBezTo>
                    <a:pt x="2461" y="3548"/>
                    <a:pt x="2487" y="3554"/>
                    <a:pt x="2512" y="3554"/>
                  </a:cubicBezTo>
                  <a:cubicBezTo>
                    <a:pt x="2648" y="3554"/>
                    <a:pt x="2754" y="3350"/>
                    <a:pt x="2669" y="3265"/>
                  </a:cubicBezTo>
                  <a:cubicBezTo>
                    <a:pt x="2302" y="2698"/>
                    <a:pt x="1702" y="2331"/>
                    <a:pt x="1302" y="1798"/>
                  </a:cubicBezTo>
                  <a:cubicBezTo>
                    <a:pt x="868" y="1264"/>
                    <a:pt x="635" y="630"/>
                    <a:pt x="234" y="96"/>
                  </a:cubicBezTo>
                  <a:cubicBezTo>
                    <a:pt x="219" y="33"/>
                    <a:pt x="166" y="0"/>
                    <a:pt x="114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8" name="Google Shape;7364;p120">
              <a:extLst>
                <a:ext uri="{FF2B5EF4-FFF2-40B4-BE49-F238E27FC236}">
                  <a16:creationId xmlns:a16="http://schemas.microsoft.com/office/drawing/2014/main" id="{1579468E-07C2-E5D3-43D5-6DA5D0ACF808}"/>
                </a:ext>
              </a:extLst>
            </p:cNvPr>
            <p:cNvSpPr/>
            <p:nvPr/>
          </p:nvSpPr>
          <p:spPr>
            <a:xfrm>
              <a:off x="4756795" y="2751481"/>
              <a:ext cx="109700" cy="131975"/>
            </a:xfrm>
            <a:custGeom>
              <a:avLst/>
              <a:gdLst/>
              <a:ahLst/>
              <a:cxnLst/>
              <a:rect l="l" t="t" r="r" b="b"/>
              <a:pathLst>
                <a:path w="4388" h="5279" extrusionOk="0">
                  <a:moveTo>
                    <a:pt x="201" y="0"/>
                  </a:moveTo>
                  <a:cubicBezTo>
                    <a:pt x="201" y="0"/>
                    <a:pt x="168" y="0"/>
                    <a:pt x="168" y="67"/>
                  </a:cubicBezTo>
                  <a:cubicBezTo>
                    <a:pt x="1" y="1101"/>
                    <a:pt x="835" y="2336"/>
                    <a:pt x="1402" y="3103"/>
                  </a:cubicBezTo>
                  <a:cubicBezTo>
                    <a:pt x="2069" y="3970"/>
                    <a:pt x="3003" y="4837"/>
                    <a:pt x="4037" y="5271"/>
                  </a:cubicBezTo>
                  <a:cubicBezTo>
                    <a:pt x="4059" y="5276"/>
                    <a:pt x="4080" y="5279"/>
                    <a:pt x="4099" y="5279"/>
                  </a:cubicBezTo>
                  <a:cubicBezTo>
                    <a:pt x="4318" y="5279"/>
                    <a:pt x="4387" y="4960"/>
                    <a:pt x="4204" y="4837"/>
                  </a:cubicBezTo>
                  <a:cubicBezTo>
                    <a:pt x="3203" y="4103"/>
                    <a:pt x="2302" y="3470"/>
                    <a:pt x="1569" y="2469"/>
                  </a:cubicBezTo>
                  <a:cubicBezTo>
                    <a:pt x="1035" y="1735"/>
                    <a:pt x="835" y="734"/>
                    <a:pt x="201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39" name="Google Shape;7365;p120">
              <a:extLst>
                <a:ext uri="{FF2B5EF4-FFF2-40B4-BE49-F238E27FC236}">
                  <a16:creationId xmlns:a16="http://schemas.microsoft.com/office/drawing/2014/main" id="{CAE4532E-5219-0358-7364-520E1B1A536D}"/>
                </a:ext>
              </a:extLst>
            </p:cNvPr>
            <p:cNvSpPr/>
            <p:nvPr/>
          </p:nvSpPr>
          <p:spPr>
            <a:xfrm>
              <a:off x="4339845" y="4304256"/>
              <a:ext cx="221850" cy="125125"/>
            </a:xfrm>
            <a:custGeom>
              <a:avLst/>
              <a:gdLst/>
              <a:ahLst/>
              <a:cxnLst/>
              <a:rect l="l" t="t" r="r" b="b"/>
              <a:pathLst>
                <a:path w="8874" h="5005" extrusionOk="0">
                  <a:moveTo>
                    <a:pt x="4970" y="1"/>
                  </a:moveTo>
                  <a:lnTo>
                    <a:pt x="4737" y="2336"/>
                  </a:lnTo>
                  <a:cubicBezTo>
                    <a:pt x="4237" y="2569"/>
                    <a:pt x="1001" y="4104"/>
                    <a:pt x="501" y="4270"/>
                  </a:cubicBezTo>
                  <a:cubicBezTo>
                    <a:pt x="0" y="4437"/>
                    <a:pt x="400" y="5004"/>
                    <a:pt x="400" y="5004"/>
                  </a:cubicBezTo>
                  <a:lnTo>
                    <a:pt x="6471" y="4771"/>
                  </a:lnTo>
                  <a:lnTo>
                    <a:pt x="7706" y="4737"/>
                  </a:lnTo>
                  <a:lnTo>
                    <a:pt x="8306" y="4704"/>
                  </a:lnTo>
                  <a:lnTo>
                    <a:pt x="8339" y="4704"/>
                  </a:lnTo>
                  <a:cubicBezTo>
                    <a:pt x="8306" y="4604"/>
                    <a:pt x="8873" y="234"/>
                    <a:pt x="8873" y="201"/>
                  </a:cubicBezTo>
                  <a:lnTo>
                    <a:pt x="8306" y="167"/>
                  </a:lnTo>
                  <a:lnTo>
                    <a:pt x="7205" y="101"/>
                  </a:lnTo>
                  <a:lnTo>
                    <a:pt x="4970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0" name="Google Shape;7366;p120">
              <a:extLst>
                <a:ext uri="{FF2B5EF4-FFF2-40B4-BE49-F238E27FC236}">
                  <a16:creationId xmlns:a16="http://schemas.microsoft.com/office/drawing/2014/main" id="{C740D9AC-F0B0-B581-DFC1-6ACAF736BFE2}"/>
                </a:ext>
              </a:extLst>
            </p:cNvPr>
            <p:cNvSpPr/>
            <p:nvPr/>
          </p:nvSpPr>
          <p:spPr>
            <a:xfrm>
              <a:off x="4877720" y="4306756"/>
              <a:ext cx="218525" cy="122625"/>
            </a:xfrm>
            <a:custGeom>
              <a:avLst/>
              <a:gdLst/>
              <a:ahLst/>
              <a:cxnLst/>
              <a:rect l="l" t="t" r="r" b="b"/>
              <a:pathLst>
                <a:path w="8741" h="4905" extrusionOk="0">
                  <a:moveTo>
                    <a:pt x="67" y="1"/>
                  </a:moveTo>
                  <a:cubicBezTo>
                    <a:pt x="1" y="1"/>
                    <a:pt x="468" y="4604"/>
                    <a:pt x="468" y="4604"/>
                  </a:cubicBezTo>
                  <a:lnTo>
                    <a:pt x="1068" y="4637"/>
                  </a:lnTo>
                  <a:lnTo>
                    <a:pt x="2336" y="4671"/>
                  </a:lnTo>
                  <a:lnTo>
                    <a:pt x="8340" y="4904"/>
                  </a:lnTo>
                  <a:cubicBezTo>
                    <a:pt x="8340" y="4904"/>
                    <a:pt x="8740" y="4337"/>
                    <a:pt x="8206" y="4170"/>
                  </a:cubicBezTo>
                  <a:cubicBezTo>
                    <a:pt x="7773" y="4037"/>
                    <a:pt x="5204" y="2836"/>
                    <a:pt x="4237" y="2369"/>
                  </a:cubicBezTo>
                  <a:lnTo>
                    <a:pt x="4037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1" name="Google Shape;7367;p120">
              <a:extLst>
                <a:ext uri="{FF2B5EF4-FFF2-40B4-BE49-F238E27FC236}">
                  <a16:creationId xmlns:a16="http://schemas.microsoft.com/office/drawing/2014/main" id="{2CDB558F-C19F-4C34-EC70-1551EF7294B4}"/>
                </a:ext>
              </a:extLst>
            </p:cNvPr>
            <p:cNvSpPr/>
            <p:nvPr/>
          </p:nvSpPr>
          <p:spPr>
            <a:xfrm>
              <a:off x="4499945" y="4308431"/>
              <a:ext cx="47575" cy="115100"/>
            </a:xfrm>
            <a:custGeom>
              <a:avLst/>
              <a:gdLst/>
              <a:ahLst/>
              <a:cxnLst/>
              <a:rect l="l" t="t" r="r" b="b"/>
              <a:pathLst>
                <a:path w="1903" h="4604" extrusionOk="0">
                  <a:moveTo>
                    <a:pt x="801" y="0"/>
                  </a:moveTo>
                  <a:cubicBezTo>
                    <a:pt x="601" y="768"/>
                    <a:pt x="501" y="1602"/>
                    <a:pt x="401" y="2402"/>
                  </a:cubicBezTo>
                  <a:cubicBezTo>
                    <a:pt x="268" y="3169"/>
                    <a:pt x="101" y="3870"/>
                    <a:pt x="1" y="4604"/>
                  </a:cubicBezTo>
                  <a:lnTo>
                    <a:pt x="1268" y="4570"/>
                  </a:lnTo>
                  <a:lnTo>
                    <a:pt x="1502" y="2435"/>
                  </a:lnTo>
                  <a:cubicBezTo>
                    <a:pt x="1635" y="1668"/>
                    <a:pt x="1835" y="834"/>
                    <a:pt x="1902" y="34"/>
                  </a:cubicBezTo>
                  <a:lnTo>
                    <a:pt x="801" y="0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2" name="Google Shape;7368;p120">
              <a:extLst>
                <a:ext uri="{FF2B5EF4-FFF2-40B4-BE49-F238E27FC236}">
                  <a16:creationId xmlns:a16="http://schemas.microsoft.com/office/drawing/2014/main" id="{3E82A31A-0D33-220E-D81F-EC7329E7AF7E}"/>
                </a:ext>
              </a:extLst>
            </p:cNvPr>
            <p:cNvSpPr/>
            <p:nvPr/>
          </p:nvSpPr>
          <p:spPr>
            <a:xfrm>
              <a:off x="4895245" y="4306756"/>
              <a:ext cx="40875" cy="116775"/>
            </a:xfrm>
            <a:custGeom>
              <a:avLst/>
              <a:gdLst/>
              <a:ahLst/>
              <a:cxnLst/>
              <a:rect l="l" t="t" r="r" b="b"/>
              <a:pathLst>
                <a:path w="1635" h="4671" extrusionOk="0">
                  <a:moveTo>
                    <a:pt x="0" y="1"/>
                  </a:moveTo>
                  <a:cubicBezTo>
                    <a:pt x="0" y="768"/>
                    <a:pt x="100" y="1502"/>
                    <a:pt x="167" y="2269"/>
                  </a:cubicBezTo>
                  <a:cubicBezTo>
                    <a:pt x="267" y="3070"/>
                    <a:pt x="300" y="3837"/>
                    <a:pt x="367" y="4637"/>
                  </a:cubicBezTo>
                  <a:lnTo>
                    <a:pt x="1635" y="4671"/>
                  </a:lnTo>
                  <a:cubicBezTo>
                    <a:pt x="1534" y="3136"/>
                    <a:pt x="1268" y="1568"/>
                    <a:pt x="93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3" name="Google Shape;7369;p120">
              <a:extLst>
                <a:ext uri="{FF2B5EF4-FFF2-40B4-BE49-F238E27FC236}">
                  <a16:creationId xmlns:a16="http://schemas.microsoft.com/office/drawing/2014/main" id="{52A29ACD-D7A6-694E-9BB3-E56EFA673546}"/>
                </a:ext>
              </a:extLst>
            </p:cNvPr>
            <p:cNvSpPr/>
            <p:nvPr/>
          </p:nvSpPr>
          <p:spPr>
            <a:xfrm>
              <a:off x="4357345" y="2176081"/>
              <a:ext cx="538750" cy="406125"/>
            </a:xfrm>
            <a:custGeom>
              <a:avLst/>
              <a:gdLst/>
              <a:ahLst/>
              <a:cxnLst/>
              <a:rect l="l" t="t" r="r" b="b"/>
              <a:pathLst>
                <a:path w="21550" h="16245" extrusionOk="0">
                  <a:moveTo>
                    <a:pt x="6872" y="0"/>
                  </a:moveTo>
                  <a:cubicBezTo>
                    <a:pt x="2369" y="1134"/>
                    <a:pt x="2169" y="2935"/>
                    <a:pt x="167" y="5771"/>
                  </a:cubicBezTo>
                  <a:cubicBezTo>
                    <a:pt x="1" y="6004"/>
                    <a:pt x="4471" y="8973"/>
                    <a:pt x="4471" y="8973"/>
                  </a:cubicBezTo>
                  <a:lnTo>
                    <a:pt x="4270" y="10941"/>
                  </a:lnTo>
                  <a:lnTo>
                    <a:pt x="4104" y="12576"/>
                  </a:lnTo>
                  <a:lnTo>
                    <a:pt x="3770" y="16145"/>
                  </a:lnTo>
                  <a:lnTo>
                    <a:pt x="18647" y="16245"/>
                  </a:lnTo>
                  <a:lnTo>
                    <a:pt x="18647" y="16245"/>
                  </a:lnTo>
                  <a:lnTo>
                    <a:pt x="18180" y="12776"/>
                  </a:lnTo>
                  <a:lnTo>
                    <a:pt x="17980" y="10841"/>
                  </a:lnTo>
                  <a:lnTo>
                    <a:pt x="17847" y="9807"/>
                  </a:lnTo>
                  <a:lnTo>
                    <a:pt x="17713" y="9006"/>
                  </a:lnTo>
                  <a:lnTo>
                    <a:pt x="18481" y="8473"/>
                  </a:lnTo>
                  <a:lnTo>
                    <a:pt x="21549" y="6305"/>
                  </a:lnTo>
                  <a:cubicBezTo>
                    <a:pt x="21549" y="6305"/>
                    <a:pt x="21116" y="5671"/>
                    <a:pt x="19515" y="3302"/>
                  </a:cubicBezTo>
                  <a:cubicBezTo>
                    <a:pt x="17947" y="967"/>
                    <a:pt x="13610" y="234"/>
                    <a:pt x="13610" y="234"/>
                  </a:cubicBezTo>
                  <a:cubicBezTo>
                    <a:pt x="13610" y="234"/>
                    <a:pt x="12610" y="1234"/>
                    <a:pt x="10141" y="1401"/>
                  </a:cubicBezTo>
                  <a:cubicBezTo>
                    <a:pt x="9994" y="1413"/>
                    <a:pt x="9853" y="1418"/>
                    <a:pt x="9718" y="1418"/>
                  </a:cubicBezTo>
                  <a:cubicBezTo>
                    <a:pt x="7552" y="1418"/>
                    <a:pt x="6872" y="0"/>
                    <a:pt x="6872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4" name="Google Shape;7370;p120">
              <a:extLst>
                <a:ext uri="{FF2B5EF4-FFF2-40B4-BE49-F238E27FC236}">
                  <a16:creationId xmlns:a16="http://schemas.microsoft.com/office/drawing/2014/main" id="{B4701EE3-4B47-1587-9272-172614B0C438}"/>
                </a:ext>
              </a:extLst>
            </p:cNvPr>
            <p:cNvSpPr/>
            <p:nvPr/>
          </p:nvSpPr>
          <p:spPr>
            <a:xfrm>
              <a:off x="4472420" y="2512131"/>
              <a:ext cx="54250" cy="41725"/>
            </a:xfrm>
            <a:custGeom>
              <a:avLst/>
              <a:gdLst/>
              <a:ahLst/>
              <a:cxnLst/>
              <a:rect l="l" t="t" r="r" b="b"/>
              <a:pathLst>
                <a:path w="2170" h="1669" extrusionOk="0">
                  <a:moveTo>
                    <a:pt x="1068" y="1"/>
                  </a:moveTo>
                  <a:cubicBezTo>
                    <a:pt x="1" y="1"/>
                    <a:pt x="1" y="1669"/>
                    <a:pt x="1068" y="1669"/>
                  </a:cubicBezTo>
                  <a:cubicBezTo>
                    <a:pt x="2169" y="1669"/>
                    <a:pt x="2169" y="1"/>
                    <a:pt x="106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5" name="Google Shape;7371;p120">
              <a:extLst>
                <a:ext uri="{FF2B5EF4-FFF2-40B4-BE49-F238E27FC236}">
                  <a16:creationId xmlns:a16="http://schemas.microsoft.com/office/drawing/2014/main" id="{8E6BBE78-CB74-7FDD-12DE-17940513B968}"/>
                </a:ext>
              </a:extLst>
            </p:cNvPr>
            <p:cNvSpPr/>
            <p:nvPr/>
          </p:nvSpPr>
          <p:spPr>
            <a:xfrm>
              <a:off x="4564995" y="2508806"/>
              <a:ext cx="41725" cy="41725"/>
            </a:xfrm>
            <a:custGeom>
              <a:avLst/>
              <a:gdLst/>
              <a:ahLst/>
              <a:cxnLst/>
              <a:rect l="l" t="t" r="r" b="b"/>
              <a:pathLst>
                <a:path w="1669" h="1669" extrusionOk="0">
                  <a:moveTo>
                    <a:pt x="835" y="1"/>
                  </a:moveTo>
                  <a:cubicBezTo>
                    <a:pt x="401" y="1"/>
                    <a:pt x="1" y="367"/>
                    <a:pt x="1" y="834"/>
                  </a:cubicBezTo>
                  <a:cubicBezTo>
                    <a:pt x="1" y="1301"/>
                    <a:pt x="368" y="1668"/>
                    <a:pt x="835" y="1668"/>
                  </a:cubicBezTo>
                  <a:cubicBezTo>
                    <a:pt x="1235" y="1668"/>
                    <a:pt x="1668" y="1301"/>
                    <a:pt x="1668" y="834"/>
                  </a:cubicBezTo>
                  <a:cubicBezTo>
                    <a:pt x="1668" y="367"/>
                    <a:pt x="1302" y="1"/>
                    <a:pt x="83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6" name="Google Shape;7372;p120">
              <a:extLst>
                <a:ext uri="{FF2B5EF4-FFF2-40B4-BE49-F238E27FC236}">
                  <a16:creationId xmlns:a16="http://schemas.microsoft.com/office/drawing/2014/main" id="{79B3D5BF-E11F-A8BB-37A9-9FFE56CA551C}"/>
                </a:ext>
              </a:extLst>
            </p:cNvPr>
            <p:cNvSpPr/>
            <p:nvPr/>
          </p:nvSpPr>
          <p:spPr>
            <a:xfrm>
              <a:off x="4668395" y="2509631"/>
              <a:ext cx="43400" cy="41725"/>
            </a:xfrm>
            <a:custGeom>
              <a:avLst/>
              <a:gdLst/>
              <a:ahLst/>
              <a:cxnLst/>
              <a:rect l="l" t="t" r="r" b="b"/>
              <a:pathLst>
                <a:path w="1736" h="1669" extrusionOk="0">
                  <a:moveTo>
                    <a:pt x="868" y="1"/>
                  </a:moveTo>
                  <a:cubicBezTo>
                    <a:pt x="401" y="1"/>
                    <a:pt x="1" y="401"/>
                    <a:pt x="34" y="835"/>
                  </a:cubicBezTo>
                  <a:cubicBezTo>
                    <a:pt x="34" y="1268"/>
                    <a:pt x="368" y="1669"/>
                    <a:pt x="868" y="1669"/>
                  </a:cubicBezTo>
                  <a:cubicBezTo>
                    <a:pt x="1335" y="1669"/>
                    <a:pt x="1735" y="1302"/>
                    <a:pt x="1702" y="835"/>
                  </a:cubicBezTo>
                  <a:cubicBezTo>
                    <a:pt x="1702" y="401"/>
                    <a:pt x="1335" y="1"/>
                    <a:pt x="86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7" name="Google Shape;7373;p120">
              <a:extLst>
                <a:ext uri="{FF2B5EF4-FFF2-40B4-BE49-F238E27FC236}">
                  <a16:creationId xmlns:a16="http://schemas.microsoft.com/office/drawing/2014/main" id="{854F146C-2394-F384-BB3D-B71E95DA8EB9}"/>
                </a:ext>
              </a:extLst>
            </p:cNvPr>
            <p:cNvSpPr/>
            <p:nvPr/>
          </p:nvSpPr>
          <p:spPr>
            <a:xfrm>
              <a:off x="4758470" y="2509631"/>
              <a:ext cx="48400" cy="45900"/>
            </a:xfrm>
            <a:custGeom>
              <a:avLst/>
              <a:gdLst/>
              <a:ahLst/>
              <a:cxnLst/>
              <a:rect l="l" t="t" r="r" b="b"/>
              <a:pathLst>
                <a:path w="1936" h="1836" extrusionOk="0">
                  <a:moveTo>
                    <a:pt x="968" y="1"/>
                  </a:moveTo>
                  <a:cubicBezTo>
                    <a:pt x="467" y="1"/>
                    <a:pt x="0" y="435"/>
                    <a:pt x="67" y="935"/>
                  </a:cubicBezTo>
                  <a:cubicBezTo>
                    <a:pt x="67" y="1435"/>
                    <a:pt x="434" y="1836"/>
                    <a:pt x="968" y="1836"/>
                  </a:cubicBezTo>
                  <a:cubicBezTo>
                    <a:pt x="1468" y="1836"/>
                    <a:pt x="1935" y="1435"/>
                    <a:pt x="1902" y="935"/>
                  </a:cubicBezTo>
                  <a:cubicBezTo>
                    <a:pt x="1835" y="435"/>
                    <a:pt x="1468" y="1"/>
                    <a:pt x="96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8" name="Google Shape;7374;p120">
              <a:extLst>
                <a:ext uri="{FF2B5EF4-FFF2-40B4-BE49-F238E27FC236}">
                  <a16:creationId xmlns:a16="http://schemas.microsoft.com/office/drawing/2014/main" id="{7A552A44-5489-D04C-5C1D-DFB55F39E420}"/>
                </a:ext>
              </a:extLst>
            </p:cNvPr>
            <p:cNvSpPr/>
            <p:nvPr/>
          </p:nvSpPr>
          <p:spPr>
            <a:xfrm>
              <a:off x="4514120" y="2449606"/>
              <a:ext cx="43400" cy="43375"/>
            </a:xfrm>
            <a:custGeom>
              <a:avLst/>
              <a:gdLst/>
              <a:ahLst/>
              <a:cxnLst/>
              <a:rect l="l" t="t" r="r" b="b"/>
              <a:pathLst>
                <a:path w="1736" h="1735" extrusionOk="0">
                  <a:moveTo>
                    <a:pt x="868" y="0"/>
                  </a:moveTo>
                  <a:cubicBezTo>
                    <a:pt x="401" y="0"/>
                    <a:pt x="1" y="367"/>
                    <a:pt x="1" y="867"/>
                  </a:cubicBezTo>
                  <a:cubicBezTo>
                    <a:pt x="34" y="1334"/>
                    <a:pt x="401" y="1735"/>
                    <a:pt x="868" y="1735"/>
                  </a:cubicBezTo>
                  <a:cubicBezTo>
                    <a:pt x="1335" y="1735"/>
                    <a:pt x="1735" y="1368"/>
                    <a:pt x="1735" y="867"/>
                  </a:cubicBezTo>
                  <a:cubicBezTo>
                    <a:pt x="1702" y="400"/>
                    <a:pt x="1368" y="0"/>
                    <a:pt x="86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49" name="Google Shape;7375;p120">
              <a:extLst>
                <a:ext uri="{FF2B5EF4-FFF2-40B4-BE49-F238E27FC236}">
                  <a16:creationId xmlns:a16="http://schemas.microsoft.com/office/drawing/2014/main" id="{603E726C-6D49-F9D5-CA22-6B75EC4E85CD}"/>
                </a:ext>
              </a:extLst>
            </p:cNvPr>
            <p:cNvSpPr/>
            <p:nvPr/>
          </p:nvSpPr>
          <p:spPr>
            <a:xfrm>
              <a:off x="4619195" y="2455431"/>
              <a:ext cx="42575" cy="33375"/>
            </a:xfrm>
            <a:custGeom>
              <a:avLst/>
              <a:gdLst/>
              <a:ahLst/>
              <a:cxnLst/>
              <a:rect l="l" t="t" r="r" b="b"/>
              <a:pathLst>
                <a:path w="1703" h="1335" extrusionOk="0">
                  <a:moveTo>
                    <a:pt x="835" y="1"/>
                  </a:moveTo>
                  <a:cubicBezTo>
                    <a:pt x="1" y="1"/>
                    <a:pt x="1" y="1335"/>
                    <a:pt x="835" y="1335"/>
                  </a:cubicBezTo>
                  <a:cubicBezTo>
                    <a:pt x="1702" y="1335"/>
                    <a:pt x="1702" y="1"/>
                    <a:pt x="83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0" name="Google Shape;7376;p120">
              <a:extLst>
                <a:ext uri="{FF2B5EF4-FFF2-40B4-BE49-F238E27FC236}">
                  <a16:creationId xmlns:a16="http://schemas.microsoft.com/office/drawing/2014/main" id="{E886E241-A8B0-DC4C-8991-FFD8B7E0EDE5}"/>
                </a:ext>
              </a:extLst>
            </p:cNvPr>
            <p:cNvSpPr/>
            <p:nvPr/>
          </p:nvSpPr>
          <p:spPr>
            <a:xfrm>
              <a:off x="4699270" y="2446256"/>
              <a:ext cx="65050" cy="50075"/>
            </a:xfrm>
            <a:custGeom>
              <a:avLst/>
              <a:gdLst/>
              <a:ahLst/>
              <a:cxnLst/>
              <a:rect l="l" t="t" r="r" b="b"/>
              <a:pathLst>
                <a:path w="2602" h="2003" extrusionOk="0">
                  <a:moveTo>
                    <a:pt x="1301" y="1"/>
                  </a:moveTo>
                  <a:cubicBezTo>
                    <a:pt x="0" y="1"/>
                    <a:pt x="0" y="2002"/>
                    <a:pt x="1301" y="2002"/>
                  </a:cubicBezTo>
                  <a:cubicBezTo>
                    <a:pt x="2602" y="2002"/>
                    <a:pt x="2602" y="1"/>
                    <a:pt x="13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1" name="Google Shape;7377;p120">
              <a:extLst>
                <a:ext uri="{FF2B5EF4-FFF2-40B4-BE49-F238E27FC236}">
                  <a16:creationId xmlns:a16="http://schemas.microsoft.com/office/drawing/2014/main" id="{BD56CA65-57FB-5122-36A5-074181852EF0}"/>
                </a:ext>
              </a:extLst>
            </p:cNvPr>
            <p:cNvSpPr/>
            <p:nvPr/>
          </p:nvSpPr>
          <p:spPr>
            <a:xfrm>
              <a:off x="4460745" y="2449606"/>
              <a:ext cx="24225" cy="40875"/>
            </a:xfrm>
            <a:custGeom>
              <a:avLst/>
              <a:gdLst/>
              <a:ahLst/>
              <a:cxnLst/>
              <a:rect l="l" t="t" r="r" b="b"/>
              <a:pathLst>
                <a:path w="969" h="1635" extrusionOk="0">
                  <a:moveTo>
                    <a:pt x="168" y="0"/>
                  </a:moveTo>
                  <a:lnTo>
                    <a:pt x="1" y="1635"/>
                  </a:lnTo>
                  <a:cubicBezTo>
                    <a:pt x="902" y="1568"/>
                    <a:pt x="968" y="234"/>
                    <a:pt x="16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2" name="Google Shape;7378;p120">
              <a:extLst>
                <a:ext uri="{FF2B5EF4-FFF2-40B4-BE49-F238E27FC236}">
                  <a16:creationId xmlns:a16="http://schemas.microsoft.com/office/drawing/2014/main" id="{90CE9BE4-1DA6-2CD0-2CC1-EB717FC57CA7}"/>
                </a:ext>
              </a:extLst>
            </p:cNvPr>
            <p:cNvSpPr/>
            <p:nvPr/>
          </p:nvSpPr>
          <p:spPr>
            <a:xfrm>
              <a:off x="4785145" y="2449606"/>
              <a:ext cx="26725" cy="45875"/>
            </a:xfrm>
            <a:custGeom>
              <a:avLst/>
              <a:gdLst/>
              <a:ahLst/>
              <a:cxnLst/>
              <a:rect l="l" t="t" r="r" b="b"/>
              <a:pathLst>
                <a:path w="1069" h="1835" extrusionOk="0">
                  <a:moveTo>
                    <a:pt x="835" y="0"/>
                  </a:moveTo>
                  <a:lnTo>
                    <a:pt x="835" y="0"/>
                  </a:lnTo>
                  <a:cubicBezTo>
                    <a:pt x="1" y="334"/>
                    <a:pt x="68" y="1735"/>
                    <a:pt x="1068" y="1835"/>
                  </a:cubicBezTo>
                  <a:lnTo>
                    <a:pt x="835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3" name="Google Shape;7379;p120">
              <a:extLst>
                <a:ext uri="{FF2B5EF4-FFF2-40B4-BE49-F238E27FC236}">
                  <a16:creationId xmlns:a16="http://schemas.microsoft.com/office/drawing/2014/main" id="{DAD79947-F2E7-20F0-5AB5-D917ED3E73BD}"/>
                </a:ext>
              </a:extLst>
            </p:cNvPr>
            <p:cNvSpPr/>
            <p:nvPr/>
          </p:nvSpPr>
          <p:spPr>
            <a:xfrm>
              <a:off x="4480770" y="2382056"/>
              <a:ext cx="43400" cy="41725"/>
            </a:xfrm>
            <a:custGeom>
              <a:avLst/>
              <a:gdLst/>
              <a:ahLst/>
              <a:cxnLst/>
              <a:rect l="l" t="t" r="r" b="b"/>
              <a:pathLst>
                <a:path w="1736" h="1669" extrusionOk="0">
                  <a:moveTo>
                    <a:pt x="868" y="0"/>
                  </a:moveTo>
                  <a:cubicBezTo>
                    <a:pt x="401" y="0"/>
                    <a:pt x="1" y="367"/>
                    <a:pt x="34" y="834"/>
                  </a:cubicBezTo>
                  <a:cubicBezTo>
                    <a:pt x="34" y="1268"/>
                    <a:pt x="367" y="1668"/>
                    <a:pt x="868" y="1668"/>
                  </a:cubicBezTo>
                  <a:cubicBezTo>
                    <a:pt x="1335" y="1668"/>
                    <a:pt x="1735" y="1268"/>
                    <a:pt x="1702" y="834"/>
                  </a:cubicBezTo>
                  <a:cubicBezTo>
                    <a:pt x="1702" y="367"/>
                    <a:pt x="1335" y="0"/>
                    <a:pt x="86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4" name="Google Shape;7380;p120">
              <a:extLst>
                <a:ext uri="{FF2B5EF4-FFF2-40B4-BE49-F238E27FC236}">
                  <a16:creationId xmlns:a16="http://schemas.microsoft.com/office/drawing/2014/main" id="{A5D23AF3-1357-45A3-6C4A-A8FBA146A168}"/>
                </a:ext>
              </a:extLst>
            </p:cNvPr>
            <p:cNvSpPr/>
            <p:nvPr/>
          </p:nvSpPr>
          <p:spPr>
            <a:xfrm>
              <a:off x="4566670" y="2376206"/>
              <a:ext cx="52550" cy="50075"/>
            </a:xfrm>
            <a:custGeom>
              <a:avLst/>
              <a:gdLst/>
              <a:ahLst/>
              <a:cxnLst/>
              <a:rect l="l" t="t" r="r" b="b"/>
              <a:pathLst>
                <a:path w="2102" h="2003" extrusionOk="0">
                  <a:moveTo>
                    <a:pt x="1068" y="1"/>
                  </a:moveTo>
                  <a:cubicBezTo>
                    <a:pt x="501" y="1"/>
                    <a:pt x="0" y="468"/>
                    <a:pt x="67" y="1001"/>
                  </a:cubicBezTo>
                  <a:cubicBezTo>
                    <a:pt x="100" y="1569"/>
                    <a:pt x="501" y="2002"/>
                    <a:pt x="1068" y="2002"/>
                  </a:cubicBezTo>
                  <a:cubicBezTo>
                    <a:pt x="1601" y="2002"/>
                    <a:pt x="2102" y="1569"/>
                    <a:pt x="2068" y="1001"/>
                  </a:cubicBezTo>
                  <a:cubicBezTo>
                    <a:pt x="2002" y="468"/>
                    <a:pt x="1601" y="1"/>
                    <a:pt x="106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5" name="Google Shape;7381;p120">
              <a:extLst>
                <a:ext uri="{FF2B5EF4-FFF2-40B4-BE49-F238E27FC236}">
                  <a16:creationId xmlns:a16="http://schemas.microsoft.com/office/drawing/2014/main" id="{CB80AB5D-C6CD-79B1-D4AD-3181F587318A}"/>
                </a:ext>
              </a:extLst>
            </p:cNvPr>
            <p:cNvSpPr/>
            <p:nvPr/>
          </p:nvSpPr>
          <p:spPr>
            <a:xfrm>
              <a:off x="4660895" y="2379556"/>
              <a:ext cx="50075" cy="48375"/>
            </a:xfrm>
            <a:custGeom>
              <a:avLst/>
              <a:gdLst/>
              <a:ahLst/>
              <a:cxnLst/>
              <a:rect l="l" t="t" r="r" b="b"/>
              <a:pathLst>
                <a:path w="2003" h="1935" extrusionOk="0">
                  <a:moveTo>
                    <a:pt x="1001" y="0"/>
                  </a:moveTo>
                  <a:cubicBezTo>
                    <a:pt x="501" y="0"/>
                    <a:pt x="1" y="467"/>
                    <a:pt x="34" y="968"/>
                  </a:cubicBezTo>
                  <a:cubicBezTo>
                    <a:pt x="34" y="1501"/>
                    <a:pt x="468" y="1935"/>
                    <a:pt x="1001" y="1935"/>
                  </a:cubicBezTo>
                  <a:cubicBezTo>
                    <a:pt x="1502" y="1935"/>
                    <a:pt x="2002" y="1468"/>
                    <a:pt x="1969" y="968"/>
                  </a:cubicBezTo>
                  <a:cubicBezTo>
                    <a:pt x="1902" y="434"/>
                    <a:pt x="1535" y="0"/>
                    <a:pt x="100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6" name="Google Shape;7382;p120">
              <a:extLst>
                <a:ext uri="{FF2B5EF4-FFF2-40B4-BE49-F238E27FC236}">
                  <a16:creationId xmlns:a16="http://schemas.microsoft.com/office/drawing/2014/main" id="{4C8F0C29-B0FB-A0A8-0E10-C491765DB680}"/>
                </a:ext>
              </a:extLst>
            </p:cNvPr>
            <p:cNvSpPr/>
            <p:nvPr/>
          </p:nvSpPr>
          <p:spPr>
            <a:xfrm>
              <a:off x="4761795" y="2373706"/>
              <a:ext cx="40900" cy="50900"/>
            </a:xfrm>
            <a:custGeom>
              <a:avLst/>
              <a:gdLst/>
              <a:ahLst/>
              <a:cxnLst/>
              <a:rect l="l" t="t" r="r" b="b"/>
              <a:pathLst>
                <a:path w="1636" h="2036" extrusionOk="0">
                  <a:moveTo>
                    <a:pt x="1202" y="1"/>
                  </a:moveTo>
                  <a:lnTo>
                    <a:pt x="1202" y="1"/>
                  </a:lnTo>
                  <a:cubicBezTo>
                    <a:pt x="1" y="101"/>
                    <a:pt x="34" y="2035"/>
                    <a:pt x="1335" y="2035"/>
                  </a:cubicBezTo>
                  <a:cubicBezTo>
                    <a:pt x="1435" y="2035"/>
                    <a:pt x="1535" y="2035"/>
                    <a:pt x="1635" y="2002"/>
                  </a:cubicBezTo>
                  <a:lnTo>
                    <a:pt x="1535" y="1168"/>
                  </a:lnTo>
                  <a:cubicBezTo>
                    <a:pt x="1435" y="768"/>
                    <a:pt x="1335" y="368"/>
                    <a:pt x="120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7" name="Google Shape;7383;p120">
              <a:extLst>
                <a:ext uri="{FF2B5EF4-FFF2-40B4-BE49-F238E27FC236}">
                  <a16:creationId xmlns:a16="http://schemas.microsoft.com/office/drawing/2014/main" id="{AD050A21-C73A-5C7E-04F8-0594F0C41CD3}"/>
                </a:ext>
              </a:extLst>
            </p:cNvPr>
            <p:cNvSpPr/>
            <p:nvPr/>
          </p:nvSpPr>
          <p:spPr>
            <a:xfrm>
              <a:off x="4518295" y="2311981"/>
              <a:ext cx="50075" cy="38400"/>
            </a:xfrm>
            <a:custGeom>
              <a:avLst/>
              <a:gdLst/>
              <a:ahLst/>
              <a:cxnLst/>
              <a:rect l="l" t="t" r="r" b="b"/>
              <a:pathLst>
                <a:path w="2003" h="1536" extrusionOk="0">
                  <a:moveTo>
                    <a:pt x="970" y="1"/>
                  </a:moveTo>
                  <a:cubicBezTo>
                    <a:pt x="1" y="1"/>
                    <a:pt x="11" y="1536"/>
                    <a:pt x="1001" y="1536"/>
                  </a:cubicBezTo>
                  <a:cubicBezTo>
                    <a:pt x="2002" y="1536"/>
                    <a:pt x="2002" y="1"/>
                    <a:pt x="1001" y="1"/>
                  </a:cubicBezTo>
                  <a:cubicBezTo>
                    <a:pt x="991" y="1"/>
                    <a:pt x="980" y="1"/>
                    <a:pt x="97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8" name="Google Shape;7384;p120">
              <a:extLst>
                <a:ext uri="{FF2B5EF4-FFF2-40B4-BE49-F238E27FC236}">
                  <a16:creationId xmlns:a16="http://schemas.microsoft.com/office/drawing/2014/main" id="{AB753506-E7BA-52E4-4DB9-532156B7A781}"/>
                </a:ext>
              </a:extLst>
            </p:cNvPr>
            <p:cNvSpPr/>
            <p:nvPr/>
          </p:nvSpPr>
          <p:spPr>
            <a:xfrm>
              <a:off x="4623370" y="2309506"/>
              <a:ext cx="43400" cy="41725"/>
            </a:xfrm>
            <a:custGeom>
              <a:avLst/>
              <a:gdLst/>
              <a:ahLst/>
              <a:cxnLst/>
              <a:rect l="l" t="t" r="r" b="b"/>
              <a:pathLst>
                <a:path w="1736" h="1669" extrusionOk="0">
                  <a:moveTo>
                    <a:pt x="868" y="0"/>
                  </a:moveTo>
                  <a:cubicBezTo>
                    <a:pt x="401" y="0"/>
                    <a:pt x="1" y="400"/>
                    <a:pt x="34" y="834"/>
                  </a:cubicBezTo>
                  <a:cubicBezTo>
                    <a:pt x="34" y="1301"/>
                    <a:pt x="401" y="1668"/>
                    <a:pt x="868" y="1668"/>
                  </a:cubicBezTo>
                  <a:cubicBezTo>
                    <a:pt x="1335" y="1668"/>
                    <a:pt x="1735" y="1301"/>
                    <a:pt x="1702" y="834"/>
                  </a:cubicBezTo>
                  <a:cubicBezTo>
                    <a:pt x="1702" y="400"/>
                    <a:pt x="1335" y="0"/>
                    <a:pt x="86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59" name="Google Shape;7385;p120">
              <a:extLst>
                <a:ext uri="{FF2B5EF4-FFF2-40B4-BE49-F238E27FC236}">
                  <a16:creationId xmlns:a16="http://schemas.microsoft.com/office/drawing/2014/main" id="{665514E3-44D3-F911-B01B-9B7E4206A58C}"/>
                </a:ext>
              </a:extLst>
            </p:cNvPr>
            <p:cNvSpPr/>
            <p:nvPr/>
          </p:nvSpPr>
          <p:spPr>
            <a:xfrm>
              <a:off x="4708445" y="2303656"/>
              <a:ext cx="60900" cy="46725"/>
            </a:xfrm>
            <a:custGeom>
              <a:avLst/>
              <a:gdLst/>
              <a:ahLst/>
              <a:cxnLst/>
              <a:rect l="l" t="t" r="r" b="b"/>
              <a:pathLst>
                <a:path w="2436" h="1869" extrusionOk="0">
                  <a:moveTo>
                    <a:pt x="1234" y="1"/>
                  </a:moveTo>
                  <a:cubicBezTo>
                    <a:pt x="0" y="1"/>
                    <a:pt x="0" y="1869"/>
                    <a:pt x="1234" y="1869"/>
                  </a:cubicBezTo>
                  <a:cubicBezTo>
                    <a:pt x="2435" y="1869"/>
                    <a:pt x="2435" y="1"/>
                    <a:pt x="123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0" name="Google Shape;7386;p120">
              <a:extLst>
                <a:ext uri="{FF2B5EF4-FFF2-40B4-BE49-F238E27FC236}">
                  <a16:creationId xmlns:a16="http://schemas.microsoft.com/office/drawing/2014/main" id="{2CBE77B9-5670-EE0F-A8F0-F67D8544750F}"/>
                </a:ext>
              </a:extLst>
            </p:cNvPr>
            <p:cNvSpPr/>
            <p:nvPr/>
          </p:nvSpPr>
          <p:spPr>
            <a:xfrm>
              <a:off x="4489945" y="2238606"/>
              <a:ext cx="34225" cy="45075"/>
            </a:xfrm>
            <a:custGeom>
              <a:avLst/>
              <a:gdLst/>
              <a:ahLst/>
              <a:cxnLst/>
              <a:rect l="l" t="t" r="r" b="b"/>
              <a:pathLst>
                <a:path w="1369" h="1803" extrusionOk="0">
                  <a:moveTo>
                    <a:pt x="467" y="1"/>
                  </a:moveTo>
                  <a:cubicBezTo>
                    <a:pt x="301" y="568"/>
                    <a:pt x="134" y="1135"/>
                    <a:pt x="0" y="1669"/>
                  </a:cubicBezTo>
                  <a:cubicBezTo>
                    <a:pt x="134" y="1769"/>
                    <a:pt x="301" y="1802"/>
                    <a:pt x="467" y="1802"/>
                  </a:cubicBezTo>
                  <a:cubicBezTo>
                    <a:pt x="901" y="1802"/>
                    <a:pt x="1368" y="1402"/>
                    <a:pt x="1335" y="935"/>
                  </a:cubicBezTo>
                  <a:cubicBezTo>
                    <a:pt x="1301" y="434"/>
                    <a:pt x="901" y="1"/>
                    <a:pt x="46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1" name="Google Shape;7387;p120">
              <a:extLst>
                <a:ext uri="{FF2B5EF4-FFF2-40B4-BE49-F238E27FC236}">
                  <a16:creationId xmlns:a16="http://schemas.microsoft.com/office/drawing/2014/main" id="{DCDEE622-E8BF-ACED-FAC9-DCF518807B76}"/>
                </a:ext>
              </a:extLst>
            </p:cNvPr>
            <p:cNvSpPr/>
            <p:nvPr/>
          </p:nvSpPr>
          <p:spPr>
            <a:xfrm>
              <a:off x="4565820" y="2237781"/>
              <a:ext cx="48400" cy="45900"/>
            </a:xfrm>
            <a:custGeom>
              <a:avLst/>
              <a:gdLst/>
              <a:ahLst/>
              <a:cxnLst/>
              <a:rect l="l" t="t" r="r" b="b"/>
              <a:pathLst>
                <a:path w="1936" h="1836" extrusionOk="0">
                  <a:moveTo>
                    <a:pt x="968" y="0"/>
                  </a:moveTo>
                  <a:cubicBezTo>
                    <a:pt x="468" y="0"/>
                    <a:pt x="1" y="434"/>
                    <a:pt x="34" y="934"/>
                  </a:cubicBezTo>
                  <a:cubicBezTo>
                    <a:pt x="34" y="1435"/>
                    <a:pt x="435" y="1835"/>
                    <a:pt x="968" y="1835"/>
                  </a:cubicBezTo>
                  <a:cubicBezTo>
                    <a:pt x="1469" y="1835"/>
                    <a:pt x="1936" y="1435"/>
                    <a:pt x="1869" y="934"/>
                  </a:cubicBezTo>
                  <a:cubicBezTo>
                    <a:pt x="1836" y="434"/>
                    <a:pt x="1469" y="0"/>
                    <a:pt x="96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2" name="Google Shape;7388;p120">
              <a:extLst>
                <a:ext uri="{FF2B5EF4-FFF2-40B4-BE49-F238E27FC236}">
                  <a16:creationId xmlns:a16="http://schemas.microsoft.com/office/drawing/2014/main" id="{9922B1A2-EB80-508E-0907-14BB7F876713}"/>
                </a:ext>
              </a:extLst>
            </p:cNvPr>
            <p:cNvSpPr/>
            <p:nvPr/>
          </p:nvSpPr>
          <p:spPr>
            <a:xfrm>
              <a:off x="4656720" y="2234456"/>
              <a:ext cx="50075" cy="48375"/>
            </a:xfrm>
            <a:custGeom>
              <a:avLst/>
              <a:gdLst/>
              <a:ahLst/>
              <a:cxnLst/>
              <a:rect l="l" t="t" r="r" b="b"/>
              <a:pathLst>
                <a:path w="2003" h="1935" extrusionOk="0">
                  <a:moveTo>
                    <a:pt x="1002" y="0"/>
                  </a:moveTo>
                  <a:cubicBezTo>
                    <a:pt x="501" y="0"/>
                    <a:pt x="1" y="467"/>
                    <a:pt x="34" y="967"/>
                  </a:cubicBezTo>
                  <a:cubicBezTo>
                    <a:pt x="68" y="1501"/>
                    <a:pt x="468" y="1935"/>
                    <a:pt x="1002" y="1935"/>
                  </a:cubicBezTo>
                  <a:cubicBezTo>
                    <a:pt x="1502" y="1935"/>
                    <a:pt x="2002" y="1468"/>
                    <a:pt x="1969" y="967"/>
                  </a:cubicBezTo>
                  <a:cubicBezTo>
                    <a:pt x="1902" y="434"/>
                    <a:pt x="1535" y="0"/>
                    <a:pt x="100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3" name="Google Shape;7389;p120">
              <a:extLst>
                <a:ext uri="{FF2B5EF4-FFF2-40B4-BE49-F238E27FC236}">
                  <a16:creationId xmlns:a16="http://schemas.microsoft.com/office/drawing/2014/main" id="{A4C81C45-9202-11C2-528C-BFDC27D355A0}"/>
                </a:ext>
              </a:extLst>
            </p:cNvPr>
            <p:cNvSpPr/>
            <p:nvPr/>
          </p:nvSpPr>
          <p:spPr>
            <a:xfrm>
              <a:off x="4741795" y="2238606"/>
              <a:ext cx="31700" cy="44975"/>
            </a:xfrm>
            <a:custGeom>
              <a:avLst/>
              <a:gdLst/>
              <a:ahLst/>
              <a:cxnLst/>
              <a:rect l="l" t="t" r="r" b="b"/>
              <a:pathLst>
                <a:path w="1268" h="1799" extrusionOk="0">
                  <a:moveTo>
                    <a:pt x="934" y="1"/>
                  </a:moveTo>
                  <a:cubicBezTo>
                    <a:pt x="934" y="1"/>
                    <a:pt x="0" y="101"/>
                    <a:pt x="134" y="935"/>
                  </a:cubicBezTo>
                  <a:cubicBezTo>
                    <a:pt x="235" y="1569"/>
                    <a:pt x="665" y="1798"/>
                    <a:pt x="997" y="1798"/>
                  </a:cubicBezTo>
                  <a:cubicBezTo>
                    <a:pt x="1101" y="1798"/>
                    <a:pt x="1196" y="1775"/>
                    <a:pt x="1268" y="1735"/>
                  </a:cubicBezTo>
                  <a:lnTo>
                    <a:pt x="934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" name="Google Shape;7390;p120">
              <a:extLst>
                <a:ext uri="{FF2B5EF4-FFF2-40B4-BE49-F238E27FC236}">
                  <a16:creationId xmlns:a16="http://schemas.microsoft.com/office/drawing/2014/main" id="{FB59E053-2CBE-0A5F-6DCA-DEF5D39B7A7E}"/>
                </a:ext>
              </a:extLst>
            </p:cNvPr>
            <p:cNvSpPr/>
            <p:nvPr/>
          </p:nvSpPr>
          <p:spPr>
            <a:xfrm>
              <a:off x="4962770" y="1647031"/>
              <a:ext cx="395325" cy="231350"/>
            </a:xfrm>
            <a:custGeom>
              <a:avLst/>
              <a:gdLst/>
              <a:ahLst/>
              <a:cxnLst/>
              <a:rect l="l" t="t" r="r" b="b"/>
              <a:pathLst>
                <a:path w="15813" h="9254" extrusionOk="0">
                  <a:moveTo>
                    <a:pt x="8728" y="1"/>
                  </a:moveTo>
                  <a:cubicBezTo>
                    <a:pt x="8644" y="1"/>
                    <a:pt x="8559" y="5"/>
                    <a:pt x="8474" y="14"/>
                  </a:cubicBezTo>
                  <a:cubicBezTo>
                    <a:pt x="7807" y="147"/>
                    <a:pt x="7206" y="614"/>
                    <a:pt x="7039" y="1248"/>
                  </a:cubicBezTo>
                  <a:cubicBezTo>
                    <a:pt x="6863" y="643"/>
                    <a:pt x="6230" y="305"/>
                    <a:pt x="5600" y="305"/>
                  </a:cubicBezTo>
                  <a:cubicBezTo>
                    <a:pt x="5396" y="305"/>
                    <a:pt x="5192" y="340"/>
                    <a:pt x="5005" y="414"/>
                  </a:cubicBezTo>
                  <a:cubicBezTo>
                    <a:pt x="4204" y="714"/>
                    <a:pt x="3704" y="1448"/>
                    <a:pt x="3503" y="2248"/>
                  </a:cubicBezTo>
                  <a:cubicBezTo>
                    <a:pt x="3207" y="2033"/>
                    <a:pt x="2840" y="1926"/>
                    <a:pt x="2470" y="1926"/>
                  </a:cubicBezTo>
                  <a:cubicBezTo>
                    <a:pt x="1924" y="1926"/>
                    <a:pt x="1373" y="2158"/>
                    <a:pt x="1035" y="2615"/>
                  </a:cubicBezTo>
                  <a:cubicBezTo>
                    <a:pt x="501" y="3383"/>
                    <a:pt x="701" y="4517"/>
                    <a:pt x="1469" y="5084"/>
                  </a:cubicBezTo>
                  <a:cubicBezTo>
                    <a:pt x="1202" y="5417"/>
                    <a:pt x="735" y="5251"/>
                    <a:pt x="368" y="5417"/>
                  </a:cubicBezTo>
                  <a:cubicBezTo>
                    <a:pt x="1" y="5618"/>
                    <a:pt x="1" y="6151"/>
                    <a:pt x="134" y="6585"/>
                  </a:cubicBezTo>
                  <a:cubicBezTo>
                    <a:pt x="335" y="7119"/>
                    <a:pt x="668" y="7586"/>
                    <a:pt x="1135" y="7886"/>
                  </a:cubicBezTo>
                  <a:cubicBezTo>
                    <a:pt x="1435" y="8019"/>
                    <a:pt x="1736" y="8153"/>
                    <a:pt x="1969" y="8386"/>
                  </a:cubicBezTo>
                  <a:cubicBezTo>
                    <a:pt x="2236" y="8620"/>
                    <a:pt x="2403" y="8953"/>
                    <a:pt x="2303" y="9253"/>
                  </a:cubicBezTo>
                  <a:lnTo>
                    <a:pt x="13177" y="7452"/>
                  </a:lnTo>
                  <a:cubicBezTo>
                    <a:pt x="13677" y="7385"/>
                    <a:pt x="14244" y="7185"/>
                    <a:pt x="14678" y="6985"/>
                  </a:cubicBezTo>
                  <a:cubicBezTo>
                    <a:pt x="14845" y="6918"/>
                    <a:pt x="15078" y="6785"/>
                    <a:pt x="15178" y="6652"/>
                  </a:cubicBezTo>
                  <a:cubicBezTo>
                    <a:pt x="15412" y="6451"/>
                    <a:pt x="15479" y="6151"/>
                    <a:pt x="15545" y="5918"/>
                  </a:cubicBezTo>
                  <a:cubicBezTo>
                    <a:pt x="15779" y="5251"/>
                    <a:pt x="15812" y="4517"/>
                    <a:pt x="15512" y="3950"/>
                  </a:cubicBezTo>
                  <a:cubicBezTo>
                    <a:pt x="15271" y="3468"/>
                    <a:pt x="14772" y="3115"/>
                    <a:pt x="14257" y="3115"/>
                  </a:cubicBezTo>
                  <a:cubicBezTo>
                    <a:pt x="14131" y="3115"/>
                    <a:pt x="14003" y="3136"/>
                    <a:pt x="13878" y="3182"/>
                  </a:cubicBezTo>
                  <a:cubicBezTo>
                    <a:pt x="14078" y="2515"/>
                    <a:pt x="13611" y="1781"/>
                    <a:pt x="12977" y="1581"/>
                  </a:cubicBezTo>
                  <a:cubicBezTo>
                    <a:pt x="12781" y="1499"/>
                    <a:pt x="12575" y="1461"/>
                    <a:pt x="12367" y="1461"/>
                  </a:cubicBezTo>
                  <a:cubicBezTo>
                    <a:pt x="11905" y="1461"/>
                    <a:pt x="11434" y="1649"/>
                    <a:pt x="11042" y="1948"/>
                  </a:cubicBezTo>
                  <a:cubicBezTo>
                    <a:pt x="11276" y="1415"/>
                    <a:pt x="10842" y="847"/>
                    <a:pt x="10342" y="514"/>
                  </a:cubicBezTo>
                  <a:cubicBezTo>
                    <a:pt x="9847" y="194"/>
                    <a:pt x="9302" y="1"/>
                    <a:pt x="8728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" name="Google Shape;7391;p120">
              <a:extLst>
                <a:ext uri="{FF2B5EF4-FFF2-40B4-BE49-F238E27FC236}">
                  <a16:creationId xmlns:a16="http://schemas.microsoft.com/office/drawing/2014/main" id="{F22C410D-F550-4152-33AD-F6D6847E39F0}"/>
                </a:ext>
              </a:extLst>
            </p:cNvPr>
            <p:cNvSpPr/>
            <p:nvPr/>
          </p:nvSpPr>
          <p:spPr>
            <a:xfrm>
              <a:off x="4965295" y="3854781"/>
              <a:ext cx="130100" cy="543025"/>
            </a:xfrm>
            <a:custGeom>
              <a:avLst/>
              <a:gdLst/>
              <a:ahLst/>
              <a:cxnLst/>
              <a:rect l="l" t="t" r="r" b="b"/>
              <a:pathLst>
                <a:path w="5204" h="21721" extrusionOk="0">
                  <a:moveTo>
                    <a:pt x="5204" y="0"/>
                  </a:moveTo>
                  <a:lnTo>
                    <a:pt x="0" y="2168"/>
                  </a:lnTo>
                  <a:cubicBezTo>
                    <a:pt x="667" y="8073"/>
                    <a:pt x="1168" y="21349"/>
                    <a:pt x="1168" y="21349"/>
                  </a:cubicBezTo>
                  <a:cubicBezTo>
                    <a:pt x="1168" y="21349"/>
                    <a:pt x="1011" y="21277"/>
                    <a:pt x="959" y="21277"/>
                  </a:cubicBezTo>
                  <a:cubicBezTo>
                    <a:pt x="923" y="21277"/>
                    <a:pt x="934" y="21309"/>
                    <a:pt x="1067" y="21415"/>
                  </a:cubicBezTo>
                  <a:cubicBezTo>
                    <a:pt x="1301" y="21582"/>
                    <a:pt x="1534" y="21649"/>
                    <a:pt x="1801" y="21649"/>
                  </a:cubicBezTo>
                  <a:cubicBezTo>
                    <a:pt x="2368" y="21649"/>
                    <a:pt x="3002" y="21682"/>
                    <a:pt x="3569" y="21716"/>
                  </a:cubicBezTo>
                  <a:cubicBezTo>
                    <a:pt x="3623" y="21716"/>
                    <a:pt x="3681" y="21721"/>
                    <a:pt x="3741" y="21721"/>
                  </a:cubicBezTo>
                  <a:cubicBezTo>
                    <a:pt x="3831" y="21721"/>
                    <a:pt x="3923" y="21709"/>
                    <a:pt x="4003" y="21649"/>
                  </a:cubicBezTo>
                  <a:cubicBezTo>
                    <a:pt x="4136" y="21515"/>
                    <a:pt x="4170" y="21282"/>
                    <a:pt x="4170" y="21149"/>
                  </a:cubicBezTo>
                  <a:cubicBezTo>
                    <a:pt x="4570" y="14077"/>
                    <a:pt x="4970" y="7038"/>
                    <a:pt x="5204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" name="Google Shape;7392;p120">
              <a:extLst>
                <a:ext uri="{FF2B5EF4-FFF2-40B4-BE49-F238E27FC236}">
                  <a16:creationId xmlns:a16="http://schemas.microsoft.com/office/drawing/2014/main" id="{45A1A645-AD4B-EF92-B7D4-B860EBA18B47}"/>
                </a:ext>
              </a:extLst>
            </p:cNvPr>
            <p:cNvSpPr/>
            <p:nvPr/>
          </p:nvSpPr>
          <p:spPr>
            <a:xfrm>
              <a:off x="5294695" y="4167656"/>
              <a:ext cx="101750" cy="225025"/>
            </a:xfrm>
            <a:custGeom>
              <a:avLst/>
              <a:gdLst/>
              <a:ahLst/>
              <a:cxnLst/>
              <a:rect l="l" t="t" r="r" b="b"/>
              <a:pathLst>
                <a:path w="4070" h="9001" extrusionOk="0">
                  <a:moveTo>
                    <a:pt x="1125" y="1"/>
                  </a:moveTo>
                  <a:cubicBezTo>
                    <a:pt x="748" y="1"/>
                    <a:pt x="373" y="9"/>
                    <a:pt x="0" y="27"/>
                  </a:cubicBezTo>
                  <a:cubicBezTo>
                    <a:pt x="167" y="3030"/>
                    <a:pt x="267" y="5998"/>
                    <a:pt x="367" y="9000"/>
                  </a:cubicBezTo>
                  <a:cubicBezTo>
                    <a:pt x="1201" y="8900"/>
                    <a:pt x="2035" y="8834"/>
                    <a:pt x="2902" y="8734"/>
                  </a:cubicBezTo>
                  <a:cubicBezTo>
                    <a:pt x="3036" y="8734"/>
                    <a:pt x="3202" y="8700"/>
                    <a:pt x="3336" y="8567"/>
                  </a:cubicBezTo>
                  <a:cubicBezTo>
                    <a:pt x="3403" y="8467"/>
                    <a:pt x="3469" y="8300"/>
                    <a:pt x="3469" y="8133"/>
                  </a:cubicBezTo>
                  <a:lnTo>
                    <a:pt x="4070" y="127"/>
                  </a:lnTo>
                  <a:cubicBezTo>
                    <a:pt x="3084" y="55"/>
                    <a:pt x="2098" y="1"/>
                    <a:pt x="1125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" name="Google Shape;7393;p120">
              <a:extLst>
                <a:ext uri="{FF2B5EF4-FFF2-40B4-BE49-F238E27FC236}">
                  <a16:creationId xmlns:a16="http://schemas.microsoft.com/office/drawing/2014/main" id="{07D28DD5-3B84-82C4-4AB2-C1D71882BBC6}"/>
                </a:ext>
              </a:extLst>
            </p:cNvPr>
            <p:cNvSpPr/>
            <p:nvPr/>
          </p:nvSpPr>
          <p:spPr>
            <a:xfrm>
              <a:off x="4866045" y="4362631"/>
              <a:ext cx="207675" cy="65900"/>
            </a:xfrm>
            <a:custGeom>
              <a:avLst/>
              <a:gdLst/>
              <a:ahLst/>
              <a:cxnLst/>
              <a:rect l="l" t="t" r="r" b="b"/>
              <a:pathLst>
                <a:path w="8307" h="2636" extrusionOk="0">
                  <a:moveTo>
                    <a:pt x="4871" y="1"/>
                  </a:moveTo>
                  <a:cubicBezTo>
                    <a:pt x="4871" y="1"/>
                    <a:pt x="1101" y="1769"/>
                    <a:pt x="534" y="1935"/>
                  </a:cubicBezTo>
                  <a:cubicBezTo>
                    <a:pt x="1" y="2102"/>
                    <a:pt x="434" y="2636"/>
                    <a:pt x="434" y="2636"/>
                  </a:cubicBezTo>
                  <a:lnTo>
                    <a:pt x="8306" y="2369"/>
                  </a:lnTo>
                  <a:lnTo>
                    <a:pt x="8206" y="201"/>
                  </a:lnTo>
                  <a:cubicBezTo>
                    <a:pt x="7394" y="397"/>
                    <a:pt x="6775" y="468"/>
                    <a:pt x="6305" y="468"/>
                  </a:cubicBezTo>
                  <a:cubicBezTo>
                    <a:pt x="5095" y="468"/>
                    <a:pt x="4871" y="1"/>
                    <a:pt x="4871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" name="Google Shape;7394;p120">
              <a:extLst>
                <a:ext uri="{FF2B5EF4-FFF2-40B4-BE49-F238E27FC236}">
                  <a16:creationId xmlns:a16="http://schemas.microsoft.com/office/drawing/2014/main" id="{27D2D25F-83C0-734F-B4D4-4D940A625134}"/>
                </a:ext>
              </a:extLst>
            </p:cNvPr>
            <p:cNvSpPr/>
            <p:nvPr/>
          </p:nvSpPr>
          <p:spPr>
            <a:xfrm>
              <a:off x="5298845" y="4362631"/>
              <a:ext cx="207675" cy="65900"/>
            </a:xfrm>
            <a:custGeom>
              <a:avLst/>
              <a:gdLst/>
              <a:ahLst/>
              <a:cxnLst/>
              <a:rect l="l" t="t" r="r" b="b"/>
              <a:pathLst>
                <a:path w="8307" h="2636" extrusionOk="0">
                  <a:moveTo>
                    <a:pt x="3403" y="1"/>
                  </a:moveTo>
                  <a:cubicBezTo>
                    <a:pt x="3403" y="1"/>
                    <a:pt x="3196" y="468"/>
                    <a:pt x="1984" y="468"/>
                  </a:cubicBezTo>
                  <a:cubicBezTo>
                    <a:pt x="1513" y="468"/>
                    <a:pt x="890" y="397"/>
                    <a:pt x="68" y="201"/>
                  </a:cubicBezTo>
                  <a:lnTo>
                    <a:pt x="1" y="2369"/>
                  </a:lnTo>
                  <a:lnTo>
                    <a:pt x="7873" y="2636"/>
                  </a:lnTo>
                  <a:cubicBezTo>
                    <a:pt x="7873" y="2636"/>
                    <a:pt x="8307" y="2102"/>
                    <a:pt x="7740" y="1935"/>
                  </a:cubicBezTo>
                  <a:cubicBezTo>
                    <a:pt x="7206" y="1769"/>
                    <a:pt x="3403" y="1"/>
                    <a:pt x="3403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" name="Google Shape;7395;p120">
              <a:extLst>
                <a:ext uri="{FF2B5EF4-FFF2-40B4-BE49-F238E27FC236}">
                  <a16:creationId xmlns:a16="http://schemas.microsoft.com/office/drawing/2014/main" id="{D9A0C213-F6A9-280A-3C76-53107C484CE9}"/>
                </a:ext>
              </a:extLst>
            </p:cNvPr>
            <p:cNvSpPr/>
            <p:nvPr/>
          </p:nvSpPr>
          <p:spPr>
            <a:xfrm>
              <a:off x="4936920" y="2745631"/>
              <a:ext cx="468700" cy="1552825"/>
            </a:xfrm>
            <a:custGeom>
              <a:avLst/>
              <a:gdLst/>
              <a:ahLst/>
              <a:cxnLst/>
              <a:rect l="l" t="t" r="r" b="b"/>
              <a:pathLst>
                <a:path w="18748" h="62113" extrusionOk="0">
                  <a:moveTo>
                    <a:pt x="268" y="1"/>
                  </a:moveTo>
                  <a:cubicBezTo>
                    <a:pt x="1" y="701"/>
                    <a:pt x="868" y="62112"/>
                    <a:pt x="868" y="62112"/>
                  </a:cubicBezTo>
                  <a:lnTo>
                    <a:pt x="5738" y="62012"/>
                  </a:lnTo>
                  <a:lnTo>
                    <a:pt x="8507" y="15312"/>
                  </a:lnTo>
                  <a:lnTo>
                    <a:pt x="10642" y="15312"/>
                  </a:lnTo>
                  <a:lnTo>
                    <a:pt x="13644" y="61178"/>
                  </a:lnTo>
                  <a:lnTo>
                    <a:pt x="18748" y="61178"/>
                  </a:lnTo>
                  <a:lnTo>
                    <a:pt x="18381" y="568"/>
                  </a:lnTo>
                  <a:lnTo>
                    <a:pt x="268" y="1"/>
                  </a:ln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" name="Google Shape;7396;p120">
              <a:extLst>
                <a:ext uri="{FF2B5EF4-FFF2-40B4-BE49-F238E27FC236}">
                  <a16:creationId xmlns:a16="http://schemas.microsoft.com/office/drawing/2014/main" id="{0D55283F-8BD4-660D-B97F-14CBC4836709}"/>
                </a:ext>
              </a:extLst>
            </p:cNvPr>
            <p:cNvSpPr/>
            <p:nvPr/>
          </p:nvSpPr>
          <p:spPr>
            <a:xfrm>
              <a:off x="4998645" y="1739481"/>
              <a:ext cx="320250" cy="238125"/>
            </a:xfrm>
            <a:custGeom>
              <a:avLst/>
              <a:gdLst/>
              <a:ahLst/>
              <a:cxnLst/>
              <a:rect l="l" t="t" r="r" b="b"/>
              <a:pathLst>
                <a:path w="12810" h="9525" extrusionOk="0">
                  <a:moveTo>
                    <a:pt x="5848" y="0"/>
                  </a:moveTo>
                  <a:cubicBezTo>
                    <a:pt x="913" y="0"/>
                    <a:pt x="0" y="2587"/>
                    <a:pt x="0" y="2587"/>
                  </a:cubicBezTo>
                  <a:lnTo>
                    <a:pt x="834" y="8458"/>
                  </a:lnTo>
                  <a:lnTo>
                    <a:pt x="12076" y="9525"/>
                  </a:lnTo>
                  <a:lnTo>
                    <a:pt x="12809" y="2753"/>
                  </a:lnTo>
                  <a:cubicBezTo>
                    <a:pt x="12809" y="2753"/>
                    <a:pt x="12209" y="252"/>
                    <a:pt x="6572" y="18"/>
                  </a:cubicBezTo>
                  <a:cubicBezTo>
                    <a:pt x="6321" y="6"/>
                    <a:pt x="6080" y="0"/>
                    <a:pt x="5848" y="0"/>
                  </a:cubicBezTo>
                  <a:close/>
                </a:path>
              </a:pathLst>
            </a:custGeom>
            <a:solidFill>
              <a:srgbClr val="101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" name="Google Shape;7397;p120">
              <a:extLst>
                <a:ext uri="{FF2B5EF4-FFF2-40B4-BE49-F238E27FC236}">
                  <a16:creationId xmlns:a16="http://schemas.microsoft.com/office/drawing/2014/main" id="{7CD06F55-2BC4-0D31-5F12-917E62A01950}"/>
                </a:ext>
              </a:extLst>
            </p:cNvPr>
            <p:cNvSpPr/>
            <p:nvPr/>
          </p:nvSpPr>
          <p:spPr>
            <a:xfrm>
              <a:off x="5123720" y="2035981"/>
              <a:ext cx="95925" cy="172000"/>
            </a:xfrm>
            <a:custGeom>
              <a:avLst/>
              <a:gdLst/>
              <a:ahLst/>
              <a:cxnLst/>
              <a:rect l="l" t="t" r="r" b="b"/>
              <a:pathLst>
                <a:path w="3837" h="6880" extrusionOk="0">
                  <a:moveTo>
                    <a:pt x="2503" y="0"/>
                  </a:moveTo>
                  <a:lnTo>
                    <a:pt x="1" y="33"/>
                  </a:lnTo>
                  <a:lnTo>
                    <a:pt x="1" y="4036"/>
                  </a:lnTo>
                  <a:lnTo>
                    <a:pt x="1" y="6438"/>
                  </a:lnTo>
                  <a:cubicBezTo>
                    <a:pt x="1" y="6571"/>
                    <a:pt x="1" y="6738"/>
                    <a:pt x="68" y="6838"/>
                  </a:cubicBezTo>
                  <a:cubicBezTo>
                    <a:pt x="118" y="6872"/>
                    <a:pt x="176" y="6880"/>
                    <a:pt x="234" y="6880"/>
                  </a:cubicBezTo>
                  <a:cubicBezTo>
                    <a:pt x="293" y="6880"/>
                    <a:pt x="351" y="6872"/>
                    <a:pt x="401" y="6872"/>
                  </a:cubicBezTo>
                  <a:cubicBezTo>
                    <a:pt x="1569" y="6705"/>
                    <a:pt x="2703" y="6438"/>
                    <a:pt x="3837" y="6071"/>
                  </a:cubicBezTo>
                  <a:cubicBezTo>
                    <a:pt x="3704" y="5904"/>
                    <a:pt x="3570" y="5504"/>
                    <a:pt x="3470" y="4937"/>
                  </a:cubicBezTo>
                  <a:cubicBezTo>
                    <a:pt x="3403" y="4703"/>
                    <a:pt x="3337" y="4437"/>
                    <a:pt x="3303" y="4170"/>
                  </a:cubicBezTo>
                  <a:cubicBezTo>
                    <a:pt x="3237" y="4036"/>
                    <a:pt x="3237" y="3903"/>
                    <a:pt x="3203" y="3736"/>
                  </a:cubicBezTo>
                  <a:cubicBezTo>
                    <a:pt x="3136" y="3336"/>
                    <a:pt x="3036" y="2902"/>
                    <a:pt x="2970" y="2435"/>
                  </a:cubicBezTo>
                  <a:cubicBezTo>
                    <a:pt x="2836" y="1701"/>
                    <a:pt x="2669" y="867"/>
                    <a:pt x="2503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" name="Google Shape;7398;p120">
              <a:extLst>
                <a:ext uri="{FF2B5EF4-FFF2-40B4-BE49-F238E27FC236}">
                  <a16:creationId xmlns:a16="http://schemas.microsoft.com/office/drawing/2014/main" id="{0D4E6886-B28B-2169-E9A8-19183C49B675}"/>
                </a:ext>
              </a:extLst>
            </p:cNvPr>
            <p:cNvSpPr/>
            <p:nvPr/>
          </p:nvSpPr>
          <p:spPr>
            <a:xfrm>
              <a:off x="5141245" y="2096006"/>
              <a:ext cx="61725" cy="34800"/>
            </a:xfrm>
            <a:custGeom>
              <a:avLst/>
              <a:gdLst/>
              <a:ahLst/>
              <a:cxnLst/>
              <a:rect l="l" t="t" r="r" b="b"/>
              <a:pathLst>
                <a:path w="2469" h="1392" extrusionOk="0">
                  <a:moveTo>
                    <a:pt x="2202" y="1"/>
                  </a:moveTo>
                  <a:cubicBezTo>
                    <a:pt x="1857" y="34"/>
                    <a:pt x="1498" y="45"/>
                    <a:pt x="1172" y="45"/>
                  </a:cubicBezTo>
                  <a:cubicBezTo>
                    <a:pt x="519" y="45"/>
                    <a:pt x="1" y="1"/>
                    <a:pt x="0" y="1"/>
                  </a:cubicBezTo>
                  <a:lnTo>
                    <a:pt x="0" y="1"/>
                  </a:lnTo>
                  <a:cubicBezTo>
                    <a:pt x="443" y="1130"/>
                    <a:pt x="1033" y="1392"/>
                    <a:pt x="1613" y="1392"/>
                  </a:cubicBezTo>
                  <a:cubicBezTo>
                    <a:pt x="1907" y="1392"/>
                    <a:pt x="2199" y="1324"/>
                    <a:pt x="2469" y="1268"/>
                  </a:cubicBezTo>
                  <a:cubicBezTo>
                    <a:pt x="2369" y="868"/>
                    <a:pt x="2335" y="468"/>
                    <a:pt x="2202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" name="Google Shape;7399;p120">
              <a:extLst>
                <a:ext uri="{FF2B5EF4-FFF2-40B4-BE49-F238E27FC236}">
                  <a16:creationId xmlns:a16="http://schemas.microsoft.com/office/drawing/2014/main" id="{52AF815F-C280-DE21-786B-E953EBF8F7AC}"/>
                </a:ext>
              </a:extLst>
            </p:cNvPr>
            <p:cNvSpPr/>
            <p:nvPr/>
          </p:nvSpPr>
          <p:spPr>
            <a:xfrm>
              <a:off x="5019495" y="1765806"/>
              <a:ext cx="276050" cy="343250"/>
            </a:xfrm>
            <a:custGeom>
              <a:avLst/>
              <a:gdLst/>
              <a:ahLst/>
              <a:cxnLst/>
              <a:rect l="l" t="t" r="r" b="b"/>
              <a:pathLst>
                <a:path w="11042" h="13730" extrusionOk="0">
                  <a:moveTo>
                    <a:pt x="4753" y="1"/>
                  </a:moveTo>
                  <a:cubicBezTo>
                    <a:pt x="2095" y="1"/>
                    <a:pt x="576" y="1207"/>
                    <a:pt x="334" y="2067"/>
                  </a:cubicBezTo>
                  <a:cubicBezTo>
                    <a:pt x="0" y="3335"/>
                    <a:pt x="200" y="4703"/>
                    <a:pt x="134" y="6004"/>
                  </a:cubicBezTo>
                  <a:cubicBezTo>
                    <a:pt x="34" y="7171"/>
                    <a:pt x="667" y="9640"/>
                    <a:pt x="1068" y="10207"/>
                  </a:cubicBezTo>
                  <a:cubicBezTo>
                    <a:pt x="1835" y="11241"/>
                    <a:pt x="2335" y="12742"/>
                    <a:pt x="4570" y="13476"/>
                  </a:cubicBezTo>
                  <a:cubicBezTo>
                    <a:pt x="5129" y="13651"/>
                    <a:pt x="5615" y="13730"/>
                    <a:pt x="6050" y="13730"/>
                  </a:cubicBezTo>
                  <a:cubicBezTo>
                    <a:pt x="7356" y="13730"/>
                    <a:pt x="8206" y="13017"/>
                    <a:pt x="9207" y="12041"/>
                  </a:cubicBezTo>
                  <a:cubicBezTo>
                    <a:pt x="10074" y="11174"/>
                    <a:pt x="10508" y="9840"/>
                    <a:pt x="10708" y="8572"/>
                  </a:cubicBezTo>
                  <a:cubicBezTo>
                    <a:pt x="11008" y="6904"/>
                    <a:pt x="11041" y="5203"/>
                    <a:pt x="10875" y="3535"/>
                  </a:cubicBezTo>
                  <a:cubicBezTo>
                    <a:pt x="10875" y="3535"/>
                    <a:pt x="10841" y="1033"/>
                    <a:pt x="6872" y="233"/>
                  </a:cubicBezTo>
                  <a:cubicBezTo>
                    <a:pt x="6101" y="71"/>
                    <a:pt x="5394" y="1"/>
                    <a:pt x="4753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" name="Google Shape;7400;p120">
              <a:extLst>
                <a:ext uri="{FF2B5EF4-FFF2-40B4-BE49-F238E27FC236}">
                  <a16:creationId xmlns:a16="http://schemas.microsoft.com/office/drawing/2014/main" id="{BA60C850-28A3-5950-D755-7094520F1229}"/>
                </a:ext>
              </a:extLst>
            </p:cNvPr>
            <p:cNvSpPr/>
            <p:nvPr/>
          </p:nvSpPr>
          <p:spPr>
            <a:xfrm>
              <a:off x="5115395" y="2107681"/>
              <a:ext cx="25" cy="25"/>
            </a:xfrm>
            <a:custGeom>
              <a:avLst/>
              <a:gdLst/>
              <a:ahLst/>
              <a:cxnLst/>
              <a:rect l="l" t="t" r="r" b="b"/>
              <a:pathLst>
                <a:path w="1" h="1" extrusionOk="0">
                  <a:moveTo>
                    <a:pt x="0" y="1"/>
                  </a:move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5" name="Google Shape;7401;p120">
              <a:extLst>
                <a:ext uri="{FF2B5EF4-FFF2-40B4-BE49-F238E27FC236}">
                  <a16:creationId xmlns:a16="http://schemas.microsoft.com/office/drawing/2014/main" id="{C1567AB8-E904-567F-BBAF-022CC5F420CC}"/>
                </a:ext>
              </a:extLst>
            </p:cNvPr>
            <p:cNvSpPr/>
            <p:nvPr/>
          </p:nvSpPr>
          <p:spPr>
            <a:xfrm>
              <a:off x="5091320" y="1935726"/>
              <a:ext cx="29821" cy="31230"/>
            </a:xfrm>
            <a:custGeom>
              <a:avLst/>
              <a:gdLst/>
              <a:ahLst/>
              <a:cxnLst/>
              <a:rect l="l" t="t" r="r" b="b"/>
              <a:pathLst>
                <a:path w="1473" h="1543" extrusionOk="0">
                  <a:moveTo>
                    <a:pt x="769" y="0"/>
                  </a:moveTo>
                  <a:cubicBezTo>
                    <a:pt x="726" y="0"/>
                    <a:pt x="681" y="8"/>
                    <a:pt x="634" y="24"/>
                  </a:cubicBezTo>
                  <a:cubicBezTo>
                    <a:pt x="543" y="61"/>
                    <a:pt x="457" y="110"/>
                    <a:pt x="379" y="169"/>
                  </a:cubicBezTo>
                  <a:lnTo>
                    <a:pt x="379" y="169"/>
                  </a:lnTo>
                  <a:cubicBezTo>
                    <a:pt x="307" y="217"/>
                    <a:pt x="243" y="278"/>
                    <a:pt x="193" y="351"/>
                  </a:cubicBezTo>
                  <a:lnTo>
                    <a:pt x="193" y="351"/>
                  </a:lnTo>
                  <a:cubicBezTo>
                    <a:pt x="87" y="486"/>
                    <a:pt x="17" y="648"/>
                    <a:pt x="1" y="825"/>
                  </a:cubicBezTo>
                  <a:cubicBezTo>
                    <a:pt x="1" y="1081"/>
                    <a:pt x="163" y="1304"/>
                    <a:pt x="386" y="1405"/>
                  </a:cubicBezTo>
                  <a:lnTo>
                    <a:pt x="386" y="1405"/>
                  </a:lnTo>
                  <a:cubicBezTo>
                    <a:pt x="502" y="1498"/>
                    <a:pt x="642" y="1543"/>
                    <a:pt x="782" y="1543"/>
                  </a:cubicBezTo>
                  <a:cubicBezTo>
                    <a:pt x="964" y="1543"/>
                    <a:pt x="1144" y="1467"/>
                    <a:pt x="1268" y="1325"/>
                  </a:cubicBezTo>
                  <a:cubicBezTo>
                    <a:pt x="1420" y="1174"/>
                    <a:pt x="1473" y="938"/>
                    <a:pt x="1446" y="709"/>
                  </a:cubicBezTo>
                  <a:lnTo>
                    <a:pt x="1446" y="709"/>
                  </a:lnTo>
                  <a:cubicBezTo>
                    <a:pt x="1442" y="590"/>
                    <a:pt x="1407" y="478"/>
                    <a:pt x="1348" y="383"/>
                  </a:cubicBezTo>
                  <a:lnTo>
                    <a:pt x="1348" y="383"/>
                  </a:lnTo>
                  <a:cubicBezTo>
                    <a:pt x="1344" y="375"/>
                    <a:pt x="1339" y="366"/>
                    <a:pt x="1335" y="358"/>
                  </a:cubicBezTo>
                  <a:cubicBezTo>
                    <a:pt x="1325" y="345"/>
                    <a:pt x="1315" y="333"/>
                    <a:pt x="1305" y="321"/>
                  </a:cubicBezTo>
                  <a:lnTo>
                    <a:pt x="1305" y="321"/>
                  </a:lnTo>
                  <a:cubicBezTo>
                    <a:pt x="1239" y="237"/>
                    <a:pt x="1154" y="171"/>
                    <a:pt x="1056" y="129"/>
                  </a:cubicBezTo>
                  <a:lnTo>
                    <a:pt x="1056" y="129"/>
                  </a:lnTo>
                  <a:cubicBezTo>
                    <a:pt x="1046" y="124"/>
                    <a:pt x="1036" y="119"/>
                    <a:pt x="1026" y="115"/>
                  </a:cubicBezTo>
                  <a:lnTo>
                    <a:pt x="1026" y="115"/>
                  </a:lnTo>
                  <a:cubicBezTo>
                    <a:pt x="959" y="45"/>
                    <a:pt x="871" y="0"/>
                    <a:pt x="769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6" name="Google Shape;7402;p120">
              <a:extLst>
                <a:ext uri="{FF2B5EF4-FFF2-40B4-BE49-F238E27FC236}">
                  <a16:creationId xmlns:a16="http://schemas.microsoft.com/office/drawing/2014/main" id="{1F14D332-275D-1236-014D-3F71A1210640}"/>
                </a:ext>
              </a:extLst>
            </p:cNvPr>
            <p:cNvSpPr/>
            <p:nvPr/>
          </p:nvSpPr>
          <p:spPr>
            <a:xfrm>
              <a:off x="5221018" y="1932583"/>
              <a:ext cx="29751" cy="32855"/>
            </a:xfrm>
            <a:custGeom>
              <a:avLst/>
              <a:gdLst/>
              <a:ahLst/>
              <a:cxnLst/>
              <a:rect l="l" t="t" r="r" b="b"/>
              <a:pathLst>
                <a:path w="1366" h="1509" extrusionOk="0">
                  <a:moveTo>
                    <a:pt x="736" y="1"/>
                  </a:moveTo>
                  <a:cubicBezTo>
                    <a:pt x="223" y="1"/>
                    <a:pt x="0" y="703"/>
                    <a:pt x="215" y="1105"/>
                  </a:cubicBezTo>
                  <a:lnTo>
                    <a:pt x="215" y="1105"/>
                  </a:lnTo>
                  <a:cubicBezTo>
                    <a:pt x="274" y="1348"/>
                    <a:pt x="465" y="1509"/>
                    <a:pt x="681" y="1509"/>
                  </a:cubicBezTo>
                  <a:cubicBezTo>
                    <a:pt x="763" y="1509"/>
                    <a:pt x="849" y="1486"/>
                    <a:pt x="932" y="1436"/>
                  </a:cubicBezTo>
                  <a:cubicBezTo>
                    <a:pt x="1199" y="1269"/>
                    <a:pt x="1366" y="969"/>
                    <a:pt x="1366" y="669"/>
                  </a:cubicBezTo>
                  <a:cubicBezTo>
                    <a:pt x="1366" y="335"/>
                    <a:pt x="1099" y="68"/>
                    <a:pt x="765" y="2"/>
                  </a:cubicBezTo>
                  <a:cubicBezTo>
                    <a:pt x="755" y="1"/>
                    <a:pt x="746" y="1"/>
                    <a:pt x="736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" name="Google Shape;7403;p120">
              <a:extLst>
                <a:ext uri="{FF2B5EF4-FFF2-40B4-BE49-F238E27FC236}">
                  <a16:creationId xmlns:a16="http://schemas.microsoft.com/office/drawing/2014/main" id="{463A7E1D-219F-424C-CFA6-8C29EBAD1BD4}"/>
                </a:ext>
              </a:extLst>
            </p:cNvPr>
            <p:cNvSpPr/>
            <p:nvPr/>
          </p:nvSpPr>
          <p:spPr>
            <a:xfrm>
              <a:off x="5128745" y="2033456"/>
              <a:ext cx="90900" cy="40075"/>
            </a:xfrm>
            <a:custGeom>
              <a:avLst/>
              <a:gdLst/>
              <a:ahLst/>
              <a:cxnLst/>
              <a:rect l="l" t="t" r="r" b="b"/>
              <a:pathLst>
                <a:path w="3636" h="1603" extrusionOk="0">
                  <a:moveTo>
                    <a:pt x="100" y="1"/>
                  </a:moveTo>
                  <a:lnTo>
                    <a:pt x="0" y="34"/>
                  </a:lnTo>
                  <a:cubicBezTo>
                    <a:pt x="0" y="34"/>
                    <a:pt x="133" y="1535"/>
                    <a:pt x="1768" y="1602"/>
                  </a:cubicBezTo>
                  <a:cubicBezTo>
                    <a:pt x="3369" y="1602"/>
                    <a:pt x="3636" y="1"/>
                    <a:pt x="363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" name="Google Shape;7404;p120">
              <a:extLst>
                <a:ext uri="{FF2B5EF4-FFF2-40B4-BE49-F238E27FC236}">
                  <a16:creationId xmlns:a16="http://schemas.microsoft.com/office/drawing/2014/main" id="{38067BA6-9520-12E5-3F53-68124C403E5A}"/>
                </a:ext>
              </a:extLst>
            </p:cNvPr>
            <p:cNvSpPr/>
            <p:nvPr/>
          </p:nvSpPr>
          <p:spPr>
            <a:xfrm>
              <a:off x="5067020" y="1892206"/>
              <a:ext cx="74250" cy="16950"/>
            </a:xfrm>
            <a:custGeom>
              <a:avLst/>
              <a:gdLst/>
              <a:ahLst/>
              <a:cxnLst/>
              <a:rect l="l" t="t" r="r" b="b"/>
              <a:pathLst>
                <a:path w="2970" h="678" extrusionOk="0">
                  <a:moveTo>
                    <a:pt x="1536" y="1"/>
                  </a:moveTo>
                  <a:cubicBezTo>
                    <a:pt x="1008" y="1"/>
                    <a:pt x="479" y="117"/>
                    <a:pt x="167" y="314"/>
                  </a:cubicBezTo>
                  <a:cubicBezTo>
                    <a:pt x="1" y="414"/>
                    <a:pt x="101" y="647"/>
                    <a:pt x="267" y="647"/>
                  </a:cubicBezTo>
                  <a:cubicBezTo>
                    <a:pt x="314" y="650"/>
                    <a:pt x="360" y="652"/>
                    <a:pt x="407" y="652"/>
                  </a:cubicBezTo>
                  <a:cubicBezTo>
                    <a:pt x="776" y="652"/>
                    <a:pt x="1145" y="565"/>
                    <a:pt x="1514" y="565"/>
                  </a:cubicBezTo>
                  <a:cubicBezTo>
                    <a:pt x="1599" y="565"/>
                    <a:pt x="1684" y="569"/>
                    <a:pt x="1769" y="581"/>
                  </a:cubicBezTo>
                  <a:cubicBezTo>
                    <a:pt x="2003" y="602"/>
                    <a:pt x="2264" y="677"/>
                    <a:pt x="2500" y="677"/>
                  </a:cubicBezTo>
                  <a:cubicBezTo>
                    <a:pt x="2634" y="677"/>
                    <a:pt x="2761" y="653"/>
                    <a:pt x="2869" y="581"/>
                  </a:cubicBezTo>
                  <a:cubicBezTo>
                    <a:pt x="2969" y="514"/>
                    <a:pt x="2969" y="447"/>
                    <a:pt x="2936" y="414"/>
                  </a:cubicBezTo>
                  <a:cubicBezTo>
                    <a:pt x="2631" y="125"/>
                    <a:pt x="2084" y="1"/>
                    <a:pt x="1536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" name="Google Shape;7405;p120">
              <a:extLst>
                <a:ext uri="{FF2B5EF4-FFF2-40B4-BE49-F238E27FC236}">
                  <a16:creationId xmlns:a16="http://schemas.microsoft.com/office/drawing/2014/main" id="{D26271C0-CF38-1FDB-9D46-8643EE15D7CD}"/>
                </a:ext>
              </a:extLst>
            </p:cNvPr>
            <p:cNvSpPr/>
            <p:nvPr/>
          </p:nvSpPr>
          <p:spPr>
            <a:xfrm>
              <a:off x="5197945" y="1895481"/>
              <a:ext cx="68400" cy="14550"/>
            </a:xfrm>
            <a:custGeom>
              <a:avLst/>
              <a:gdLst/>
              <a:ahLst/>
              <a:cxnLst/>
              <a:rect l="l" t="t" r="r" b="b"/>
              <a:pathLst>
                <a:path w="2736" h="582" extrusionOk="0">
                  <a:moveTo>
                    <a:pt x="1555" y="0"/>
                  </a:moveTo>
                  <a:cubicBezTo>
                    <a:pt x="1419" y="0"/>
                    <a:pt x="1287" y="7"/>
                    <a:pt x="1168" y="16"/>
                  </a:cubicBezTo>
                  <a:cubicBezTo>
                    <a:pt x="768" y="16"/>
                    <a:pt x="268" y="16"/>
                    <a:pt x="34" y="350"/>
                  </a:cubicBezTo>
                  <a:cubicBezTo>
                    <a:pt x="1" y="350"/>
                    <a:pt x="34" y="450"/>
                    <a:pt x="67" y="483"/>
                  </a:cubicBezTo>
                  <a:cubicBezTo>
                    <a:pt x="192" y="558"/>
                    <a:pt x="336" y="582"/>
                    <a:pt x="487" y="582"/>
                  </a:cubicBezTo>
                  <a:cubicBezTo>
                    <a:pt x="737" y="582"/>
                    <a:pt x="1006" y="516"/>
                    <a:pt x="1235" y="516"/>
                  </a:cubicBezTo>
                  <a:cubicBezTo>
                    <a:pt x="1546" y="516"/>
                    <a:pt x="1858" y="546"/>
                    <a:pt x="2149" y="546"/>
                  </a:cubicBezTo>
                  <a:cubicBezTo>
                    <a:pt x="2295" y="546"/>
                    <a:pt x="2436" y="539"/>
                    <a:pt x="2569" y="516"/>
                  </a:cubicBezTo>
                  <a:cubicBezTo>
                    <a:pt x="2703" y="483"/>
                    <a:pt x="2736" y="316"/>
                    <a:pt x="2603" y="216"/>
                  </a:cubicBezTo>
                  <a:cubicBezTo>
                    <a:pt x="2312" y="47"/>
                    <a:pt x="1916" y="0"/>
                    <a:pt x="155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" name="Google Shape;7406;p120">
              <a:extLst>
                <a:ext uri="{FF2B5EF4-FFF2-40B4-BE49-F238E27FC236}">
                  <a16:creationId xmlns:a16="http://schemas.microsoft.com/office/drawing/2014/main" id="{5BD70F77-5D1D-2B7F-78D4-ED10C2C84063}"/>
                </a:ext>
              </a:extLst>
            </p:cNvPr>
            <p:cNvSpPr/>
            <p:nvPr/>
          </p:nvSpPr>
          <p:spPr>
            <a:xfrm>
              <a:off x="5002820" y="1937556"/>
              <a:ext cx="49225" cy="74575"/>
            </a:xfrm>
            <a:custGeom>
              <a:avLst/>
              <a:gdLst/>
              <a:ahLst/>
              <a:cxnLst/>
              <a:rect l="l" t="t" r="r" b="b"/>
              <a:pathLst>
                <a:path w="1969" h="2983" extrusionOk="0">
                  <a:moveTo>
                    <a:pt x="867" y="1"/>
                  </a:moveTo>
                  <a:cubicBezTo>
                    <a:pt x="667" y="1"/>
                    <a:pt x="500" y="101"/>
                    <a:pt x="367" y="201"/>
                  </a:cubicBezTo>
                  <a:cubicBezTo>
                    <a:pt x="234" y="334"/>
                    <a:pt x="167" y="535"/>
                    <a:pt x="134" y="701"/>
                  </a:cubicBezTo>
                  <a:cubicBezTo>
                    <a:pt x="67" y="835"/>
                    <a:pt x="33" y="1002"/>
                    <a:pt x="33" y="1168"/>
                  </a:cubicBezTo>
                  <a:cubicBezTo>
                    <a:pt x="0" y="1869"/>
                    <a:pt x="400" y="2603"/>
                    <a:pt x="1034" y="2870"/>
                  </a:cubicBezTo>
                  <a:cubicBezTo>
                    <a:pt x="1193" y="2940"/>
                    <a:pt x="1360" y="2983"/>
                    <a:pt x="1527" y="2983"/>
                  </a:cubicBezTo>
                  <a:cubicBezTo>
                    <a:pt x="1677" y="2983"/>
                    <a:pt x="1826" y="2948"/>
                    <a:pt x="1968" y="2870"/>
                  </a:cubicBezTo>
                  <a:lnTo>
                    <a:pt x="1468" y="435"/>
                  </a:lnTo>
                  <a:cubicBezTo>
                    <a:pt x="1334" y="201"/>
                    <a:pt x="1134" y="1"/>
                    <a:pt x="867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" name="Google Shape;7407;p120">
              <a:extLst>
                <a:ext uri="{FF2B5EF4-FFF2-40B4-BE49-F238E27FC236}">
                  <a16:creationId xmlns:a16="http://schemas.microsoft.com/office/drawing/2014/main" id="{185D788A-8E6A-57F5-E488-750DE8AD41BE}"/>
                </a:ext>
              </a:extLst>
            </p:cNvPr>
            <p:cNvSpPr/>
            <p:nvPr/>
          </p:nvSpPr>
          <p:spPr>
            <a:xfrm>
              <a:off x="5266320" y="1937256"/>
              <a:ext cx="52575" cy="73725"/>
            </a:xfrm>
            <a:custGeom>
              <a:avLst/>
              <a:gdLst/>
              <a:ahLst/>
              <a:cxnLst/>
              <a:rect l="l" t="t" r="r" b="b"/>
              <a:pathLst>
                <a:path w="2103" h="2949" extrusionOk="0">
                  <a:moveTo>
                    <a:pt x="1544" y="0"/>
                  </a:moveTo>
                  <a:cubicBezTo>
                    <a:pt x="1419" y="0"/>
                    <a:pt x="1294" y="38"/>
                    <a:pt x="1168" y="113"/>
                  </a:cubicBezTo>
                  <a:cubicBezTo>
                    <a:pt x="902" y="213"/>
                    <a:pt x="701" y="346"/>
                    <a:pt x="635" y="547"/>
                  </a:cubicBezTo>
                  <a:lnTo>
                    <a:pt x="1" y="2848"/>
                  </a:lnTo>
                  <a:cubicBezTo>
                    <a:pt x="34" y="2948"/>
                    <a:pt x="134" y="2948"/>
                    <a:pt x="201" y="2948"/>
                  </a:cubicBezTo>
                  <a:cubicBezTo>
                    <a:pt x="701" y="2882"/>
                    <a:pt x="1202" y="2615"/>
                    <a:pt x="1535" y="2214"/>
                  </a:cubicBezTo>
                  <a:cubicBezTo>
                    <a:pt x="1869" y="1848"/>
                    <a:pt x="2102" y="1314"/>
                    <a:pt x="2102" y="813"/>
                  </a:cubicBezTo>
                  <a:cubicBezTo>
                    <a:pt x="2102" y="480"/>
                    <a:pt x="1969" y="113"/>
                    <a:pt x="1669" y="13"/>
                  </a:cubicBezTo>
                  <a:cubicBezTo>
                    <a:pt x="1627" y="5"/>
                    <a:pt x="1585" y="0"/>
                    <a:pt x="1544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" name="Google Shape;7408;p120">
              <a:extLst>
                <a:ext uri="{FF2B5EF4-FFF2-40B4-BE49-F238E27FC236}">
                  <a16:creationId xmlns:a16="http://schemas.microsoft.com/office/drawing/2014/main" id="{FB60F882-D4EE-3A45-705E-1195F63A4812}"/>
                </a:ext>
              </a:extLst>
            </p:cNvPr>
            <p:cNvSpPr/>
            <p:nvPr/>
          </p:nvSpPr>
          <p:spPr>
            <a:xfrm>
              <a:off x="5016145" y="2161056"/>
              <a:ext cx="283575" cy="129275"/>
            </a:xfrm>
            <a:custGeom>
              <a:avLst/>
              <a:gdLst/>
              <a:ahLst/>
              <a:cxnLst/>
              <a:rect l="l" t="t" r="r" b="b"/>
              <a:pathLst>
                <a:path w="11343" h="5171" extrusionOk="0">
                  <a:moveTo>
                    <a:pt x="7439" y="1"/>
                  </a:moveTo>
                  <a:lnTo>
                    <a:pt x="4170" y="201"/>
                  </a:lnTo>
                  <a:cubicBezTo>
                    <a:pt x="3970" y="201"/>
                    <a:pt x="1" y="2169"/>
                    <a:pt x="1" y="2169"/>
                  </a:cubicBezTo>
                  <a:cubicBezTo>
                    <a:pt x="1" y="2169"/>
                    <a:pt x="2302" y="4771"/>
                    <a:pt x="7006" y="5171"/>
                  </a:cubicBezTo>
                  <a:cubicBezTo>
                    <a:pt x="7840" y="5171"/>
                    <a:pt x="8607" y="5104"/>
                    <a:pt x="9307" y="5038"/>
                  </a:cubicBezTo>
                  <a:cubicBezTo>
                    <a:pt x="10141" y="3937"/>
                    <a:pt x="10809" y="2736"/>
                    <a:pt x="11342" y="1502"/>
                  </a:cubicBezTo>
                  <a:lnTo>
                    <a:pt x="7439" y="1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" name="Google Shape;7409;p120">
              <a:extLst>
                <a:ext uri="{FF2B5EF4-FFF2-40B4-BE49-F238E27FC236}">
                  <a16:creationId xmlns:a16="http://schemas.microsoft.com/office/drawing/2014/main" id="{B4D80AC6-1058-581C-0AB0-B5DA44099BA4}"/>
                </a:ext>
              </a:extLst>
            </p:cNvPr>
            <p:cNvSpPr/>
            <p:nvPr/>
          </p:nvSpPr>
          <p:spPr>
            <a:xfrm>
              <a:off x="4836870" y="2179406"/>
              <a:ext cx="683000" cy="409475"/>
            </a:xfrm>
            <a:custGeom>
              <a:avLst/>
              <a:gdLst/>
              <a:ahLst/>
              <a:cxnLst/>
              <a:rect l="l" t="t" r="r" b="b"/>
              <a:pathLst>
                <a:path w="27320" h="16379" extrusionOk="0">
                  <a:moveTo>
                    <a:pt x="9640" y="0"/>
                  </a:moveTo>
                  <a:cubicBezTo>
                    <a:pt x="9540" y="34"/>
                    <a:pt x="9473" y="34"/>
                    <a:pt x="9373" y="67"/>
                  </a:cubicBezTo>
                  <a:cubicBezTo>
                    <a:pt x="8906" y="234"/>
                    <a:pt x="8473" y="467"/>
                    <a:pt x="8039" y="701"/>
                  </a:cubicBezTo>
                  <a:cubicBezTo>
                    <a:pt x="7806" y="834"/>
                    <a:pt x="7572" y="968"/>
                    <a:pt x="7372" y="1068"/>
                  </a:cubicBezTo>
                  <a:cubicBezTo>
                    <a:pt x="1601" y="4737"/>
                    <a:pt x="0" y="12543"/>
                    <a:pt x="0" y="12543"/>
                  </a:cubicBezTo>
                  <a:lnTo>
                    <a:pt x="901" y="12743"/>
                  </a:lnTo>
                  <a:lnTo>
                    <a:pt x="1468" y="12876"/>
                  </a:lnTo>
                  <a:lnTo>
                    <a:pt x="2435" y="13076"/>
                  </a:lnTo>
                  <a:lnTo>
                    <a:pt x="2902" y="13210"/>
                  </a:lnTo>
                  <a:lnTo>
                    <a:pt x="3803" y="13443"/>
                  </a:lnTo>
                  <a:lnTo>
                    <a:pt x="4403" y="13610"/>
                  </a:lnTo>
                  <a:lnTo>
                    <a:pt x="5070" y="13777"/>
                  </a:lnTo>
                  <a:lnTo>
                    <a:pt x="6338" y="14044"/>
                  </a:lnTo>
                  <a:lnTo>
                    <a:pt x="7005" y="14211"/>
                  </a:lnTo>
                  <a:lnTo>
                    <a:pt x="8406" y="14544"/>
                  </a:lnTo>
                  <a:lnTo>
                    <a:pt x="9073" y="14711"/>
                  </a:lnTo>
                  <a:lnTo>
                    <a:pt x="10541" y="15045"/>
                  </a:lnTo>
                  <a:lnTo>
                    <a:pt x="11375" y="15278"/>
                  </a:lnTo>
                  <a:lnTo>
                    <a:pt x="13476" y="15778"/>
                  </a:lnTo>
                  <a:lnTo>
                    <a:pt x="14310" y="15979"/>
                  </a:lnTo>
                  <a:lnTo>
                    <a:pt x="16011" y="16379"/>
                  </a:lnTo>
                  <a:lnTo>
                    <a:pt x="16412" y="16212"/>
                  </a:lnTo>
                  <a:lnTo>
                    <a:pt x="17346" y="15878"/>
                  </a:lnTo>
                  <a:lnTo>
                    <a:pt x="19147" y="15211"/>
                  </a:lnTo>
                  <a:lnTo>
                    <a:pt x="20114" y="14878"/>
                  </a:lnTo>
                  <a:lnTo>
                    <a:pt x="21349" y="14444"/>
                  </a:lnTo>
                  <a:lnTo>
                    <a:pt x="21882" y="14211"/>
                  </a:lnTo>
                  <a:lnTo>
                    <a:pt x="22216" y="14111"/>
                  </a:lnTo>
                  <a:lnTo>
                    <a:pt x="22683" y="13910"/>
                  </a:lnTo>
                  <a:lnTo>
                    <a:pt x="23317" y="13677"/>
                  </a:lnTo>
                  <a:lnTo>
                    <a:pt x="24451" y="13277"/>
                  </a:lnTo>
                  <a:lnTo>
                    <a:pt x="25185" y="12976"/>
                  </a:lnTo>
                  <a:lnTo>
                    <a:pt x="26185" y="12609"/>
                  </a:lnTo>
                  <a:lnTo>
                    <a:pt x="27019" y="12309"/>
                  </a:lnTo>
                  <a:lnTo>
                    <a:pt x="27320" y="12176"/>
                  </a:lnTo>
                  <a:cubicBezTo>
                    <a:pt x="27320" y="12176"/>
                    <a:pt x="25018" y="5671"/>
                    <a:pt x="22716" y="3536"/>
                  </a:cubicBezTo>
                  <a:cubicBezTo>
                    <a:pt x="22049" y="2903"/>
                    <a:pt x="21315" y="2369"/>
                    <a:pt x="20581" y="1902"/>
                  </a:cubicBezTo>
                  <a:cubicBezTo>
                    <a:pt x="20415" y="1802"/>
                    <a:pt x="20315" y="1702"/>
                    <a:pt x="20148" y="1635"/>
                  </a:cubicBezTo>
                  <a:cubicBezTo>
                    <a:pt x="19981" y="1502"/>
                    <a:pt x="19747" y="1368"/>
                    <a:pt x="19581" y="1301"/>
                  </a:cubicBezTo>
                  <a:cubicBezTo>
                    <a:pt x="19314" y="1135"/>
                    <a:pt x="18980" y="968"/>
                    <a:pt x="18713" y="834"/>
                  </a:cubicBezTo>
                  <a:cubicBezTo>
                    <a:pt x="17846" y="401"/>
                    <a:pt x="17212" y="167"/>
                    <a:pt x="17212" y="167"/>
                  </a:cubicBezTo>
                  <a:lnTo>
                    <a:pt x="17146" y="201"/>
                  </a:lnTo>
                  <a:lnTo>
                    <a:pt x="16712" y="467"/>
                  </a:lnTo>
                  <a:lnTo>
                    <a:pt x="14310" y="1868"/>
                  </a:lnTo>
                  <a:lnTo>
                    <a:pt x="13710" y="2202"/>
                  </a:lnTo>
                  <a:lnTo>
                    <a:pt x="13410" y="2035"/>
                  </a:lnTo>
                  <a:lnTo>
                    <a:pt x="12042" y="1335"/>
                  </a:lnTo>
                  <a:lnTo>
                    <a:pt x="11375" y="968"/>
                  </a:lnTo>
                  <a:lnTo>
                    <a:pt x="10041" y="234"/>
                  </a:lnTo>
                  <a:lnTo>
                    <a:pt x="964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" name="Google Shape;7410;p120">
              <a:extLst>
                <a:ext uri="{FF2B5EF4-FFF2-40B4-BE49-F238E27FC236}">
                  <a16:creationId xmlns:a16="http://schemas.microsoft.com/office/drawing/2014/main" id="{0227266E-CE19-D5A5-1237-9C0D708032F7}"/>
                </a:ext>
              </a:extLst>
            </p:cNvPr>
            <p:cNvSpPr/>
            <p:nvPr/>
          </p:nvSpPr>
          <p:spPr>
            <a:xfrm>
              <a:off x="5008645" y="1750756"/>
              <a:ext cx="292725" cy="236875"/>
            </a:xfrm>
            <a:custGeom>
              <a:avLst/>
              <a:gdLst/>
              <a:ahLst/>
              <a:cxnLst/>
              <a:rect l="l" t="t" r="r" b="b"/>
              <a:pathLst>
                <a:path w="11709" h="9475" extrusionOk="0">
                  <a:moveTo>
                    <a:pt x="4037" y="1"/>
                  </a:moveTo>
                  <a:lnTo>
                    <a:pt x="2035" y="768"/>
                  </a:lnTo>
                  <a:lnTo>
                    <a:pt x="334" y="1802"/>
                  </a:lnTo>
                  <a:lnTo>
                    <a:pt x="1" y="2569"/>
                  </a:lnTo>
                  <a:lnTo>
                    <a:pt x="434" y="7073"/>
                  </a:lnTo>
                  <a:cubicBezTo>
                    <a:pt x="468" y="7139"/>
                    <a:pt x="468" y="8640"/>
                    <a:pt x="668" y="9074"/>
                  </a:cubicBezTo>
                  <a:cubicBezTo>
                    <a:pt x="901" y="9474"/>
                    <a:pt x="1168" y="9474"/>
                    <a:pt x="1168" y="9474"/>
                  </a:cubicBezTo>
                  <a:lnTo>
                    <a:pt x="901" y="6139"/>
                  </a:lnTo>
                  <a:cubicBezTo>
                    <a:pt x="901" y="6139"/>
                    <a:pt x="2069" y="5505"/>
                    <a:pt x="2069" y="3837"/>
                  </a:cubicBezTo>
                  <a:lnTo>
                    <a:pt x="2069" y="2169"/>
                  </a:lnTo>
                  <a:cubicBezTo>
                    <a:pt x="2069" y="2169"/>
                    <a:pt x="4196" y="2405"/>
                    <a:pt x="5809" y="2405"/>
                  </a:cubicBezTo>
                  <a:cubicBezTo>
                    <a:pt x="5910" y="2405"/>
                    <a:pt x="6009" y="2405"/>
                    <a:pt x="6105" y="2403"/>
                  </a:cubicBezTo>
                  <a:cubicBezTo>
                    <a:pt x="6650" y="2380"/>
                    <a:pt x="7306" y="2373"/>
                    <a:pt x="7938" y="2373"/>
                  </a:cubicBezTo>
                  <a:cubicBezTo>
                    <a:pt x="9203" y="2373"/>
                    <a:pt x="10375" y="2403"/>
                    <a:pt x="10375" y="2403"/>
                  </a:cubicBezTo>
                  <a:cubicBezTo>
                    <a:pt x="10375" y="2403"/>
                    <a:pt x="10475" y="4337"/>
                    <a:pt x="10475" y="4838"/>
                  </a:cubicBezTo>
                  <a:cubicBezTo>
                    <a:pt x="10475" y="5338"/>
                    <a:pt x="10675" y="6105"/>
                    <a:pt x="11042" y="6105"/>
                  </a:cubicBezTo>
                  <a:cubicBezTo>
                    <a:pt x="11142" y="6139"/>
                    <a:pt x="11175" y="6172"/>
                    <a:pt x="11175" y="6172"/>
                  </a:cubicBezTo>
                  <a:lnTo>
                    <a:pt x="10942" y="9441"/>
                  </a:lnTo>
                  <a:cubicBezTo>
                    <a:pt x="10942" y="9441"/>
                    <a:pt x="11275" y="9107"/>
                    <a:pt x="11442" y="7640"/>
                  </a:cubicBezTo>
                  <a:cubicBezTo>
                    <a:pt x="11609" y="6172"/>
                    <a:pt x="11709" y="2603"/>
                    <a:pt x="11709" y="2603"/>
                  </a:cubicBezTo>
                  <a:cubicBezTo>
                    <a:pt x="11709" y="2603"/>
                    <a:pt x="8874" y="601"/>
                    <a:pt x="8307" y="501"/>
                  </a:cubicBezTo>
                  <a:cubicBezTo>
                    <a:pt x="7673" y="434"/>
                    <a:pt x="4037" y="1"/>
                    <a:pt x="4037" y="1"/>
                  </a:cubicBezTo>
                  <a:close/>
                </a:path>
              </a:pathLst>
            </a:custGeom>
            <a:solidFill>
              <a:srgbClr val="101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" name="Google Shape;7411;p120">
              <a:extLst>
                <a:ext uri="{FF2B5EF4-FFF2-40B4-BE49-F238E27FC236}">
                  <a16:creationId xmlns:a16="http://schemas.microsoft.com/office/drawing/2014/main" id="{79FACB71-1FB7-778E-1CDF-9ADB3333C6C7}"/>
                </a:ext>
              </a:extLst>
            </p:cNvPr>
            <p:cNvSpPr/>
            <p:nvPr/>
          </p:nvSpPr>
          <p:spPr>
            <a:xfrm>
              <a:off x="4939920" y="4233406"/>
              <a:ext cx="181325" cy="84950"/>
            </a:xfrm>
            <a:custGeom>
              <a:avLst/>
              <a:gdLst/>
              <a:ahLst/>
              <a:cxnLst/>
              <a:rect l="l" t="t" r="r" b="b"/>
              <a:pathLst>
                <a:path w="7253" h="3398" extrusionOk="0">
                  <a:moveTo>
                    <a:pt x="2849" y="1"/>
                  </a:moveTo>
                  <a:cubicBezTo>
                    <a:pt x="1328" y="1"/>
                    <a:pt x="0" y="37"/>
                    <a:pt x="14" y="166"/>
                  </a:cubicBezTo>
                  <a:cubicBezTo>
                    <a:pt x="48" y="433"/>
                    <a:pt x="248" y="1233"/>
                    <a:pt x="248" y="1233"/>
                  </a:cubicBezTo>
                  <a:lnTo>
                    <a:pt x="48" y="1901"/>
                  </a:lnTo>
                  <a:lnTo>
                    <a:pt x="315" y="3368"/>
                  </a:lnTo>
                  <a:cubicBezTo>
                    <a:pt x="315" y="3368"/>
                    <a:pt x="3309" y="3398"/>
                    <a:pt x="5306" y="3398"/>
                  </a:cubicBezTo>
                  <a:cubicBezTo>
                    <a:pt x="6304" y="3398"/>
                    <a:pt x="7053" y="3391"/>
                    <a:pt x="7053" y="3368"/>
                  </a:cubicBezTo>
                  <a:cubicBezTo>
                    <a:pt x="7053" y="3268"/>
                    <a:pt x="7253" y="66"/>
                    <a:pt x="7253" y="66"/>
                  </a:cubicBezTo>
                  <a:cubicBezTo>
                    <a:pt x="7253" y="66"/>
                    <a:pt x="4878" y="1"/>
                    <a:pt x="2849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" name="Google Shape;7412;p120">
              <a:extLst>
                <a:ext uri="{FF2B5EF4-FFF2-40B4-BE49-F238E27FC236}">
                  <a16:creationId xmlns:a16="http://schemas.microsoft.com/office/drawing/2014/main" id="{721A623F-B577-47FA-1F47-BDFD4079F238}"/>
                </a:ext>
              </a:extLst>
            </p:cNvPr>
            <p:cNvSpPr/>
            <p:nvPr/>
          </p:nvSpPr>
          <p:spPr>
            <a:xfrm>
              <a:off x="5260495" y="4233406"/>
              <a:ext cx="181350" cy="84950"/>
            </a:xfrm>
            <a:custGeom>
              <a:avLst/>
              <a:gdLst/>
              <a:ahLst/>
              <a:cxnLst/>
              <a:rect l="l" t="t" r="r" b="b"/>
              <a:pathLst>
                <a:path w="7254" h="3398" extrusionOk="0">
                  <a:moveTo>
                    <a:pt x="4404" y="1"/>
                  </a:moveTo>
                  <a:cubicBezTo>
                    <a:pt x="2375" y="1"/>
                    <a:pt x="0" y="66"/>
                    <a:pt x="0" y="66"/>
                  </a:cubicBezTo>
                  <a:cubicBezTo>
                    <a:pt x="0" y="66"/>
                    <a:pt x="201" y="3268"/>
                    <a:pt x="201" y="3368"/>
                  </a:cubicBezTo>
                  <a:cubicBezTo>
                    <a:pt x="201" y="3391"/>
                    <a:pt x="949" y="3398"/>
                    <a:pt x="1948" y="3398"/>
                  </a:cubicBezTo>
                  <a:cubicBezTo>
                    <a:pt x="3944" y="3398"/>
                    <a:pt x="6939" y="3368"/>
                    <a:pt x="6939" y="3368"/>
                  </a:cubicBezTo>
                  <a:lnTo>
                    <a:pt x="7206" y="1901"/>
                  </a:lnTo>
                  <a:lnTo>
                    <a:pt x="6972" y="1233"/>
                  </a:lnTo>
                  <a:cubicBezTo>
                    <a:pt x="6972" y="1233"/>
                    <a:pt x="7206" y="433"/>
                    <a:pt x="7239" y="166"/>
                  </a:cubicBezTo>
                  <a:cubicBezTo>
                    <a:pt x="7253" y="37"/>
                    <a:pt x="5926" y="1"/>
                    <a:pt x="4404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" name="Google Shape;7413;p120">
              <a:extLst>
                <a:ext uri="{FF2B5EF4-FFF2-40B4-BE49-F238E27FC236}">
                  <a16:creationId xmlns:a16="http://schemas.microsoft.com/office/drawing/2014/main" id="{1111F916-D628-71CF-1AD3-BD1883706D69}"/>
                </a:ext>
              </a:extLst>
            </p:cNvPr>
            <p:cNvSpPr/>
            <p:nvPr/>
          </p:nvSpPr>
          <p:spPr>
            <a:xfrm>
              <a:off x="4910245" y="2246956"/>
              <a:ext cx="521225" cy="823950"/>
            </a:xfrm>
            <a:custGeom>
              <a:avLst/>
              <a:gdLst/>
              <a:ahLst/>
              <a:cxnLst/>
              <a:rect l="l" t="t" r="r" b="b"/>
              <a:pathLst>
                <a:path w="20849" h="32958" extrusionOk="0">
                  <a:moveTo>
                    <a:pt x="3570" y="0"/>
                  </a:moveTo>
                  <a:cubicBezTo>
                    <a:pt x="3570" y="0"/>
                    <a:pt x="3536" y="67"/>
                    <a:pt x="3536" y="167"/>
                  </a:cubicBezTo>
                  <a:cubicBezTo>
                    <a:pt x="3503" y="467"/>
                    <a:pt x="3436" y="968"/>
                    <a:pt x="3370" y="1668"/>
                  </a:cubicBezTo>
                  <a:cubicBezTo>
                    <a:pt x="3336" y="2102"/>
                    <a:pt x="3269" y="2569"/>
                    <a:pt x="3203" y="3103"/>
                  </a:cubicBezTo>
                  <a:cubicBezTo>
                    <a:pt x="3069" y="3903"/>
                    <a:pt x="3003" y="4770"/>
                    <a:pt x="2869" y="5771"/>
                  </a:cubicBezTo>
                  <a:cubicBezTo>
                    <a:pt x="2836" y="6405"/>
                    <a:pt x="2736" y="7005"/>
                    <a:pt x="2669" y="7639"/>
                  </a:cubicBezTo>
                  <a:cubicBezTo>
                    <a:pt x="2536" y="8740"/>
                    <a:pt x="2369" y="9907"/>
                    <a:pt x="2235" y="11075"/>
                  </a:cubicBezTo>
                  <a:cubicBezTo>
                    <a:pt x="1735" y="15078"/>
                    <a:pt x="1268" y="19281"/>
                    <a:pt x="934" y="22116"/>
                  </a:cubicBezTo>
                  <a:cubicBezTo>
                    <a:pt x="201" y="28988"/>
                    <a:pt x="0" y="32957"/>
                    <a:pt x="0" y="32957"/>
                  </a:cubicBezTo>
                  <a:lnTo>
                    <a:pt x="20849" y="32957"/>
                  </a:lnTo>
                  <a:cubicBezTo>
                    <a:pt x="20849" y="32957"/>
                    <a:pt x="20048" y="19481"/>
                    <a:pt x="19348" y="11442"/>
                  </a:cubicBezTo>
                  <a:cubicBezTo>
                    <a:pt x="19214" y="10441"/>
                    <a:pt x="19114" y="9507"/>
                    <a:pt x="19047" y="8707"/>
                  </a:cubicBezTo>
                  <a:cubicBezTo>
                    <a:pt x="18947" y="7806"/>
                    <a:pt x="18847" y="7039"/>
                    <a:pt x="18747" y="6505"/>
                  </a:cubicBezTo>
                  <a:cubicBezTo>
                    <a:pt x="18714" y="6338"/>
                    <a:pt x="18714" y="6205"/>
                    <a:pt x="18680" y="6038"/>
                  </a:cubicBezTo>
                  <a:cubicBezTo>
                    <a:pt x="18614" y="6005"/>
                    <a:pt x="18614" y="5938"/>
                    <a:pt x="18614" y="5871"/>
                  </a:cubicBezTo>
                  <a:cubicBezTo>
                    <a:pt x="18414" y="4670"/>
                    <a:pt x="18180" y="3770"/>
                    <a:pt x="17947" y="3003"/>
                  </a:cubicBezTo>
                  <a:cubicBezTo>
                    <a:pt x="17880" y="2802"/>
                    <a:pt x="17780" y="2602"/>
                    <a:pt x="17746" y="2369"/>
                  </a:cubicBezTo>
                  <a:cubicBezTo>
                    <a:pt x="17680" y="2035"/>
                    <a:pt x="17546" y="1768"/>
                    <a:pt x="17446" y="1535"/>
                  </a:cubicBezTo>
                  <a:cubicBezTo>
                    <a:pt x="17113" y="701"/>
                    <a:pt x="16879" y="434"/>
                    <a:pt x="16846" y="367"/>
                  </a:cubicBezTo>
                  <a:lnTo>
                    <a:pt x="15878" y="334"/>
                  </a:lnTo>
                  <a:lnTo>
                    <a:pt x="14377" y="301"/>
                  </a:lnTo>
                  <a:lnTo>
                    <a:pt x="13744" y="301"/>
                  </a:lnTo>
                  <a:lnTo>
                    <a:pt x="11442" y="267"/>
                  </a:lnTo>
                  <a:lnTo>
                    <a:pt x="10575" y="201"/>
                  </a:lnTo>
                  <a:lnTo>
                    <a:pt x="9240" y="167"/>
                  </a:lnTo>
                  <a:lnTo>
                    <a:pt x="8406" y="134"/>
                  </a:lnTo>
                  <a:lnTo>
                    <a:pt x="7039" y="100"/>
                  </a:lnTo>
                  <a:lnTo>
                    <a:pt x="6105" y="67"/>
                  </a:lnTo>
                  <a:lnTo>
                    <a:pt x="517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8" name="Google Shape;7414;p120">
              <a:extLst>
                <a:ext uri="{FF2B5EF4-FFF2-40B4-BE49-F238E27FC236}">
                  <a16:creationId xmlns:a16="http://schemas.microsoft.com/office/drawing/2014/main" id="{95A2BB0D-0EF7-AA35-1ED3-72FA50C826DB}"/>
                </a:ext>
              </a:extLst>
            </p:cNvPr>
            <p:cNvSpPr/>
            <p:nvPr/>
          </p:nvSpPr>
          <p:spPr>
            <a:xfrm>
              <a:off x="5054520" y="1767431"/>
              <a:ext cx="244350" cy="82650"/>
            </a:xfrm>
            <a:custGeom>
              <a:avLst/>
              <a:gdLst/>
              <a:ahLst/>
              <a:cxnLst/>
              <a:rect l="l" t="t" r="r" b="b"/>
              <a:pathLst>
                <a:path w="9774" h="3306" extrusionOk="0">
                  <a:moveTo>
                    <a:pt x="9407" y="1"/>
                  </a:moveTo>
                  <a:lnTo>
                    <a:pt x="0" y="1102"/>
                  </a:lnTo>
                  <a:cubicBezTo>
                    <a:pt x="167" y="1535"/>
                    <a:pt x="501" y="1902"/>
                    <a:pt x="901" y="2169"/>
                  </a:cubicBezTo>
                  <a:cubicBezTo>
                    <a:pt x="1401" y="2636"/>
                    <a:pt x="1968" y="3036"/>
                    <a:pt x="2635" y="3170"/>
                  </a:cubicBezTo>
                  <a:cubicBezTo>
                    <a:pt x="2779" y="3199"/>
                    <a:pt x="2926" y="3213"/>
                    <a:pt x="3074" y="3213"/>
                  </a:cubicBezTo>
                  <a:cubicBezTo>
                    <a:pt x="3613" y="3213"/>
                    <a:pt x="4149" y="3015"/>
                    <a:pt x="4437" y="2569"/>
                  </a:cubicBezTo>
                  <a:cubicBezTo>
                    <a:pt x="4722" y="3013"/>
                    <a:pt x="5247" y="3306"/>
                    <a:pt x="5814" y="3306"/>
                  </a:cubicBezTo>
                  <a:cubicBezTo>
                    <a:pt x="5844" y="3306"/>
                    <a:pt x="5874" y="3305"/>
                    <a:pt x="5904" y="3303"/>
                  </a:cubicBezTo>
                  <a:cubicBezTo>
                    <a:pt x="6472" y="3270"/>
                    <a:pt x="7005" y="2936"/>
                    <a:pt x="7272" y="2436"/>
                  </a:cubicBezTo>
                  <a:cubicBezTo>
                    <a:pt x="7660" y="2579"/>
                    <a:pt x="8097" y="2734"/>
                    <a:pt x="8508" y="2734"/>
                  </a:cubicBezTo>
                  <a:cubicBezTo>
                    <a:pt x="8769" y="2734"/>
                    <a:pt x="9020" y="2671"/>
                    <a:pt x="9240" y="2503"/>
                  </a:cubicBezTo>
                  <a:cubicBezTo>
                    <a:pt x="9640" y="2169"/>
                    <a:pt x="9774" y="1602"/>
                    <a:pt x="9774" y="1102"/>
                  </a:cubicBezTo>
                  <a:cubicBezTo>
                    <a:pt x="9774" y="701"/>
                    <a:pt x="9741" y="268"/>
                    <a:pt x="9407" y="1"/>
                  </a:cubicBezTo>
                  <a:close/>
                </a:path>
              </a:pathLst>
            </a:custGeom>
            <a:solidFill>
              <a:srgbClr val="10183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9" name="Google Shape;7415;p120">
              <a:extLst>
                <a:ext uri="{FF2B5EF4-FFF2-40B4-BE49-F238E27FC236}">
                  <a16:creationId xmlns:a16="http://schemas.microsoft.com/office/drawing/2014/main" id="{8FD5C19A-7793-FE25-7FE5-DF115579D709}"/>
                </a:ext>
              </a:extLst>
            </p:cNvPr>
            <p:cNvSpPr/>
            <p:nvPr/>
          </p:nvSpPr>
          <p:spPr>
            <a:xfrm>
              <a:off x="4941945" y="2196906"/>
              <a:ext cx="97575" cy="850650"/>
            </a:xfrm>
            <a:custGeom>
              <a:avLst/>
              <a:gdLst/>
              <a:ahLst/>
              <a:cxnLst/>
              <a:rect l="l" t="t" r="r" b="b"/>
              <a:pathLst>
                <a:path w="3903" h="34026" extrusionOk="0">
                  <a:moveTo>
                    <a:pt x="3903" y="1"/>
                  </a:moveTo>
                  <a:lnTo>
                    <a:pt x="3903" y="1"/>
                  </a:lnTo>
                  <a:cubicBezTo>
                    <a:pt x="3636" y="134"/>
                    <a:pt x="3436" y="268"/>
                    <a:pt x="3236" y="401"/>
                  </a:cubicBezTo>
                  <a:cubicBezTo>
                    <a:pt x="3236" y="501"/>
                    <a:pt x="3169" y="635"/>
                    <a:pt x="3169" y="768"/>
                  </a:cubicBezTo>
                  <a:cubicBezTo>
                    <a:pt x="3136" y="968"/>
                    <a:pt x="3136" y="1235"/>
                    <a:pt x="3102" y="1435"/>
                  </a:cubicBezTo>
                  <a:cubicBezTo>
                    <a:pt x="3102" y="1635"/>
                    <a:pt x="3069" y="1802"/>
                    <a:pt x="3069" y="2002"/>
                  </a:cubicBezTo>
                  <a:cubicBezTo>
                    <a:pt x="3069" y="2169"/>
                    <a:pt x="3002" y="2403"/>
                    <a:pt x="3002" y="2603"/>
                  </a:cubicBezTo>
                  <a:cubicBezTo>
                    <a:pt x="3002" y="2836"/>
                    <a:pt x="2969" y="3103"/>
                    <a:pt x="2969" y="3337"/>
                  </a:cubicBezTo>
                  <a:cubicBezTo>
                    <a:pt x="2902" y="4104"/>
                    <a:pt x="2835" y="4904"/>
                    <a:pt x="2802" y="5638"/>
                  </a:cubicBezTo>
                  <a:cubicBezTo>
                    <a:pt x="2769" y="5905"/>
                    <a:pt x="2769" y="6139"/>
                    <a:pt x="2769" y="6439"/>
                  </a:cubicBezTo>
                  <a:cubicBezTo>
                    <a:pt x="2602" y="8741"/>
                    <a:pt x="2435" y="11076"/>
                    <a:pt x="2268" y="13344"/>
                  </a:cubicBezTo>
                  <a:cubicBezTo>
                    <a:pt x="2135" y="14945"/>
                    <a:pt x="1968" y="16513"/>
                    <a:pt x="1801" y="18114"/>
                  </a:cubicBezTo>
                  <a:cubicBezTo>
                    <a:pt x="1434" y="21516"/>
                    <a:pt x="1001" y="24919"/>
                    <a:pt x="600" y="28321"/>
                  </a:cubicBezTo>
                  <a:cubicBezTo>
                    <a:pt x="400" y="30156"/>
                    <a:pt x="67" y="32124"/>
                    <a:pt x="0" y="34025"/>
                  </a:cubicBezTo>
                  <a:cubicBezTo>
                    <a:pt x="167" y="33992"/>
                    <a:pt x="434" y="33959"/>
                    <a:pt x="634" y="33925"/>
                  </a:cubicBezTo>
                  <a:cubicBezTo>
                    <a:pt x="834" y="27120"/>
                    <a:pt x="1968" y="20315"/>
                    <a:pt x="2835" y="13511"/>
                  </a:cubicBezTo>
                  <a:cubicBezTo>
                    <a:pt x="3336" y="9675"/>
                    <a:pt x="3736" y="5905"/>
                    <a:pt x="3836" y="2069"/>
                  </a:cubicBezTo>
                  <a:cubicBezTo>
                    <a:pt x="3903" y="1402"/>
                    <a:pt x="3903" y="735"/>
                    <a:pt x="39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" name="Google Shape;7416;p120">
              <a:extLst>
                <a:ext uri="{FF2B5EF4-FFF2-40B4-BE49-F238E27FC236}">
                  <a16:creationId xmlns:a16="http://schemas.microsoft.com/office/drawing/2014/main" id="{B19566D9-3B5D-E15E-B4D0-E78690B0F3F8}"/>
                </a:ext>
              </a:extLst>
            </p:cNvPr>
            <p:cNvSpPr/>
            <p:nvPr/>
          </p:nvSpPr>
          <p:spPr>
            <a:xfrm>
              <a:off x="4995295" y="2201081"/>
              <a:ext cx="91775" cy="842300"/>
            </a:xfrm>
            <a:custGeom>
              <a:avLst/>
              <a:gdLst/>
              <a:ahLst/>
              <a:cxnLst/>
              <a:rect l="l" t="t" r="r" b="b"/>
              <a:pathLst>
                <a:path w="3671" h="33692" extrusionOk="0">
                  <a:moveTo>
                    <a:pt x="2970" y="1"/>
                  </a:moveTo>
                  <a:cubicBezTo>
                    <a:pt x="2836" y="635"/>
                    <a:pt x="2770" y="1302"/>
                    <a:pt x="2669" y="1935"/>
                  </a:cubicBezTo>
                  <a:cubicBezTo>
                    <a:pt x="2202" y="5805"/>
                    <a:pt x="2269" y="9808"/>
                    <a:pt x="2136" y="13744"/>
                  </a:cubicBezTo>
                  <a:cubicBezTo>
                    <a:pt x="2102" y="15245"/>
                    <a:pt x="2036" y="16679"/>
                    <a:pt x="1936" y="18147"/>
                  </a:cubicBezTo>
                  <a:cubicBezTo>
                    <a:pt x="1502" y="23151"/>
                    <a:pt x="101" y="28521"/>
                    <a:pt x="1" y="33692"/>
                  </a:cubicBezTo>
                  <a:lnTo>
                    <a:pt x="868" y="33692"/>
                  </a:lnTo>
                  <a:cubicBezTo>
                    <a:pt x="935" y="32024"/>
                    <a:pt x="1002" y="30423"/>
                    <a:pt x="1202" y="28688"/>
                  </a:cubicBezTo>
                  <a:cubicBezTo>
                    <a:pt x="1635" y="25152"/>
                    <a:pt x="2202" y="21650"/>
                    <a:pt x="2469" y="18114"/>
                  </a:cubicBezTo>
                  <a:cubicBezTo>
                    <a:pt x="2603" y="16679"/>
                    <a:pt x="2669" y="15278"/>
                    <a:pt x="2803" y="13811"/>
                  </a:cubicBezTo>
                  <a:cubicBezTo>
                    <a:pt x="3103" y="9841"/>
                    <a:pt x="3337" y="5838"/>
                    <a:pt x="3603" y="1869"/>
                  </a:cubicBezTo>
                  <a:cubicBezTo>
                    <a:pt x="3637" y="1435"/>
                    <a:pt x="3637" y="968"/>
                    <a:pt x="3670" y="501"/>
                  </a:cubicBezTo>
                  <a:cubicBezTo>
                    <a:pt x="3470" y="401"/>
                    <a:pt x="3203" y="168"/>
                    <a:pt x="297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" name="Google Shape;7417;p120">
              <a:extLst>
                <a:ext uri="{FF2B5EF4-FFF2-40B4-BE49-F238E27FC236}">
                  <a16:creationId xmlns:a16="http://schemas.microsoft.com/office/drawing/2014/main" id="{A5E830EC-1A33-8BE2-15DA-2F88E27C3F86}"/>
                </a:ext>
              </a:extLst>
            </p:cNvPr>
            <p:cNvSpPr/>
            <p:nvPr/>
          </p:nvSpPr>
          <p:spPr>
            <a:xfrm>
              <a:off x="5074520" y="2236956"/>
              <a:ext cx="66750" cy="813925"/>
            </a:xfrm>
            <a:custGeom>
              <a:avLst/>
              <a:gdLst/>
              <a:ahLst/>
              <a:cxnLst/>
              <a:rect l="l" t="t" r="r" b="b"/>
              <a:pathLst>
                <a:path w="2670" h="32557" extrusionOk="0">
                  <a:moveTo>
                    <a:pt x="1869" y="0"/>
                  </a:moveTo>
                  <a:cubicBezTo>
                    <a:pt x="1869" y="167"/>
                    <a:pt x="1835" y="334"/>
                    <a:pt x="1835" y="500"/>
                  </a:cubicBezTo>
                  <a:cubicBezTo>
                    <a:pt x="1535" y="4570"/>
                    <a:pt x="1368" y="8673"/>
                    <a:pt x="1135" y="12743"/>
                  </a:cubicBezTo>
                  <a:cubicBezTo>
                    <a:pt x="1035" y="14210"/>
                    <a:pt x="968" y="15645"/>
                    <a:pt x="868" y="17079"/>
                  </a:cubicBezTo>
                  <a:cubicBezTo>
                    <a:pt x="535" y="22049"/>
                    <a:pt x="1" y="27353"/>
                    <a:pt x="168" y="32457"/>
                  </a:cubicBezTo>
                  <a:cubicBezTo>
                    <a:pt x="468" y="32523"/>
                    <a:pt x="801" y="32523"/>
                    <a:pt x="1102" y="32557"/>
                  </a:cubicBezTo>
                  <a:cubicBezTo>
                    <a:pt x="1102" y="30689"/>
                    <a:pt x="1002" y="28754"/>
                    <a:pt x="1102" y="26886"/>
                  </a:cubicBezTo>
                  <a:cubicBezTo>
                    <a:pt x="1202" y="23517"/>
                    <a:pt x="1435" y="20081"/>
                    <a:pt x="1669" y="16712"/>
                  </a:cubicBezTo>
                  <a:cubicBezTo>
                    <a:pt x="1769" y="15444"/>
                    <a:pt x="1835" y="14244"/>
                    <a:pt x="1969" y="13009"/>
                  </a:cubicBezTo>
                  <a:cubicBezTo>
                    <a:pt x="2302" y="8873"/>
                    <a:pt x="2669" y="4703"/>
                    <a:pt x="2669" y="567"/>
                  </a:cubicBezTo>
                  <a:lnTo>
                    <a:pt x="2669" y="534"/>
                  </a:lnTo>
                  <a:cubicBezTo>
                    <a:pt x="2469" y="367"/>
                    <a:pt x="2269" y="234"/>
                    <a:pt x="2102" y="134"/>
                  </a:cubicBezTo>
                  <a:cubicBezTo>
                    <a:pt x="2002" y="67"/>
                    <a:pt x="1969" y="33"/>
                    <a:pt x="186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" name="Google Shape;7418;p120">
              <a:extLst>
                <a:ext uri="{FF2B5EF4-FFF2-40B4-BE49-F238E27FC236}">
                  <a16:creationId xmlns:a16="http://schemas.microsoft.com/office/drawing/2014/main" id="{765A2DE2-D7CB-6C72-E521-C65997C910C8}"/>
                </a:ext>
              </a:extLst>
            </p:cNvPr>
            <p:cNvSpPr/>
            <p:nvPr/>
          </p:nvSpPr>
          <p:spPr>
            <a:xfrm>
              <a:off x="5153745" y="2261956"/>
              <a:ext cx="42550" cy="791425"/>
            </a:xfrm>
            <a:custGeom>
              <a:avLst/>
              <a:gdLst/>
              <a:ahLst/>
              <a:cxnLst/>
              <a:rect l="l" t="t" r="r" b="b"/>
              <a:pathLst>
                <a:path w="1702" h="31657" extrusionOk="0">
                  <a:moveTo>
                    <a:pt x="1702" y="1"/>
                  </a:moveTo>
                  <a:lnTo>
                    <a:pt x="1702" y="1"/>
                  </a:lnTo>
                  <a:cubicBezTo>
                    <a:pt x="1602" y="34"/>
                    <a:pt x="1468" y="68"/>
                    <a:pt x="1302" y="134"/>
                  </a:cubicBezTo>
                  <a:cubicBezTo>
                    <a:pt x="1246" y="145"/>
                    <a:pt x="1190" y="149"/>
                    <a:pt x="1135" y="149"/>
                  </a:cubicBezTo>
                  <a:cubicBezTo>
                    <a:pt x="1024" y="149"/>
                    <a:pt x="913" y="134"/>
                    <a:pt x="801" y="134"/>
                  </a:cubicBezTo>
                  <a:cubicBezTo>
                    <a:pt x="801" y="1835"/>
                    <a:pt x="835" y="3503"/>
                    <a:pt x="835" y="5171"/>
                  </a:cubicBezTo>
                  <a:lnTo>
                    <a:pt x="835" y="12476"/>
                  </a:lnTo>
                  <a:lnTo>
                    <a:pt x="835" y="15245"/>
                  </a:lnTo>
                  <a:cubicBezTo>
                    <a:pt x="835" y="18581"/>
                    <a:pt x="968" y="22017"/>
                    <a:pt x="635" y="25352"/>
                  </a:cubicBezTo>
                  <a:cubicBezTo>
                    <a:pt x="434" y="27420"/>
                    <a:pt x="134" y="29522"/>
                    <a:pt x="1" y="31657"/>
                  </a:cubicBezTo>
                  <a:lnTo>
                    <a:pt x="935" y="31657"/>
                  </a:lnTo>
                  <a:cubicBezTo>
                    <a:pt x="1202" y="26186"/>
                    <a:pt x="1635" y="20749"/>
                    <a:pt x="1635" y="15312"/>
                  </a:cubicBezTo>
                  <a:lnTo>
                    <a:pt x="1635" y="12710"/>
                  </a:lnTo>
                  <a:lnTo>
                    <a:pt x="1635" y="5205"/>
                  </a:lnTo>
                  <a:cubicBezTo>
                    <a:pt x="1669" y="3470"/>
                    <a:pt x="1702" y="1702"/>
                    <a:pt x="170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" name="Google Shape;7419;p120">
              <a:extLst>
                <a:ext uri="{FF2B5EF4-FFF2-40B4-BE49-F238E27FC236}">
                  <a16:creationId xmlns:a16="http://schemas.microsoft.com/office/drawing/2014/main" id="{51AE994C-23E6-E0BA-736E-86308EC4E13F}"/>
                </a:ext>
              </a:extLst>
            </p:cNvPr>
            <p:cNvSpPr/>
            <p:nvPr/>
          </p:nvSpPr>
          <p:spPr>
            <a:xfrm>
              <a:off x="5234645" y="2219431"/>
              <a:ext cx="36725" cy="833950"/>
            </a:xfrm>
            <a:custGeom>
              <a:avLst/>
              <a:gdLst/>
              <a:ahLst/>
              <a:cxnLst/>
              <a:rect l="l" t="t" r="r" b="b"/>
              <a:pathLst>
                <a:path w="1469" h="33358" extrusionOk="0">
                  <a:moveTo>
                    <a:pt x="1301" y="1"/>
                  </a:moveTo>
                  <a:cubicBezTo>
                    <a:pt x="1135" y="67"/>
                    <a:pt x="934" y="167"/>
                    <a:pt x="768" y="267"/>
                  </a:cubicBezTo>
                  <a:cubicBezTo>
                    <a:pt x="768" y="668"/>
                    <a:pt x="734" y="1035"/>
                    <a:pt x="734" y="1402"/>
                  </a:cubicBezTo>
                  <a:cubicBezTo>
                    <a:pt x="567" y="5838"/>
                    <a:pt x="567" y="10241"/>
                    <a:pt x="501" y="14678"/>
                  </a:cubicBezTo>
                  <a:cubicBezTo>
                    <a:pt x="501" y="15779"/>
                    <a:pt x="501" y="16913"/>
                    <a:pt x="467" y="18080"/>
                  </a:cubicBezTo>
                  <a:cubicBezTo>
                    <a:pt x="434" y="21483"/>
                    <a:pt x="401" y="24918"/>
                    <a:pt x="267" y="28288"/>
                  </a:cubicBezTo>
                  <a:cubicBezTo>
                    <a:pt x="234" y="29922"/>
                    <a:pt x="67" y="31623"/>
                    <a:pt x="0" y="33358"/>
                  </a:cubicBezTo>
                  <a:cubicBezTo>
                    <a:pt x="334" y="33358"/>
                    <a:pt x="668" y="33291"/>
                    <a:pt x="968" y="33291"/>
                  </a:cubicBezTo>
                  <a:cubicBezTo>
                    <a:pt x="1068" y="26953"/>
                    <a:pt x="1268" y="20649"/>
                    <a:pt x="1401" y="14344"/>
                  </a:cubicBezTo>
                  <a:cubicBezTo>
                    <a:pt x="1468" y="10041"/>
                    <a:pt x="1468" y="5705"/>
                    <a:pt x="1301" y="1402"/>
                  </a:cubicBezTo>
                  <a:cubicBezTo>
                    <a:pt x="1335" y="901"/>
                    <a:pt x="1335" y="434"/>
                    <a:pt x="13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" name="Google Shape;7420;p120">
              <a:extLst>
                <a:ext uri="{FF2B5EF4-FFF2-40B4-BE49-F238E27FC236}">
                  <a16:creationId xmlns:a16="http://schemas.microsoft.com/office/drawing/2014/main" id="{EA2F5D77-12AB-91C7-605E-E9EF4B448089}"/>
                </a:ext>
              </a:extLst>
            </p:cNvPr>
            <p:cNvSpPr/>
            <p:nvPr/>
          </p:nvSpPr>
          <p:spPr>
            <a:xfrm>
              <a:off x="5306370" y="2200256"/>
              <a:ext cx="48375" cy="847300"/>
            </a:xfrm>
            <a:custGeom>
              <a:avLst/>
              <a:gdLst/>
              <a:ahLst/>
              <a:cxnLst/>
              <a:rect l="l" t="t" r="r" b="b"/>
              <a:pathLst>
                <a:path w="1935" h="33892" extrusionOk="0">
                  <a:moveTo>
                    <a:pt x="0" y="0"/>
                  </a:moveTo>
                  <a:lnTo>
                    <a:pt x="0" y="2169"/>
                  </a:lnTo>
                  <a:cubicBezTo>
                    <a:pt x="33" y="6272"/>
                    <a:pt x="234" y="10308"/>
                    <a:pt x="367" y="14377"/>
                  </a:cubicBezTo>
                  <a:cubicBezTo>
                    <a:pt x="434" y="15645"/>
                    <a:pt x="500" y="16946"/>
                    <a:pt x="534" y="18180"/>
                  </a:cubicBezTo>
                  <a:cubicBezTo>
                    <a:pt x="667" y="21616"/>
                    <a:pt x="734" y="25018"/>
                    <a:pt x="867" y="28454"/>
                  </a:cubicBezTo>
                  <a:cubicBezTo>
                    <a:pt x="901" y="30222"/>
                    <a:pt x="867" y="32123"/>
                    <a:pt x="1001" y="33891"/>
                  </a:cubicBezTo>
                  <a:cubicBezTo>
                    <a:pt x="1334" y="33891"/>
                    <a:pt x="1668" y="33858"/>
                    <a:pt x="1935" y="33858"/>
                  </a:cubicBezTo>
                  <a:cubicBezTo>
                    <a:pt x="1368" y="28454"/>
                    <a:pt x="1568" y="22783"/>
                    <a:pt x="1401" y="17379"/>
                  </a:cubicBezTo>
                  <a:cubicBezTo>
                    <a:pt x="1368" y="16312"/>
                    <a:pt x="1368" y="15178"/>
                    <a:pt x="1334" y="14044"/>
                  </a:cubicBezTo>
                  <a:cubicBezTo>
                    <a:pt x="1234" y="10141"/>
                    <a:pt x="1201" y="6171"/>
                    <a:pt x="1001" y="2202"/>
                  </a:cubicBezTo>
                  <a:lnTo>
                    <a:pt x="867" y="467"/>
                  </a:lnTo>
                  <a:cubicBezTo>
                    <a:pt x="567" y="301"/>
                    <a:pt x="234" y="134"/>
                    <a:pt x="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" name="Google Shape;7421;p120">
              <a:extLst>
                <a:ext uri="{FF2B5EF4-FFF2-40B4-BE49-F238E27FC236}">
                  <a16:creationId xmlns:a16="http://schemas.microsoft.com/office/drawing/2014/main" id="{5A0BE857-5CC3-A12C-79FF-98454552580D}"/>
                </a:ext>
              </a:extLst>
            </p:cNvPr>
            <p:cNvSpPr/>
            <p:nvPr/>
          </p:nvSpPr>
          <p:spPr>
            <a:xfrm>
              <a:off x="5341395" y="2219431"/>
              <a:ext cx="75900" cy="823125"/>
            </a:xfrm>
            <a:custGeom>
              <a:avLst/>
              <a:gdLst/>
              <a:ahLst/>
              <a:cxnLst/>
              <a:rect l="l" t="t" r="r" b="b"/>
              <a:pathLst>
                <a:path w="3036" h="32925" extrusionOk="0">
                  <a:moveTo>
                    <a:pt x="0" y="1"/>
                  </a:moveTo>
                  <a:cubicBezTo>
                    <a:pt x="33" y="868"/>
                    <a:pt x="134" y="1702"/>
                    <a:pt x="167" y="2569"/>
                  </a:cubicBezTo>
                  <a:cubicBezTo>
                    <a:pt x="500" y="6005"/>
                    <a:pt x="867" y="9407"/>
                    <a:pt x="1168" y="12776"/>
                  </a:cubicBezTo>
                  <a:cubicBezTo>
                    <a:pt x="1334" y="14678"/>
                    <a:pt x="1468" y="16546"/>
                    <a:pt x="1535" y="18414"/>
                  </a:cubicBezTo>
                  <a:cubicBezTo>
                    <a:pt x="1735" y="23251"/>
                    <a:pt x="1735" y="28121"/>
                    <a:pt x="2469" y="32924"/>
                  </a:cubicBezTo>
                  <a:cubicBezTo>
                    <a:pt x="2669" y="32924"/>
                    <a:pt x="2835" y="32891"/>
                    <a:pt x="3036" y="32891"/>
                  </a:cubicBezTo>
                  <a:cubicBezTo>
                    <a:pt x="2368" y="27720"/>
                    <a:pt x="2168" y="22450"/>
                    <a:pt x="1901" y="17246"/>
                  </a:cubicBezTo>
                  <a:cubicBezTo>
                    <a:pt x="1835" y="15712"/>
                    <a:pt x="1801" y="14111"/>
                    <a:pt x="1701" y="12576"/>
                  </a:cubicBezTo>
                  <a:cubicBezTo>
                    <a:pt x="1668" y="11409"/>
                    <a:pt x="1568" y="10275"/>
                    <a:pt x="1501" y="9107"/>
                  </a:cubicBezTo>
                  <a:cubicBezTo>
                    <a:pt x="1468" y="8407"/>
                    <a:pt x="1401" y="7739"/>
                    <a:pt x="1334" y="7039"/>
                  </a:cubicBezTo>
                  <a:lnTo>
                    <a:pt x="1334" y="6906"/>
                  </a:lnTo>
                  <a:cubicBezTo>
                    <a:pt x="1301" y="6205"/>
                    <a:pt x="1201" y="5471"/>
                    <a:pt x="1134" y="4771"/>
                  </a:cubicBezTo>
                  <a:cubicBezTo>
                    <a:pt x="1068" y="4437"/>
                    <a:pt x="1034" y="4170"/>
                    <a:pt x="1001" y="3870"/>
                  </a:cubicBezTo>
                  <a:cubicBezTo>
                    <a:pt x="867" y="2869"/>
                    <a:pt x="701" y="1835"/>
                    <a:pt x="534" y="835"/>
                  </a:cubicBezTo>
                  <a:cubicBezTo>
                    <a:pt x="500" y="701"/>
                    <a:pt x="500" y="534"/>
                    <a:pt x="467" y="401"/>
                  </a:cubicBezTo>
                  <a:lnTo>
                    <a:pt x="467" y="267"/>
                  </a:lnTo>
                  <a:cubicBezTo>
                    <a:pt x="300" y="201"/>
                    <a:pt x="167" y="101"/>
                    <a:pt x="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" name="Google Shape;7422;p120">
              <a:extLst>
                <a:ext uri="{FF2B5EF4-FFF2-40B4-BE49-F238E27FC236}">
                  <a16:creationId xmlns:a16="http://schemas.microsoft.com/office/drawing/2014/main" id="{C623D18E-4AAF-6B8D-BC52-45AAE16E997D}"/>
                </a:ext>
              </a:extLst>
            </p:cNvPr>
            <p:cNvSpPr/>
            <p:nvPr/>
          </p:nvSpPr>
          <p:spPr>
            <a:xfrm>
              <a:off x="4866045" y="2212556"/>
              <a:ext cx="173875" cy="262925"/>
            </a:xfrm>
            <a:custGeom>
              <a:avLst/>
              <a:gdLst/>
              <a:ahLst/>
              <a:cxnLst/>
              <a:rect l="l" t="t" r="r" b="b"/>
              <a:pathLst>
                <a:path w="6955" h="10517" extrusionOk="0">
                  <a:moveTo>
                    <a:pt x="6575" y="0"/>
                  </a:moveTo>
                  <a:cubicBezTo>
                    <a:pt x="6552" y="0"/>
                    <a:pt x="6529" y="3"/>
                    <a:pt x="6505" y="9"/>
                  </a:cubicBezTo>
                  <a:lnTo>
                    <a:pt x="6272" y="142"/>
                  </a:lnTo>
                  <a:cubicBezTo>
                    <a:pt x="2702" y="1943"/>
                    <a:pt x="701" y="6447"/>
                    <a:pt x="1" y="10383"/>
                  </a:cubicBezTo>
                  <a:cubicBezTo>
                    <a:pt x="67" y="10383"/>
                    <a:pt x="104" y="10368"/>
                    <a:pt x="141" y="10368"/>
                  </a:cubicBezTo>
                  <a:cubicBezTo>
                    <a:pt x="160" y="10368"/>
                    <a:pt x="178" y="10372"/>
                    <a:pt x="201" y="10383"/>
                  </a:cubicBezTo>
                  <a:lnTo>
                    <a:pt x="701" y="10516"/>
                  </a:lnTo>
                  <a:cubicBezTo>
                    <a:pt x="1168" y="8882"/>
                    <a:pt x="1502" y="7214"/>
                    <a:pt x="2269" y="5646"/>
                  </a:cubicBezTo>
                  <a:cubicBezTo>
                    <a:pt x="3003" y="4012"/>
                    <a:pt x="4037" y="2711"/>
                    <a:pt x="5304" y="1543"/>
                  </a:cubicBezTo>
                  <a:cubicBezTo>
                    <a:pt x="5371" y="1510"/>
                    <a:pt x="5438" y="1443"/>
                    <a:pt x="5504" y="1376"/>
                  </a:cubicBezTo>
                  <a:cubicBezTo>
                    <a:pt x="5705" y="1176"/>
                    <a:pt x="5971" y="1009"/>
                    <a:pt x="6205" y="843"/>
                  </a:cubicBezTo>
                  <a:cubicBezTo>
                    <a:pt x="6372" y="709"/>
                    <a:pt x="6605" y="542"/>
                    <a:pt x="6772" y="442"/>
                  </a:cubicBezTo>
                  <a:cubicBezTo>
                    <a:pt x="6954" y="290"/>
                    <a:pt x="6804" y="0"/>
                    <a:pt x="657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" name="Google Shape;7423;p120">
              <a:extLst>
                <a:ext uri="{FF2B5EF4-FFF2-40B4-BE49-F238E27FC236}">
                  <a16:creationId xmlns:a16="http://schemas.microsoft.com/office/drawing/2014/main" id="{1DCABCD8-CA79-C640-ECE6-4E53F1B5B991}"/>
                </a:ext>
              </a:extLst>
            </p:cNvPr>
            <p:cNvSpPr/>
            <p:nvPr/>
          </p:nvSpPr>
          <p:spPr>
            <a:xfrm>
              <a:off x="4906070" y="2252556"/>
              <a:ext cx="125950" cy="231250"/>
            </a:xfrm>
            <a:custGeom>
              <a:avLst/>
              <a:gdLst/>
              <a:ahLst/>
              <a:cxnLst/>
              <a:rect l="l" t="t" r="r" b="b"/>
              <a:pathLst>
                <a:path w="5038" h="9250" extrusionOk="0">
                  <a:moveTo>
                    <a:pt x="4937" y="1"/>
                  </a:moveTo>
                  <a:cubicBezTo>
                    <a:pt x="4914" y="1"/>
                    <a:pt x="4891" y="13"/>
                    <a:pt x="4871" y="43"/>
                  </a:cubicBezTo>
                  <a:cubicBezTo>
                    <a:pt x="4737" y="177"/>
                    <a:pt x="4604" y="243"/>
                    <a:pt x="4504" y="377"/>
                  </a:cubicBezTo>
                  <a:cubicBezTo>
                    <a:pt x="4170" y="710"/>
                    <a:pt x="3837" y="1077"/>
                    <a:pt x="3537" y="1444"/>
                  </a:cubicBezTo>
                  <a:cubicBezTo>
                    <a:pt x="1835" y="3579"/>
                    <a:pt x="568" y="6381"/>
                    <a:pt x="1" y="9116"/>
                  </a:cubicBezTo>
                  <a:cubicBezTo>
                    <a:pt x="201" y="9183"/>
                    <a:pt x="368" y="9216"/>
                    <a:pt x="568" y="9250"/>
                  </a:cubicBezTo>
                  <a:cubicBezTo>
                    <a:pt x="901" y="8049"/>
                    <a:pt x="1335" y="6848"/>
                    <a:pt x="1835" y="5681"/>
                  </a:cubicBezTo>
                  <a:cubicBezTo>
                    <a:pt x="2269" y="4713"/>
                    <a:pt x="2836" y="3779"/>
                    <a:pt x="3370" y="2879"/>
                  </a:cubicBezTo>
                  <a:cubicBezTo>
                    <a:pt x="3737" y="2278"/>
                    <a:pt x="4104" y="1711"/>
                    <a:pt x="4437" y="1111"/>
                  </a:cubicBezTo>
                  <a:cubicBezTo>
                    <a:pt x="4671" y="777"/>
                    <a:pt x="4871" y="444"/>
                    <a:pt x="5038" y="110"/>
                  </a:cubicBezTo>
                  <a:cubicBezTo>
                    <a:pt x="5038" y="64"/>
                    <a:pt x="4989" y="1"/>
                    <a:pt x="493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" name="Google Shape;7424;p120">
              <a:extLst>
                <a:ext uri="{FF2B5EF4-FFF2-40B4-BE49-F238E27FC236}">
                  <a16:creationId xmlns:a16="http://schemas.microsoft.com/office/drawing/2014/main" id="{CA9CA1EE-E4C5-DE83-5513-9A2B9E3991DD}"/>
                </a:ext>
              </a:extLst>
            </p:cNvPr>
            <p:cNvSpPr/>
            <p:nvPr/>
          </p:nvSpPr>
          <p:spPr>
            <a:xfrm>
              <a:off x="4940270" y="2318106"/>
              <a:ext cx="89000" cy="174050"/>
            </a:xfrm>
            <a:custGeom>
              <a:avLst/>
              <a:gdLst/>
              <a:ahLst/>
              <a:cxnLst/>
              <a:rect l="l" t="t" r="r" b="b"/>
              <a:pathLst>
                <a:path w="3560" h="6962" extrusionOk="0">
                  <a:moveTo>
                    <a:pt x="3415" y="0"/>
                  </a:moveTo>
                  <a:cubicBezTo>
                    <a:pt x="3385" y="0"/>
                    <a:pt x="3356" y="16"/>
                    <a:pt x="3336" y="56"/>
                  </a:cubicBezTo>
                  <a:cubicBezTo>
                    <a:pt x="3169" y="290"/>
                    <a:pt x="3036" y="557"/>
                    <a:pt x="2869" y="824"/>
                  </a:cubicBezTo>
                  <a:cubicBezTo>
                    <a:pt x="2469" y="1558"/>
                    <a:pt x="2035" y="2258"/>
                    <a:pt x="1668" y="2959"/>
                  </a:cubicBezTo>
                  <a:cubicBezTo>
                    <a:pt x="1001" y="4226"/>
                    <a:pt x="367" y="5460"/>
                    <a:pt x="0" y="6795"/>
                  </a:cubicBezTo>
                  <a:cubicBezTo>
                    <a:pt x="234" y="6828"/>
                    <a:pt x="467" y="6928"/>
                    <a:pt x="701" y="6961"/>
                  </a:cubicBezTo>
                  <a:cubicBezTo>
                    <a:pt x="901" y="6261"/>
                    <a:pt x="1168" y="5494"/>
                    <a:pt x="1468" y="4793"/>
                  </a:cubicBezTo>
                  <a:cubicBezTo>
                    <a:pt x="1868" y="3726"/>
                    <a:pt x="2335" y="2658"/>
                    <a:pt x="2836" y="1591"/>
                  </a:cubicBezTo>
                  <a:cubicBezTo>
                    <a:pt x="3069" y="1124"/>
                    <a:pt x="3303" y="624"/>
                    <a:pt x="3536" y="157"/>
                  </a:cubicBezTo>
                  <a:cubicBezTo>
                    <a:pt x="3560" y="87"/>
                    <a:pt x="3485" y="0"/>
                    <a:pt x="341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" name="Google Shape;7425;p120">
              <a:extLst>
                <a:ext uri="{FF2B5EF4-FFF2-40B4-BE49-F238E27FC236}">
                  <a16:creationId xmlns:a16="http://schemas.microsoft.com/office/drawing/2014/main" id="{E41BFF41-81D9-9215-F1C7-82B85260268D}"/>
                </a:ext>
              </a:extLst>
            </p:cNvPr>
            <p:cNvSpPr/>
            <p:nvPr/>
          </p:nvSpPr>
          <p:spPr>
            <a:xfrm>
              <a:off x="5363070" y="2385356"/>
              <a:ext cx="50050" cy="115975"/>
            </a:xfrm>
            <a:custGeom>
              <a:avLst/>
              <a:gdLst/>
              <a:ahLst/>
              <a:cxnLst/>
              <a:rect l="l" t="t" r="r" b="b"/>
              <a:pathLst>
                <a:path w="2002" h="4639" extrusionOk="0">
                  <a:moveTo>
                    <a:pt x="131" y="0"/>
                  </a:moveTo>
                  <a:cubicBezTo>
                    <a:pt x="64" y="0"/>
                    <a:pt x="0" y="41"/>
                    <a:pt x="0" y="135"/>
                  </a:cubicBezTo>
                  <a:cubicBezTo>
                    <a:pt x="100" y="969"/>
                    <a:pt x="334" y="1770"/>
                    <a:pt x="634" y="2537"/>
                  </a:cubicBezTo>
                  <a:lnTo>
                    <a:pt x="868" y="3137"/>
                  </a:lnTo>
                  <a:cubicBezTo>
                    <a:pt x="934" y="3271"/>
                    <a:pt x="968" y="3404"/>
                    <a:pt x="1001" y="3471"/>
                  </a:cubicBezTo>
                  <a:cubicBezTo>
                    <a:pt x="1135" y="3871"/>
                    <a:pt x="1268" y="4238"/>
                    <a:pt x="1335" y="4638"/>
                  </a:cubicBezTo>
                  <a:cubicBezTo>
                    <a:pt x="1602" y="4538"/>
                    <a:pt x="1802" y="4405"/>
                    <a:pt x="2002" y="4305"/>
                  </a:cubicBezTo>
                  <a:cubicBezTo>
                    <a:pt x="1968" y="4138"/>
                    <a:pt x="1935" y="3971"/>
                    <a:pt x="1835" y="3804"/>
                  </a:cubicBezTo>
                  <a:cubicBezTo>
                    <a:pt x="1468" y="2704"/>
                    <a:pt x="1135" y="1536"/>
                    <a:pt x="567" y="469"/>
                  </a:cubicBezTo>
                  <a:cubicBezTo>
                    <a:pt x="567" y="469"/>
                    <a:pt x="567" y="435"/>
                    <a:pt x="501" y="435"/>
                  </a:cubicBezTo>
                  <a:lnTo>
                    <a:pt x="267" y="68"/>
                  </a:lnTo>
                  <a:cubicBezTo>
                    <a:pt x="238" y="25"/>
                    <a:pt x="184" y="0"/>
                    <a:pt x="13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" name="Google Shape;7426;p120">
              <a:extLst>
                <a:ext uri="{FF2B5EF4-FFF2-40B4-BE49-F238E27FC236}">
                  <a16:creationId xmlns:a16="http://schemas.microsoft.com/office/drawing/2014/main" id="{C3E51863-D2A0-324E-155A-165C7515BECD}"/>
                </a:ext>
              </a:extLst>
            </p:cNvPr>
            <p:cNvSpPr/>
            <p:nvPr/>
          </p:nvSpPr>
          <p:spPr>
            <a:xfrm>
              <a:off x="5350570" y="2304506"/>
              <a:ext cx="107600" cy="177650"/>
            </a:xfrm>
            <a:custGeom>
              <a:avLst/>
              <a:gdLst/>
              <a:ahLst/>
              <a:cxnLst/>
              <a:rect l="l" t="t" r="r" b="b"/>
              <a:pathLst>
                <a:path w="4304" h="7106" extrusionOk="0">
                  <a:moveTo>
                    <a:pt x="133" y="0"/>
                  </a:moveTo>
                  <a:cubicBezTo>
                    <a:pt x="67" y="33"/>
                    <a:pt x="0" y="133"/>
                    <a:pt x="67" y="200"/>
                  </a:cubicBezTo>
                  <a:cubicBezTo>
                    <a:pt x="133" y="334"/>
                    <a:pt x="234" y="500"/>
                    <a:pt x="300" y="634"/>
                  </a:cubicBezTo>
                  <a:cubicBezTo>
                    <a:pt x="467" y="867"/>
                    <a:pt x="600" y="1134"/>
                    <a:pt x="767" y="1368"/>
                  </a:cubicBezTo>
                  <a:cubicBezTo>
                    <a:pt x="1401" y="2468"/>
                    <a:pt x="2001" y="3603"/>
                    <a:pt x="2569" y="4703"/>
                  </a:cubicBezTo>
                  <a:cubicBezTo>
                    <a:pt x="2969" y="5504"/>
                    <a:pt x="3269" y="6305"/>
                    <a:pt x="3503" y="7105"/>
                  </a:cubicBezTo>
                  <a:cubicBezTo>
                    <a:pt x="3736" y="7005"/>
                    <a:pt x="3936" y="6938"/>
                    <a:pt x="4170" y="6838"/>
                  </a:cubicBezTo>
                  <a:cubicBezTo>
                    <a:pt x="4236" y="6838"/>
                    <a:pt x="4270" y="6805"/>
                    <a:pt x="4303" y="6805"/>
                  </a:cubicBezTo>
                  <a:cubicBezTo>
                    <a:pt x="3503" y="4470"/>
                    <a:pt x="2168" y="2268"/>
                    <a:pt x="667" y="467"/>
                  </a:cubicBezTo>
                  <a:cubicBezTo>
                    <a:pt x="567" y="334"/>
                    <a:pt x="434" y="167"/>
                    <a:pt x="300" y="33"/>
                  </a:cubicBezTo>
                  <a:cubicBezTo>
                    <a:pt x="267" y="0"/>
                    <a:pt x="167" y="0"/>
                    <a:pt x="13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1" name="Google Shape;7427;p120">
              <a:extLst>
                <a:ext uri="{FF2B5EF4-FFF2-40B4-BE49-F238E27FC236}">
                  <a16:creationId xmlns:a16="http://schemas.microsoft.com/office/drawing/2014/main" id="{4948F32F-4F6A-86C0-E8D2-2C1A9BA93501}"/>
                </a:ext>
              </a:extLst>
            </p:cNvPr>
            <p:cNvSpPr/>
            <p:nvPr/>
          </p:nvSpPr>
          <p:spPr>
            <a:xfrm>
              <a:off x="5345070" y="2227831"/>
              <a:ext cx="155625" cy="238475"/>
            </a:xfrm>
            <a:custGeom>
              <a:avLst/>
              <a:gdLst/>
              <a:ahLst/>
              <a:cxnLst/>
              <a:rect l="l" t="t" r="r" b="b"/>
              <a:pathLst>
                <a:path w="6225" h="9539" extrusionOk="0">
                  <a:moveTo>
                    <a:pt x="154" y="1"/>
                  </a:moveTo>
                  <a:cubicBezTo>
                    <a:pt x="72" y="1"/>
                    <a:pt x="1" y="127"/>
                    <a:pt x="53" y="232"/>
                  </a:cubicBezTo>
                  <a:cubicBezTo>
                    <a:pt x="187" y="298"/>
                    <a:pt x="287" y="432"/>
                    <a:pt x="387" y="532"/>
                  </a:cubicBezTo>
                  <a:cubicBezTo>
                    <a:pt x="2989" y="2900"/>
                    <a:pt x="4156" y="6269"/>
                    <a:pt x="5390" y="9538"/>
                  </a:cubicBezTo>
                  <a:cubicBezTo>
                    <a:pt x="5691" y="9405"/>
                    <a:pt x="5991" y="9271"/>
                    <a:pt x="6224" y="9205"/>
                  </a:cubicBezTo>
                  <a:cubicBezTo>
                    <a:pt x="5657" y="7737"/>
                    <a:pt x="4923" y="6336"/>
                    <a:pt x="4290" y="5035"/>
                  </a:cubicBezTo>
                  <a:cubicBezTo>
                    <a:pt x="3289" y="3067"/>
                    <a:pt x="2188" y="1332"/>
                    <a:pt x="320" y="98"/>
                  </a:cubicBezTo>
                  <a:cubicBezTo>
                    <a:pt x="253" y="65"/>
                    <a:pt x="220" y="65"/>
                    <a:pt x="220" y="32"/>
                  </a:cubicBezTo>
                  <a:cubicBezTo>
                    <a:pt x="199" y="10"/>
                    <a:pt x="176" y="1"/>
                    <a:pt x="15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2" name="Google Shape;7428;p120">
              <a:extLst>
                <a:ext uri="{FF2B5EF4-FFF2-40B4-BE49-F238E27FC236}">
                  <a16:creationId xmlns:a16="http://schemas.microsoft.com/office/drawing/2014/main" id="{07B75ED0-4F3F-B95C-CF2F-605D56E025FA}"/>
                </a:ext>
              </a:extLst>
            </p:cNvPr>
            <p:cNvSpPr/>
            <p:nvPr/>
          </p:nvSpPr>
          <p:spPr>
            <a:xfrm>
              <a:off x="4845195" y="2463781"/>
              <a:ext cx="138225" cy="39275"/>
            </a:xfrm>
            <a:custGeom>
              <a:avLst/>
              <a:gdLst/>
              <a:ahLst/>
              <a:cxnLst/>
              <a:rect l="l" t="t" r="r" b="b"/>
              <a:pathLst>
                <a:path w="5529" h="1571" extrusionOk="0">
                  <a:moveTo>
                    <a:pt x="134" y="0"/>
                  </a:moveTo>
                  <a:cubicBezTo>
                    <a:pt x="34" y="0"/>
                    <a:pt x="1" y="100"/>
                    <a:pt x="101" y="134"/>
                  </a:cubicBezTo>
                  <a:cubicBezTo>
                    <a:pt x="1769" y="801"/>
                    <a:pt x="3536" y="1268"/>
                    <a:pt x="5304" y="1568"/>
                  </a:cubicBezTo>
                  <a:cubicBezTo>
                    <a:pt x="5314" y="1570"/>
                    <a:pt x="5324" y="1571"/>
                    <a:pt x="5333" y="1571"/>
                  </a:cubicBezTo>
                  <a:cubicBezTo>
                    <a:pt x="5478" y="1571"/>
                    <a:pt x="5528" y="1333"/>
                    <a:pt x="5371" y="1301"/>
                  </a:cubicBezTo>
                  <a:cubicBezTo>
                    <a:pt x="3570" y="968"/>
                    <a:pt x="1869" y="434"/>
                    <a:pt x="13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3" name="Google Shape;7429;p120">
              <a:extLst>
                <a:ext uri="{FF2B5EF4-FFF2-40B4-BE49-F238E27FC236}">
                  <a16:creationId xmlns:a16="http://schemas.microsoft.com/office/drawing/2014/main" id="{9A3FE463-AD2A-1A16-C9DD-DD75BFB371C4}"/>
                </a:ext>
              </a:extLst>
            </p:cNvPr>
            <p:cNvSpPr/>
            <p:nvPr/>
          </p:nvSpPr>
          <p:spPr>
            <a:xfrm>
              <a:off x="5053945" y="2191781"/>
              <a:ext cx="246800" cy="77725"/>
            </a:xfrm>
            <a:custGeom>
              <a:avLst/>
              <a:gdLst/>
              <a:ahLst/>
              <a:cxnLst/>
              <a:rect l="l" t="t" r="r" b="b"/>
              <a:pathLst>
                <a:path w="9872" h="3109" extrusionOk="0">
                  <a:moveTo>
                    <a:pt x="110" y="1"/>
                  </a:moveTo>
                  <a:cubicBezTo>
                    <a:pt x="71" y="1"/>
                    <a:pt x="1" y="113"/>
                    <a:pt x="90" y="173"/>
                  </a:cubicBezTo>
                  <a:cubicBezTo>
                    <a:pt x="957" y="840"/>
                    <a:pt x="1925" y="1373"/>
                    <a:pt x="2825" y="1974"/>
                  </a:cubicBezTo>
                  <a:cubicBezTo>
                    <a:pt x="3426" y="2341"/>
                    <a:pt x="4293" y="3108"/>
                    <a:pt x="4993" y="3108"/>
                  </a:cubicBezTo>
                  <a:cubicBezTo>
                    <a:pt x="6495" y="3108"/>
                    <a:pt x="8596" y="1340"/>
                    <a:pt x="9764" y="540"/>
                  </a:cubicBezTo>
                  <a:cubicBezTo>
                    <a:pt x="9871" y="459"/>
                    <a:pt x="9805" y="269"/>
                    <a:pt x="9688" y="269"/>
                  </a:cubicBezTo>
                  <a:cubicBezTo>
                    <a:pt x="9660" y="269"/>
                    <a:pt x="9629" y="280"/>
                    <a:pt x="9597" y="306"/>
                  </a:cubicBezTo>
                  <a:cubicBezTo>
                    <a:pt x="8357" y="1132"/>
                    <a:pt x="6595" y="2550"/>
                    <a:pt x="4967" y="2550"/>
                  </a:cubicBezTo>
                  <a:cubicBezTo>
                    <a:pt x="4623" y="2550"/>
                    <a:pt x="4285" y="2486"/>
                    <a:pt x="3959" y="2341"/>
                  </a:cubicBezTo>
                  <a:cubicBezTo>
                    <a:pt x="2625" y="1774"/>
                    <a:pt x="1424" y="706"/>
                    <a:pt x="123" y="6"/>
                  </a:cubicBezTo>
                  <a:cubicBezTo>
                    <a:pt x="120" y="2"/>
                    <a:pt x="115" y="1"/>
                    <a:pt x="11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4" name="Google Shape;7430;p120">
              <a:extLst>
                <a:ext uri="{FF2B5EF4-FFF2-40B4-BE49-F238E27FC236}">
                  <a16:creationId xmlns:a16="http://schemas.microsoft.com/office/drawing/2014/main" id="{897F3453-2AA4-870A-C6BB-BAA71DF4186F}"/>
                </a:ext>
              </a:extLst>
            </p:cNvPr>
            <p:cNvSpPr/>
            <p:nvPr/>
          </p:nvSpPr>
          <p:spPr>
            <a:xfrm>
              <a:off x="5391120" y="2454506"/>
              <a:ext cx="116825" cy="48875"/>
            </a:xfrm>
            <a:custGeom>
              <a:avLst/>
              <a:gdLst/>
              <a:ahLst/>
              <a:cxnLst/>
              <a:rect l="l" t="t" r="r" b="b"/>
              <a:pathLst>
                <a:path w="4673" h="1955" extrusionOk="0">
                  <a:moveTo>
                    <a:pt x="4511" y="1"/>
                  </a:moveTo>
                  <a:cubicBezTo>
                    <a:pt x="4502" y="1"/>
                    <a:pt x="4492" y="2"/>
                    <a:pt x="4482" y="4"/>
                  </a:cubicBezTo>
                  <a:cubicBezTo>
                    <a:pt x="3648" y="271"/>
                    <a:pt x="2815" y="605"/>
                    <a:pt x="2014" y="938"/>
                  </a:cubicBezTo>
                  <a:cubicBezTo>
                    <a:pt x="1380" y="1172"/>
                    <a:pt x="680" y="1372"/>
                    <a:pt x="113" y="1772"/>
                  </a:cubicBezTo>
                  <a:cubicBezTo>
                    <a:pt x="1" y="1828"/>
                    <a:pt x="30" y="1955"/>
                    <a:pt x="120" y="1955"/>
                  </a:cubicBezTo>
                  <a:cubicBezTo>
                    <a:pt x="138" y="1955"/>
                    <a:pt x="158" y="1950"/>
                    <a:pt x="179" y="1939"/>
                  </a:cubicBezTo>
                  <a:cubicBezTo>
                    <a:pt x="1547" y="1205"/>
                    <a:pt x="3181" y="938"/>
                    <a:pt x="4549" y="271"/>
                  </a:cubicBezTo>
                  <a:cubicBezTo>
                    <a:pt x="4672" y="179"/>
                    <a:pt x="4625" y="1"/>
                    <a:pt x="451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5" name="Google Shape;7431;p120">
              <a:extLst>
                <a:ext uri="{FF2B5EF4-FFF2-40B4-BE49-F238E27FC236}">
                  <a16:creationId xmlns:a16="http://schemas.microsoft.com/office/drawing/2014/main" id="{FC02139F-75B0-26B8-6DF1-E50762817BAD}"/>
                </a:ext>
              </a:extLst>
            </p:cNvPr>
            <p:cNvSpPr/>
            <p:nvPr/>
          </p:nvSpPr>
          <p:spPr>
            <a:xfrm>
              <a:off x="4914420" y="3037456"/>
              <a:ext cx="511225" cy="16800"/>
            </a:xfrm>
            <a:custGeom>
              <a:avLst/>
              <a:gdLst/>
              <a:ahLst/>
              <a:cxnLst/>
              <a:rect l="l" t="t" r="r" b="b"/>
              <a:pathLst>
                <a:path w="20449" h="672" extrusionOk="0">
                  <a:moveTo>
                    <a:pt x="18669" y="0"/>
                  </a:moveTo>
                  <a:cubicBezTo>
                    <a:pt x="15719" y="0"/>
                    <a:pt x="12756" y="337"/>
                    <a:pt x="9841" y="337"/>
                  </a:cubicBezTo>
                  <a:cubicBezTo>
                    <a:pt x="7225" y="337"/>
                    <a:pt x="4632" y="123"/>
                    <a:pt x="2042" y="123"/>
                  </a:cubicBezTo>
                  <a:cubicBezTo>
                    <a:pt x="1395" y="123"/>
                    <a:pt x="747" y="136"/>
                    <a:pt x="100" y="170"/>
                  </a:cubicBezTo>
                  <a:cubicBezTo>
                    <a:pt x="0" y="203"/>
                    <a:pt x="0" y="370"/>
                    <a:pt x="100" y="370"/>
                  </a:cubicBezTo>
                  <a:cubicBezTo>
                    <a:pt x="2769" y="648"/>
                    <a:pt x="5507" y="671"/>
                    <a:pt x="8218" y="671"/>
                  </a:cubicBezTo>
                  <a:cubicBezTo>
                    <a:pt x="8760" y="671"/>
                    <a:pt x="9301" y="670"/>
                    <a:pt x="9841" y="670"/>
                  </a:cubicBezTo>
                  <a:cubicBezTo>
                    <a:pt x="12756" y="670"/>
                    <a:pt x="15719" y="334"/>
                    <a:pt x="18669" y="334"/>
                  </a:cubicBezTo>
                  <a:cubicBezTo>
                    <a:pt x="19196" y="334"/>
                    <a:pt x="19722" y="345"/>
                    <a:pt x="20248" y="370"/>
                  </a:cubicBezTo>
                  <a:cubicBezTo>
                    <a:pt x="20448" y="370"/>
                    <a:pt x="20448" y="36"/>
                    <a:pt x="20248" y="36"/>
                  </a:cubicBezTo>
                  <a:cubicBezTo>
                    <a:pt x="19722" y="11"/>
                    <a:pt x="19196" y="0"/>
                    <a:pt x="1866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" name="Google Shape;7432;p120">
              <a:extLst>
                <a:ext uri="{FF2B5EF4-FFF2-40B4-BE49-F238E27FC236}">
                  <a16:creationId xmlns:a16="http://schemas.microsoft.com/office/drawing/2014/main" id="{7EA7799A-1892-F0AC-10E1-5F427B91DED2}"/>
                </a:ext>
              </a:extLst>
            </p:cNvPr>
            <p:cNvSpPr/>
            <p:nvPr/>
          </p:nvSpPr>
          <p:spPr>
            <a:xfrm>
              <a:off x="5032045" y="1902331"/>
              <a:ext cx="127575" cy="98500"/>
            </a:xfrm>
            <a:custGeom>
              <a:avLst/>
              <a:gdLst/>
              <a:ahLst/>
              <a:cxnLst/>
              <a:rect l="l" t="t" r="r" b="b"/>
              <a:pathLst>
                <a:path w="5103" h="3940" extrusionOk="0">
                  <a:moveTo>
                    <a:pt x="3254" y="523"/>
                  </a:moveTo>
                  <a:cubicBezTo>
                    <a:pt x="3787" y="523"/>
                    <a:pt x="4308" y="625"/>
                    <a:pt x="4502" y="1110"/>
                  </a:cubicBezTo>
                  <a:cubicBezTo>
                    <a:pt x="4635" y="1410"/>
                    <a:pt x="4802" y="2511"/>
                    <a:pt x="4669" y="2744"/>
                  </a:cubicBezTo>
                  <a:cubicBezTo>
                    <a:pt x="4468" y="3211"/>
                    <a:pt x="3835" y="3511"/>
                    <a:pt x="3368" y="3511"/>
                  </a:cubicBezTo>
                  <a:lnTo>
                    <a:pt x="2567" y="3511"/>
                  </a:lnTo>
                  <a:cubicBezTo>
                    <a:pt x="2475" y="3511"/>
                    <a:pt x="2371" y="3513"/>
                    <a:pt x="2261" y="3513"/>
                  </a:cubicBezTo>
                  <a:cubicBezTo>
                    <a:pt x="1657" y="3513"/>
                    <a:pt x="858" y="3465"/>
                    <a:pt x="632" y="2844"/>
                  </a:cubicBezTo>
                  <a:cubicBezTo>
                    <a:pt x="460" y="2401"/>
                    <a:pt x="451" y="1830"/>
                    <a:pt x="458" y="1307"/>
                  </a:cubicBezTo>
                  <a:lnTo>
                    <a:pt x="458" y="1307"/>
                  </a:lnTo>
                  <a:cubicBezTo>
                    <a:pt x="461" y="1297"/>
                    <a:pt x="463" y="1286"/>
                    <a:pt x="466" y="1276"/>
                  </a:cubicBezTo>
                  <a:cubicBezTo>
                    <a:pt x="614" y="635"/>
                    <a:pt x="1108" y="577"/>
                    <a:pt x="1639" y="577"/>
                  </a:cubicBezTo>
                  <a:cubicBezTo>
                    <a:pt x="1755" y="577"/>
                    <a:pt x="1874" y="580"/>
                    <a:pt x="1990" y="580"/>
                  </a:cubicBezTo>
                  <a:cubicBezTo>
                    <a:pt x="2061" y="580"/>
                    <a:pt x="2131" y="579"/>
                    <a:pt x="2200" y="576"/>
                  </a:cubicBezTo>
                  <a:cubicBezTo>
                    <a:pt x="2479" y="576"/>
                    <a:pt x="2870" y="523"/>
                    <a:pt x="3254" y="523"/>
                  </a:cubicBezTo>
                  <a:close/>
                  <a:moveTo>
                    <a:pt x="3397" y="1"/>
                  </a:moveTo>
                  <a:cubicBezTo>
                    <a:pt x="2892" y="1"/>
                    <a:pt x="2367" y="92"/>
                    <a:pt x="2000" y="109"/>
                  </a:cubicBezTo>
                  <a:cubicBezTo>
                    <a:pt x="1333" y="176"/>
                    <a:pt x="366" y="42"/>
                    <a:pt x="165" y="843"/>
                  </a:cubicBezTo>
                  <a:cubicBezTo>
                    <a:pt x="36" y="1425"/>
                    <a:pt x="1" y="2762"/>
                    <a:pt x="395" y="3328"/>
                  </a:cubicBezTo>
                  <a:lnTo>
                    <a:pt x="395" y="3328"/>
                  </a:lnTo>
                  <a:cubicBezTo>
                    <a:pt x="441" y="3411"/>
                    <a:pt x="497" y="3484"/>
                    <a:pt x="566" y="3545"/>
                  </a:cubicBezTo>
                  <a:cubicBezTo>
                    <a:pt x="922" y="3863"/>
                    <a:pt x="1561" y="3940"/>
                    <a:pt x="2190" y="3940"/>
                  </a:cubicBezTo>
                  <a:cubicBezTo>
                    <a:pt x="2681" y="3940"/>
                    <a:pt x="3165" y="3893"/>
                    <a:pt x="3501" y="3878"/>
                  </a:cubicBezTo>
                  <a:cubicBezTo>
                    <a:pt x="4202" y="3845"/>
                    <a:pt x="4902" y="3745"/>
                    <a:pt x="5036" y="2944"/>
                  </a:cubicBezTo>
                  <a:cubicBezTo>
                    <a:pt x="5102" y="2411"/>
                    <a:pt x="5002" y="1710"/>
                    <a:pt x="4902" y="1210"/>
                  </a:cubicBezTo>
                  <a:cubicBezTo>
                    <a:pt x="4869" y="943"/>
                    <a:pt x="4835" y="676"/>
                    <a:pt x="4669" y="442"/>
                  </a:cubicBezTo>
                  <a:cubicBezTo>
                    <a:pt x="4385" y="92"/>
                    <a:pt x="3901" y="1"/>
                    <a:pt x="3397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" name="Google Shape;7433;p120">
              <a:extLst>
                <a:ext uri="{FF2B5EF4-FFF2-40B4-BE49-F238E27FC236}">
                  <a16:creationId xmlns:a16="http://schemas.microsoft.com/office/drawing/2014/main" id="{8A645DCA-268A-D89B-DEE1-67AA5BC6BA3E}"/>
                </a:ext>
              </a:extLst>
            </p:cNvPr>
            <p:cNvSpPr/>
            <p:nvPr/>
          </p:nvSpPr>
          <p:spPr>
            <a:xfrm>
              <a:off x="5178770" y="1904906"/>
              <a:ext cx="124275" cy="97875"/>
            </a:xfrm>
            <a:custGeom>
              <a:avLst/>
              <a:gdLst/>
              <a:ahLst/>
              <a:cxnLst/>
              <a:rect l="l" t="t" r="r" b="b"/>
              <a:pathLst>
                <a:path w="4971" h="3915" extrusionOk="0">
                  <a:moveTo>
                    <a:pt x="3053" y="483"/>
                  </a:moveTo>
                  <a:cubicBezTo>
                    <a:pt x="3602" y="483"/>
                    <a:pt x="4132" y="591"/>
                    <a:pt x="4337" y="1274"/>
                  </a:cubicBezTo>
                  <a:cubicBezTo>
                    <a:pt x="4404" y="1640"/>
                    <a:pt x="4504" y="2241"/>
                    <a:pt x="4470" y="2608"/>
                  </a:cubicBezTo>
                  <a:cubicBezTo>
                    <a:pt x="4395" y="3390"/>
                    <a:pt x="3690" y="3485"/>
                    <a:pt x="3062" y="3485"/>
                  </a:cubicBezTo>
                  <a:cubicBezTo>
                    <a:pt x="2859" y="3485"/>
                    <a:pt x="2665" y="3475"/>
                    <a:pt x="2502" y="3475"/>
                  </a:cubicBezTo>
                  <a:cubicBezTo>
                    <a:pt x="2436" y="3475"/>
                    <a:pt x="2367" y="3475"/>
                    <a:pt x="2298" y="3475"/>
                  </a:cubicBezTo>
                  <a:cubicBezTo>
                    <a:pt x="2015" y="3475"/>
                    <a:pt x="1716" y="3469"/>
                    <a:pt x="1439" y="3406"/>
                  </a:cubicBezTo>
                  <a:lnTo>
                    <a:pt x="1439" y="3406"/>
                  </a:lnTo>
                  <a:cubicBezTo>
                    <a:pt x="1334" y="3347"/>
                    <a:pt x="1218" y="3271"/>
                    <a:pt x="1068" y="3175"/>
                  </a:cubicBezTo>
                  <a:cubicBezTo>
                    <a:pt x="534" y="2775"/>
                    <a:pt x="534" y="2641"/>
                    <a:pt x="501" y="2007"/>
                  </a:cubicBezTo>
                  <a:cubicBezTo>
                    <a:pt x="501" y="1904"/>
                    <a:pt x="483" y="1722"/>
                    <a:pt x="475" y="1538"/>
                  </a:cubicBezTo>
                  <a:lnTo>
                    <a:pt x="475" y="1538"/>
                  </a:lnTo>
                  <a:cubicBezTo>
                    <a:pt x="479" y="1388"/>
                    <a:pt x="485" y="1245"/>
                    <a:pt x="491" y="1115"/>
                  </a:cubicBezTo>
                  <a:lnTo>
                    <a:pt x="491" y="1115"/>
                  </a:lnTo>
                  <a:cubicBezTo>
                    <a:pt x="494" y="1101"/>
                    <a:pt x="497" y="1087"/>
                    <a:pt x="501" y="1073"/>
                  </a:cubicBezTo>
                  <a:cubicBezTo>
                    <a:pt x="684" y="569"/>
                    <a:pt x="1183" y="490"/>
                    <a:pt x="1672" y="490"/>
                  </a:cubicBezTo>
                  <a:cubicBezTo>
                    <a:pt x="1894" y="490"/>
                    <a:pt x="2114" y="506"/>
                    <a:pt x="2302" y="506"/>
                  </a:cubicBezTo>
                  <a:cubicBezTo>
                    <a:pt x="2536" y="506"/>
                    <a:pt x="2796" y="483"/>
                    <a:pt x="3053" y="483"/>
                  </a:cubicBezTo>
                  <a:close/>
                  <a:moveTo>
                    <a:pt x="3206" y="0"/>
                  </a:moveTo>
                  <a:cubicBezTo>
                    <a:pt x="2749" y="0"/>
                    <a:pt x="2277" y="75"/>
                    <a:pt x="1935" y="106"/>
                  </a:cubicBezTo>
                  <a:cubicBezTo>
                    <a:pt x="1268" y="139"/>
                    <a:pt x="367" y="6"/>
                    <a:pt x="167" y="807"/>
                  </a:cubicBezTo>
                  <a:cubicBezTo>
                    <a:pt x="0" y="1440"/>
                    <a:pt x="0" y="2808"/>
                    <a:pt x="434" y="3342"/>
                  </a:cubicBezTo>
                  <a:cubicBezTo>
                    <a:pt x="517" y="3452"/>
                    <a:pt x="623" y="3539"/>
                    <a:pt x="745" y="3607"/>
                  </a:cubicBezTo>
                  <a:lnTo>
                    <a:pt x="745" y="3607"/>
                  </a:lnTo>
                  <a:cubicBezTo>
                    <a:pt x="1068" y="3851"/>
                    <a:pt x="1579" y="3914"/>
                    <a:pt x="2096" y="3914"/>
                  </a:cubicBezTo>
                  <a:cubicBezTo>
                    <a:pt x="2587" y="3914"/>
                    <a:pt x="3085" y="3857"/>
                    <a:pt x="3436" y="3842"/>
                  </a:cubicBezTo>
                  <a:cubicBezTo>
                    <a:pt x="4137" y="3809"/>
                    <a:pt x="4804" y="3709"/>
                    <a:pt x="4871" y="2875"/>
                  </a:cubicBezTo>
                  <a:cubicBezTo>
                    <a:pt x="4971" y="2274"/>
                    <a:pt x="4937" y="1007"/>
                    <a:pt x="4504" y="473"/>
                  </a:cubicBezTo>
                  <a:cubicBezTo>
                    <a:pt x="4236" y="99"/>
                    <a:pt x="3731" y="0"/>
                    <a:pt x="3206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" name="Google Shape;7434;p120">
              <a:extLst>
                <a:ext uri="{FF2B5EF4-FFF2-40B4-BE49-F238E27FC236}">
                  <a16:creationId xmlns:a16="http://schemas.microsoft.com/office/drawing/2014/main" id="{904F9D41-62AB-5A96-9F8A-107C989E4873}"/>
                </a:ext>
              </a:extLst>
            </p:cNvPr>
            <p:cNvSpPr/>
            <p:nvPr/>
          </p:nvSpPr>
          <p:spPr>
            <a:xfrm>
              <a:off x="5162645" y="1921506"/>
              <a:ext cx="42825" cy="98000"/>
            </a:xfrm>
            <a:custGeom>
              <a:avLst/>
              <a:gdLst/>
              <a:ahLst/>
              <a:cxnLst/>
              <a:rect l="l" t="t" r="r" b="b"/>
              <a:pathLst>
                <a:path w="1713" h="3920" extrusionOk="0">
                  <a:moveTo>
                    <a:pt x="666" y="1"/>
                  </a:moveTo>
                  <a:cubicBezTo>
                    <a:pt x="637" y="1"/>
                    <a:pt x="595" y="26"/>
                    <a:pt x="579" y="76"/>
                  </a:cubicBezTo>
                  <a:cubicBezTo>
                    <a:pt x="330" y="1041"/>
                    <a:pt x="488" y="2268"/>
                    <a:pt x="1297" y="2970"/>
                  </a:cubicBezTo>
                  <a:lnTo>
                    <a:pt x="1297" y="2970"/>
                  </a:lnTo>
                  <a:cubicBezTo>
                    <a:pt x="971" y="3223"/>
                    <a:pt x="621" y="3367"/>
                    <a:pt x="245" y="3512"/>
                  </a:cubicBezTo>
                  <a:cubicBezTo>
                    <a:pt x="0" y="3603"/>
                    <a:pt x="92" y="3920"/>
                    <a:pt x="264" y="3920"/>
                  </a:cubicBezTo>
                  <a:cubicBezTo>
                    <a:pt x="279" y="3920"/>
                    <a:pt x="295" y="3917"/>
                    <a:pt x="312" y="3912"/>
                  </a:cubicBezTo>
                  <a:cubicBezTo>
                    <a:pt x="812" y="3678"/>
                    <a:pt x="1246" y="3445"/>
                    <a:pt x="1646" y="3078"/>
                  </a:cubicBezTo>
                  <a:cubicBezTo>
                    <a:pt x="1713" y="2978"/>
                    <a:pt x="1680" y="2844"/>
                    <a:pt x="1613" y="2811"/>
                  </a:cubicBezTo>
                  <a:cubicBezTo>
                    <a:pt x="712" y="2177"/>
                    <a:pt x="712" y="1010"/>
                    <a:pt x="679" y="76"/>
                  </a:cubicBezTo>
                  <a:cubicBezTo>
                    <a:pt x="712" y="26"/>
                    <a:pt x="696" y="1"/>
                    <a:pt x="66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" name="Google Shape;7435;p120">
              <a:extLst>
                <a:ext uri="{FF2B5EF4-FFF2-40B4-BE49-F238E27FC236}">
                  <a16:creationId xmlns:a16="http://schemas.microsoft.com/office/drawing/2014/main" id="{1DA009EC-D2F0-E9CF-F05C-34A4D921BB12}"/>
                </a:ext>
              </a:extLst>
            </p:cNvPr>
            <p:cNvSpPr/>
            <p:nvPr/>
          </p:nvSpPr>
          <p:spPr>
            <a:xfrm>
              <a:off x="5135395" y="1910131"/>
              <a:ext cx="64250" cy="15000"/>
            </a:xfrm>
            <a:custGeom>
              <a:avLst/>
              <a:gdLst/>
              <a:ahLst/>
              <a:cxnLst/>
              <a:rect l="l" t="t" r="r" b="b"/>
              <a:pathLst>
                <a:path w="2570" h="600" extrusionOk="0">
                  <a:moveTo>
                    <a:pt x="859" y="0"/>
                  </a:moveTo>
                  <a:cubicBezTo>
                    <a:pt x="591" y="0"/>
                    <a:pt x="330" y="25"/>
                    <a:pt x="101" y="97"/>
                  </a:cubicBezTo>
                  <a:cubicBezTo>
                    <a:pt x="1" y="197"/>
                    <a:pt x="1" y="364"/>
                    <a:pt x="101" y="397"/>
                  </a:cubicBezTo>
                  <a:cubicBezTo>
                    <a:pt x="401" y="531"/>
                    <a:pt x="768" y="531"/>
                    <a:pt x="1102" y="531"/>
                  </a:cubicBezTo>
                  <a:cubicBezTo>
                    <a:pt x="1502" y="564"/>
                    <a:pt x="1869" y="564"/>
                    <a:pt x="2236" y="598"/>
                  </a:cubicBezTo>
                  <a:cubicBezTo>
                    <a:pt x="2247" y="599"/>
                    <a:pt x="2257" y="599"/>
                    <a:pt x="2267" y="599"/>
                  </a:cubicBezTo>
                  <a:cubicBezTo>
                    <a:pt x="2569" y="599"/>
                    <a:pt x="2559" y="129"/>
                    <a:pt x="2236" y="97"/>
                  </a:cubicBezTo>
                  <a:cubicBezTo>
                    <a:pt x="1832" y="76"/>
                    <a:pt x="1332" y="0"/>
                    <a:pt x="859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" name="Google Shape;7436;p120">
              <a:extLst>
                <a:ext uri="{FF2B5EF4-FFF2-40B4-BE49-F238E27FC236}">
                  <a16:creationId xmlns:a16="http://schemas.microsoft.com/office/drawing/2014/main" id="{B78D38C9-AEDC-8B80-F04A-D0BBD8BD1249}"/>
                </a:ext>
              </a:extLst>
            </p:cNvPr>
            <p:cNvSpPr/>
            <p:nvPr/>
          </p:nvSpPr>
          <p:spPr>
            <a:xfrm>
              <a:off x="5013270" y="1915781"/>
              <a:ext cx="37100" cy="23075"/>
            </a:xfrm>
            <a:custGeom>
              <a:avLst/>
              <a:gdLst/>
              <a:ahLst/>
              <a:cxnLst/>
              <a:rect l="l" t="t" r="r" b="b"/>
              <a:pathLst>
                <a:path w="1484" h="923" extrusionOk="0">
                  <a:moveTo>
                    <a:pt x="1314" y="0"/>
                  </a:moveTo>
                  <a:cubicBezTo>
                    <a:pt x="1081" y="0"/>
                    <a:pt x="899" y="147"/>
                    <a:pt x="716" y="238"/>
                  </a:cubicBezTo>
                  <a:cubicBezTo>
                    <a:pt x="483" y="372"/>
                    <a:pt x="249" y="505"/>
                    <a:pt x="82" y="705"/>
                  </a:cubicBezTo>
                  <a:cubicBezTo>
                    <a:pt x="1" y="814"/>
                    <a:pt x="75" y="923"/>
                    <a:pt x="159" y="923"/>
                  </a:cubicBezTo>
                  <a:cubicBezTo>
                    <a:pt x="178" y="923"/>
                    <a:pt x="198" y="917"/>
                    <a:pt x="216" y="905"/>
                  </a:cubicBezTo>
                  <a:cubicBezTo>
                    <a:pt x="449" y="839"/>
                    <a:pt x="616" y="672"/>
                    <a:pt x="883" y="538"/>
                  </a:cubicBezTo>
                  <a:cubicBezTo>
                    <a:pt x="1083" y="405"/>
                    <a:pt x="1317" y="338"/>
                    <a:pt x="1450" y="171"/>
                  </a:cubicBezTo>
                  <a:cubicBezTo>
                    <a:pt x="1483" y="138"/>
                    <a:pt x="1450" y="5"/>
                    <a:pt x="1383" y="5"/>
                  </a:cubicBezTo>
                  <a:cubicBezTo>
                    <a:pt x="1360" y="2"/>
                    <a:pt x="1337" y="0"/>
                    <a:pt x="1314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" name="Google Shape;7437;p120">
              <a:extLst>
                <a:ext uri="{FF2B5EF4-FFF2-40B4-BE49-F238E27FC236}">
                  <a16:creationId xmlns:a16="http://schemas.microsoft.com/office/drawing/2014/main" id="{D1923FB0-4AC3-2A25-19CB-E9ADC1E6F305}"/>
                </a:ext>
              </a:extLst>
            </p:cNvPr>
            <p:cNvSpPr/>
            <p:nvPr/>
          </p:nvSpPr>
          <p:spPr>
            <a:xfrm>
              <a:off x="5285520" y="1916706"/>
              <a:ext cx="26750" cy="21775"/>
            </a:xfrm>
            <a:custGeom>
              <a:avLst/>
              <a:gdLst/>
              <a:ahLst/>
              <a:cxnLst/>
              <a:rect l="l" t="t" r="r" b="b"/>
              <a:pathLst>
                <a:path w="1070" h="871" extrusionOk="0">
                  <a:moveTo>
                    <a:pt x="167" y="1"/>
                  </a:moveTo>
                  <a:cubicBezTo>
                    <a:pt x="100" y="1"/>
                    <a:pt x="0" y="101"/>
                    <a:pt x="34" y="168"/>
                  </a:cubicBezTo>
                  <a:cubicBezTo>
                    <a:pt x="200" y="401"/>
                    <a:pt x="501" y="668"/>
                    <a:pt x="734" y="835"/>
                  </a:cubicBezTo>
                  <a:cubicBezTo>
                    <a:pt x="766" y="860"/>
                    <a:pt x="798" y="871"/>
                    <a:pt x="829" y="871"/>
                  </a:cubicBezTo>
                  <a:cubicBezTo>
                    <a:pt x="963" y="871"/>
                    <a:pt x="1069" y="670"/>
                    <a:pt x="934" y="535"/>
                  </a:cubicBezTo>
                  <a:cubicBezTo>
                    <a:pt x="701" y="335"/>
                    <a:pt x="434" y="134"/>
                    <a:pt x="167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" name="Google Shape;7438;p120">
              <a:extLst>
                <a:ext uri="{FF2B5EF4-FFF2-40B4-BE49-F238E27FC236}">
                  <a16:creationId xmlns:a16="http://schemas.microsoft.com/office/drawing/2014/main" id="{69B09101-927F-E067-1140-3591AC3A743D}"/>
                </a:ext>
              </a:extLst>
            </p:cNvPr>
            <p:cNvSpPr/>
            <p:nvPr/>
          </p:nvSpPr>
          <p:spPr>
            <a:xfrm>
              <a:off x="5311370" y="2186756"/>
              <a:ext cx="30050" cy="65125"/>
            </a:xfrm>
            <a:custGeom>
              <a:avLst/>
              <a:gdLst/>
              <a:ahLst/>
              <a:cxnLst/>
              <a:rect l="l" t="t" r="r" b="b"/>
              <a:pathLst>
                <a:path w="1202" h="2605" extrusionOk="0">
                  <a:moveTo>
                    <a:pt x="727" y="0"/>
                  </a:moveTo>
                  <a:cubicBezTo>
                    <a:pt x="470" y="0"/>
                    <a:pt x="187" y="170"/>
                    <a:pt x="134" y="474"/>
                  </a:cubicBezTo>
                  <a:cubicBezTo>
                    <a:pt x="0" y="1074"/>
                    <a:pt x="0" y="1875"/>
                    <a:pt x="167" y="2475"/>
                  </a:cubicBezTo>
                  <a:cubicBezTo>
                    <a:pt x="185" y="2563"/>
                    <a:pt x="277" y="2605"/>
                    <a:pt x="379" y="2605"/>
                  </a:cubicBezTo>
                  <a:cubicBezTo>
                    <a:pt x="471" y="2605"/>
                    <a:pt x="571" y="2571"/>
                    <a:pt x="634" y="2508"/>
                  </a:cubicBezTo>
                  <a:cubicBezTo>
                    <a:pt x="1034" y="1941"/>
                    <a:pt x="1201" y="1074"/>
                    <a:pt x="1168" y="407"/>
                  </a:cubicBezTo>
                  <a:cubicBezTo>
                    <a:pt x="1152" y="128"/>
                    <a:pt x="950" y="0"/>
                    <a:pt x="727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" name="Google Shape;7439;p120">
              <a:extLst>
                <a:ext uri="{FF2B5EF4-FFF2-40B4-BE49-F238E27FC236}">
                  <a16:creationId xmlns:a16="http://schemas.microsoft.com/office/drawing/2014/main" id="{02A7F8E0-7D9E-86E3-2E7B-E82134E11A10}"/>
                </a:ext>
              </a:extLst>
            </p:cNvPr>
            <p:cNvSpPr/>
            <p:nvPr/>
          </p:nvSpPr>
          <p:spPr>
            <a:xfrm>
              <a:off x="5328870" y="2192031"/>
              <a:ext cx="34225" cy="72025"/>
            </a:xfrm>
            <a:custGeom>
              <a:avLst/>
              <a:gdLst/>
              <a:ahLst/>
              <a:cxnLst/>
              <a:rect l="l" t="t" r="r" b="b"/>
              <a:pathLst>
                <a:path w="1369" h="2881" extrusionOk="0">
                  <a:moveTo>
                    <a:pt x="951" y="0"/>
                  </a:moveTo>
                  <a:cubicBezTo>
                    <a:pt x="848" y="0"/>
                    <a:pt x="744" y="41"/>
                    <a:pt x="668" y="129"/>
                  </a:cubicBezTo>
                  <a:cubicBezTo>
                    <a:pt x="368" y="496"/>
                    <a:pt x="334" y="1097"/>
                    <a:pt x="201" y="1530"/>
                  </a:cubicBezTo>
                  <a:cubicBezTo>
                    <a:pt x="134" y="1964"/>
                    <a:pt x="1" y="2364"/>
                    <a:pt x="168" y="2764"/>
                  </a:cubicBezTo>
                  <a:cubicBezTo>
                    <a:pt x="233" y="2830"/>
                    <a:pt x="298" y="2881"/>
                    <a:pt x="363" y="2881"/>
                  </a:cubicBezTo>
                  <a:cubicBezTo>
                    <a:pt x="398" y="2881"/>
                    <a:pt x="433" y="2866"/>
                    <a:pt x="468" y="2831"/>
                  </a:cubicBezTo>
                  <a:cubicBezTo>
                    <a:pt x="835" y="2598"/>
                    <a:pt x="935" y="2097"/>
                    <a:pt x="1035" y="1664"/>
                  </a:cubicBezTo>
                  <a:cubicBezTo>
                    <a:pt x="1168" y="1197"/>
                    <a:pt x="1368" y="763"/>
                    <a:pt x="1302" y="296"/>
                  </a:cubicBezTo>
                  <a:cubicBezTo>
                    <a:pt x="1281" y="109"/>
                    <a:pt x="1119" y="0"/>
                    <a:pt x="951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" name="Google Shape;7440;p120">
              <a:extLst>
                <a:ext uri="{FF2B5EF4-FFF2-40B4-BE49-F238E27FC236}">
                  <a16:creationId xmlns:a16="http://schemas.microsoft.com/office/drawing/2014/main" id="{2FD6497C-A426-3978-5FF4-D7DC98D24975}"/>
                </a:ext>
              </a:extLst>
            </p:cNvPr>
            <p:cNvSpPr/>
            <p:nvPr/>
          </p:nvSpPr>
          <p:spPr>
            <a:xfrm>
              <a:off x="5345770" y="2200106"/>
              <a:ext cx="37275" cy="62825"/>
            </a:xfrm>
            <a:custGeom>
              <a:avLst/>
              <a:gdLst/>
              <a:ahLst/>
              <a:cxnLst/>
              <a:rect l="l" t="t" r="r" b="b"/>
              <a:pathLst>
                <a:path w="1491" h="2513" extrusionOk="0">
                  <a:moveTo>
                    <a:pt x="1070" y="0"/>
                  </a:moveTo>
                  <a:cubicBezTo>
                    <a:pt x="951" y="0"/>
                    <a:pt x="831" y="62"/>
                    <a:pt x="759" y="207"/>
                  </a:cubicBezTo>
                  <a:cubicBezTo>
                    <a:pt x="492" y="807"/>
                    <a:pt x="25" y="1507"/>
                    <a:pt x="25" y="2175"/>
                  </a:cubicBezTo>
                  <a:cubicBezTo>
                    <a:pt x="0" y="2325"/>
                    <a:pt x="182" y="2512"/>
                    <a:pt x="358" y="2512"/>
                  </a:cubicBezTo>
                  <a:cubicBezTo>
                    <a:pt x="417" y="2512"/>
                    <a:pt x="476" y="2491"/>
                    <a:pt x="526" y="2441"/>
                  </a:cubicBezTo>
                  <a:cubicBezTo>
                    <a:pt x="1026" y="1941"/>
                    <a:pt x="1259" y="1107"/>
                    <a:pt x="1426" y="473"/>
                  </a:cubicBezTo>
                  <a:cubicBezTo>
                    <a:pt x="1490" y="196"/>
                    <a:pt x="1281" y="0"/>
                    <a:pt x="10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" name="Google Shape;7441;p120">
              <a:extLst>
                <a:ext uri="{FF2B5EF4-FFF2-40B4-BE49-F238E27FC236}">
                  <a16:creationId xmlns:a16="http://schemas.microsoft.com/office/drawing/2014/main" id="{8DCB336D-2FD5-C292-C17C-B8944E896EAD}"/>
                </a:ext>
              </a:extLst>
            </p:cNvPr>
            <p:cNvSpPr/>
            <p:nvPr/>
          </p:nvSpPr>
          <p:spPr>
            <a:xfrm>
              <a:off x="5362245" y="2210331"/>
              <a:ext cx="30575" cy="47700"/>
            </a:xfrm>
            <a:custGeom>
              <a:avLst/>
              <a:gdLst/>
              <a:ahLst/>
              <a:cxnLst/>
              <a:rect l="l" t="t" r="r" b="b"/>
              <a:pathLst>
                <a:path w="1223" h="1908" extrusionOk="0">
                  <a:moveTo>
                    <a:pt x="808" y="0"/>
                  </a:moveTo>
                  <a:cubicBezTo>
                    <a:pt x="704" y="0"/>
                    <a:pt x="602" y="41"/>
                    <a:pt x="534" y="131"/>
                  </a:cubicBezTo>
                  <a:cubicBezTo>
                    <a:pt x="334" y="398"/>
                    <a:pt x="234" y="698"/>
                    <a:pt x="167" y="965"/>
                  </a:cubicBezTo>
                  <a:cubicBezTo>
                    <a:pt x="67" y="1232"/>
                    <a:pt x="0" y="1532"/>
                    <a:pt x="133" y="1766"/>
                  </a:cubicBezTo>
                  <a:cubicBezTo>
                    <a:pt x="161" y="1848"/>
                    <a:pt x="256" y="1908"/>
                    <a:pt x="345" y="1908"/>
                  </a:cubicBezTo>
                  <a:cubicBezTo>
                    <a:pt x="364" y="1908"/>
                    <a:pt x="383" y="1905"/>
                    <a:pt x="400" y="1899"/>
                  </a:cubicBezTo>
                  <a:cubicBezTo>
                    <a:pt x="667" y="1766"/>
                    <a:pt x="801" y="1532"/>
                    <a:pt x="901" y="1265"/>
                  </a:cubicBezTo>
                  <a:cubicBezTo>
                    <a:pt x="1034" y="965"/>
                    <a:pt x="1168" y="698"/>
                    <a:pt x="1201" y="398"/>
                  </a:cubicBezTo>
                  <a:cubicBezTo>
                    <a:pt x="1223" y="155"/>
                    <a:pt x="1012" y="0"/>
                    <a:pt x="808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" name="Google Shape;7442;p120">
              <a:extLst>
                <a:ext uri="{FF2B5EF4-FFF2-40B4-BE49-F238E27FC236}">
                  <a16:creationId xmlns:a16="http://schemas.microsoft.com/office/drawing/2014/main" id="{DF31EB02-BA8F-957A-3915-D5DD5F715473}"/>
                </a:ext>
              </a:extLst>
            </p:cNvPr>
            <p:cNvSpPr/>
            <p:nvPr/>
          </p:nvSpPr>
          <p:spPr>
            <a:xfrm>
              <a:off x="4777645" y="2602156"/>
              <a:ext cx="64800" cy="47600"/>
            </a:xfrm>
            <a:custGeom>
              <a:avLst/>
              <a:gdLst/>
              <a:ahLst/>
              <a:cxnLst/>
              <a:rect l="l" t="t" r="r" b="b"/>
              <a:pathLst>
                <a:path w="2592" h="1904" extrusionOk="0">
                  <a:moveTo>
                    <a:pt x="1778" y="1"/>
                  </a:moveTo>
                  <a:cubicBezTo>
                    <a:pt x="1686" y="1"/>
                    <a:pt x="1591" y="22"/>
                    <a:pt x="1502" y="69"/>
                  </a:cubicBezTo>
                  <a:cubicBezTo>
                    <a:pt x="935" y="403"/>
                    <a:pt x="368" y="937"/>
                    <a:pt x="67" y="1470"/>
                  </a:cubicBezTo>
                  <a:cubicBezTo>
                    <a:pt x="1" y="1704"/>
                    <a:pt x="201" y="1904"/>
                    <a:pt x="368" y="1904"/>
                  </a:cubicBezTo>
                  <a:cubicBezTo>
                    <a:pt x="1068" y="1804"/>
                    <a:pt x="1802" y="1303"/>
                    <a:pt x="2236" y="803"/>
                  </a:cubicBezTo>
                  <a:cubicBezTo>
                    <a:pt x="2592" y="447"/>
                    <a:pt x="2205" y="1"/>
                    <a:pt x="177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7" name="Google Shape;7443;p120">
              <a:extLst>
                <a:ext uri="{FF2B5EF4-FFF2-40B4-BE49-F238E27FC236}">
                  <a16:creationId xmlns:a16="http://schemas.microsoft.com/office/drawing/2014/main" id="{55E90F46-2B8E-B468-6A41-79B76BBD5C88}"/>
                </a:ext>
              </a:extLst>
            </p:cNvPr>
            <p:cNvSpPr/>
            <p:nvPr/>
          </p:nvSpPr>
          <p:spPr>
            <a:xfrm>
              <a:off x="4781820" y="2627156"/>
              <a:ext cx="69875" cy="42925"/>
            </a:xfrm>
            <a:custGeom>
              <a:avLst/>
              <a:gdLst/>
              <a:ahLst/>
              <a:cxnLst/>
              <a:rect l="l" t="t" r="r" b="b"/>
              <a:pathLst>
                <a:path w="2795" h="1717" extrusionOk="0">
                  <a:moveTo>
                    <a:pt x="2348" y="1"/>
                  </a:moveTo>
                  <a:cubicBezTo>
                    <a:pt x="2333" y="1"/>
                    <a:pt x="2318" y="2"/>
                    <a:pt x="2302" y="3"/>
                  </a:cubicBezTo>
                  <a:cubicBezTo>
                    <a:pt x="1835" y="70"/>
                    <a:pt x="1335" y="437"/>
                    <a:pt x="968" y="637"/>
                  </a:cubicBezTo>
                  <a:cubicBezTo>
                    <a:pt x="568" y="837"/>
                    <a:pt x="201" y="1071"/>
                    <a:pt x="34" y="1471"/>
                  </a:cubicBezTo>
                  <a:cubicBezTo>
                    <a:pt x="0" y="1571"/>
                    <a:pt x="67" y="1638"/>
                    <a:pt x="201" y="1704"/>
                  </a:cubicBezTo>
                  <a:cubicBezTo>
                    <a:pt x="256" y="1712"/>
                    <a:pt x="310" y="1716"/>
                    <a:pt x="363" y="1716"/>
                  </a:cubicBezTo>
                  <a:cubicBezTo>
                    <a:pt x="762" y="1716"/>
                    <a:pt x="1115" y="1510"/>
                    <a:pt x="1468" y="1304"/>
                  </a:cubicBezTo>
                  <a:cubicBezTo>
                    <a:pt x="1868" y="1104"/>
                    <a:pt x="2369" y="937"/>
                    <a:pt x="2636" y="570"/>
                  </a:cubicBezTo>
                  <a:cubicBezTo>
                    <a:pt x="2795" y="316"/>
                    <a:pt x="2651" y="1"/>
                    <a:pt x="2348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8" name="Google Shape;7444;p120">
              <a:extLst>
                <a:ext uri="{FF2B5EF4-FFF2-40B4-BE49-F238E27FC236}">
                  <a16:creationId xmlns:a16="http://schemas.microsoft.com/office/drawing/2014/main" id="{98088971-8E4C-F736-100E-9A7FFAD34226}"/>
                </a:ext>
              </a:extLst>
            </p:cNvPr>
            <p:cNvSpPr/>
            <p:nvPr/>
          </p:nvSpPr>
          <p:spPr>
            <a:xfrm>
              <a:off x="4793495" y="2645931"/>
              <a:ext cx="66675" cy="34700"/>
            </a:xfrm>
            <a:custGeom>
              <a:avLst/>
              <a:gdLst/>
              <a:ahLst/>
              <a:cxnLst/>
              <a:rect l="l" t="t" r="r" b="b"/>
              <a:pathLst>
                <a:path w="2667" h="1388" extrusionOk="0">
                  <a:moveTo>
                    <a:pt x="2190" y="0"/>
                  </a:moveTo>
                  <a:cubicBezTo>
                    <a:pt x="2152" y="0"/>
                    <a:pt x="2111" y="6"/>
                    <a:pt x="2069" y="19"/>
                  </a:cubicBezTo>
                  <a:cubicBezTo>
                    <a:pt x="1435" y="220"/>
                    <a:pt x="668" y="386"/>
                    <a:pt x="167" y="853"/>
                  </a:cubicBezTo>
                  <a:cubicBezTo>
                    <a:pt x="0" y="987"/>
                    <a:pt x="0" y="1387"/>
                    <a:pt x="267" y="1387"/>
                  </a:cubicBezTo>
                  <a:cubicBezTo>
                    <a:pt x="1001" y="1387"/>
                    <a:pt x="1702" y="987"/>
                    <a:pt x="2335" y="687"/>
                  </a:cubicBezTo>
                  <a:cubicBezTo>
                    <a:pt x="2666" y="506"/>
                    <a:pt x="2536" y="0"/>
                    <a:pt x="2190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9" name="Google Shape;7445;p120">
              <a:extLst>
                <a:ext uri="{FF2B5EF4-FFF2-40B4-BE49-F238E27FC236}">
                  <a16:creationId xmlns:a16="http://schemas.microsoft.com/office/drawing/2014/main" id="{67B7471C-CE71-9190-700C-C57C79CD08EB}"/>
                </a:ext>
              </a:extLst>
            </p:cNvPr>
            <p:cNvSpPr/>
            <p:nvPr/>
          </p:nvSpPr>
          <p:spPr>
            <a:xfrm>
              <a:off x="4808495" y="2661256"/>
              <a:ext cx="52100" cy="28525"/>
            </a:xfrm>
            <a:custGeom>
              <a:avLst/>
              <a:gdLst/>
              <a:ahLst/>
              <a:cxnLst/>
              <a:rect l="l" t="t" r="r" b="b"/>
              <a:pathLst>
                <a:path w="2084" h="1141" extrusionOk="0">
                  <a:moveTo>
                    <a:pt x="1629" y="1"/>
                  </a:moveTo>
                  <a:cubicBezTo>
                    <a:pt x="1609" y="1"/>
                    <a:pt x="1589" y="3"/>
                    <a:pt x="1569" y="7"/>
                  </a:cubicBezTo>
                  <a:cubicBezTo>
                    <a:pt x="1235" y="40"/>
                    <a:pt x="968" y="174"/>
                    <a:pt x="668" y="274"/>
                  </a:cubicBezTo>
                  <a:cubicBezTo>
                    <a:pt x="435" y="407"/>
                    <a:pt x="168" y="541"/>
                    <a:pt x="101" y="774"/>
                  </a:cubicBezTo>
                  <a:cubicBezTo>
                    <a:pt x="1" y="908"/>
                    <a:pt x="68" y="1041"/>
                    <a:pt x="168" y="1074"/>
                  </a:cubicBezTo>
                  <a:cubicBezTo>
                    <a:pt x="264" y="1122"/>
                    <a:pt x="364" y="1140"/>
                    <a:pt x="464" y="1140"/>
                  </a:cubicBezTo>
                  <a:cubicBezTo>
                    <a:pt x="642" y="1140"/>
                    <a:pt x="819" y="1084"/>
                    <a:pt x="968" y="1041"/>
                  </a:cubicBezTo>
                  <a:cubicBezTo>
                    <a:pt x="1268" y="941"/>
                    <a:pt x="1569" y="841"/>
                    <a:pt x="1802" y="674"/>
                  </a:cubicBezTo>
                  <a:cubicBezTo>
                    <a:pt x="2084" y="455"/>
                    <a:pt x="1925" y="1"/>
                    <a:pt x="1629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0" name="Google Shape;7446;p120">
              <a:extLst>
                <a:ext uri="{FF2B5EF4-FFF2-40B4-BE49-F238E27FC236}">
                  <a16:creationId xmlns:a16="http://schemas.microsoft.com/office/drawing/2014/main" id="{CB9D5039-C8AD-4F50-7912-2BD490FA334C}"/>
                </a:ext>
              </a:extLst>
            </p:cNvPr>
            <p:cNvSpPr/>
            <p:nvPr/>
          </p:nvSpPr>
          <p:spPr>
            <a:xfrm>
              <a:off x="3901145" y="2216931"/>
              <a:ext cx="43425" cy="60225"/>
            </a:xfrm>
            <a:custGeom>
              <a:avLst/>
              <a:gdLst/>
              <a:ahLst/>
              <a:cxnLst/>
              <a:rect l="l" t="t" r="r" b="b"/>
              <a:pathLst>
                <a:path w="1737" h="2409" extrusionOk="0">
                  <a:moveTo>
                    <a:pt x="591" y="0"/>
                  </a:moveTo>
                  <a:cubicBezTo>
                    <a:pt x="285" y="0"/>
                    <a:pt x="0" y="213"/>
                    <a:pt x="102" y="601"/>
                  </a:cubicBezTo>
                  <a:cubicBezTo>
                    <a:pt x="336" y="1201"/>
                    <a:pt x="736" y="2002"/>
                    <a:pt x="1337" y="2369"/>
                  </a:cubicBezTo>
                  <a:cubicBezTo>
                    <a:pt x="1381" y="2396"/>
                    <a:pt x="1431" y="2408"/>
                    <a:pt x="1479" y="2408"/>
                  </a:cubicBezTo>
                  <a:cubicBezTo>
                    <a:pt x="1612" y="2408"/>
                    <a:pt x="1737" y="2315"/>
                    <a:pt x="1737" y="2169"/>
                  </a:cubicBezTo>
                  <a:cubicBezTo>
                    <a:pt x="1737" y="1535"/>
                    <a:pt x="1437" y="801"/>
                    <a:pt x="1103" y="267"/>
                  </a:cubicBezTo>
                  <a:cubicBezTo>
                    <a:pt x="987" y="86"/>
                    <a:pt x="784" y="0"/>
                    <a:pt x="591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1" name="Google Shape;7447;p120">
              <a:extLst>
                <a:ext uri="{FF2B5EF4-FFF2-40B4-BE49-F238E27FC236}">
                  <a16:creationId xmlns:a16="http://schemas.microsoft.com/office/drawing/2014/main" id="{35E377F4-5731-8AB6-716E-7E980491031A}"/>
                </a:ext>
              </a:extLst>
            </p:cNvPr>
            <p:cNvSpPr/>
            <p:nvPr/>
          </p:nvSpPr>
          <p:spPr>
            <a:xfrm>
              <a:off x="3883270" y="2231256"/>
              <a:ext cx="49625" cy="63425"/>
            </a:xfrm>
            <a:custGeom>
              <a:avLst/>
              <a:gdLst/>
              <a:ahLst/>
              <a:cxnLst/>
              <a:rect l="l" t="t" r="r" b="b"/>
              <a:pathLst>
                <a:path w="1985" h="2537" extrusionOk="0">
                  <a:moveTo>
                    <a:pt x="379" y="1"/>
                  </a:moveTo>
                  <a:cubicBezTo>
                    <a:pt x="175" y="1"/>
                    <a:pt x="0" y="170"/>
                    <a:pt x="50" y="395"/>
                  </a:cubicBezTo>
                  <a:cubicBezTo>
                    <a:pt x="117" y="862"/>
                    <a:pt x="484" y="1229"/>
                    <a:pt x="751" y="1596"/>
                  </a:cubicBezTo>
                  <a:cubicBezTo>
                    <a:pt x="984" y="1963"/>
                    <a:pt x="1251" y="2396"/>
                    <a:pt x="1718" y="2530"/>
                  </a:cubicBezTo>
                  <a:cubicBezTo>
                    <a:pt x="1731" y="2534"/>
                    <a:pt x="1745" y="2536"/>
                    <a:pt x="1758" y="2536"/>
                  </a:cubicBezTo>
                  <a:cubicBezTo>
                    <a:pt x="1843" y="2536"/>
                    <a:pt x="1918" y="2450"/>
                    <a:pt x="1918" y="2363"/>
                  </a:cubicBezTo>
                  <a:cubicBezTo>
                    <a:pt x="1985" y="1929"/>
                    <a:pt x="1751" y="1562"/>
                    <a:pt x="1485" y="1229"/>
                  </a:cubicBezTo>
                  <a:cubicBezTo>
                    <a:pt x="1251" y="862"/>
                    <a:pt x="984" y="295"/>
                    <a:pt x="584" y="61"/>
                  </a:cubicBezTo>
                  <a:cubicBezTo>
                    <a:pt x="517" y="20"/>
                    <a:pt x="446" y="1"/>
                    <a:pt x="37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2" name="Google Shape;7448;p120">
              <a:extLst>
                <a:ext uri="{FF2B5EF4-FFF2-40B4-BE49-F238E27FC236}">
                  <a16:creationId xmlns:a16="http://schemas.microsoft.com/office/drawing/2014/main" id="{93883563-8303-2ACE-EC45-DD434649DA8C}"/>
                </a:ext>
              </a:extLst>
            </p:cNvPr>
            <p:cNvSpPr/>
            <p:nvPr/>
          </p:nvSpPr>
          <p:spPr>
            <a:xfrm>
              <a:off x="3867020" y="2243981"/>
              <a:ext cx="52425" cy="55150"/>
            </a:xfrm>
            <a:custGeom>
              <a:avLst/>
              <a:gdLst/>
              <a:ahLst/>
              <a:cxnLst/>
              <a:rect l="l" t="t" r="r" b="b"/>
              <a:pathLst>
                <a:path w="2097" h="2206" extrusionOk="0">
                  <a:moveTo>
                    <a:pt x="470" y="0"/>
                  </a:moveTo>
                  <a:cubicBezTo>
                    <a:pt x="211" y="0"/>
                    <a:pt x="0" y="312"/>
                    <a:pt x="200" y="586"/>
                  </a:cubicBezTo>
                  <a:cubicBezTo>
                    <a:pt x="567" y="1187"/>
                    <a:pt x="1034" y="1887"/>
                    <a:pt x="1634" y="2188"/>
                  </a:cubicBezTo>
                  <a:cubicBezTo>
                    <a:pt x="1668" y="2200"/>
                    <a:pt x="1700" y="2206"/>
                    <a:pt x="1731" y="2206"/>
                  </a:cubicBezTo>
                  <a:cubicBezTo>
                    <a:pt x="1947" y="2206"/>
                    <a:pt x="2097" y="1925"/>
                    <a:pt x="2068" y="1721"/>
                  </a:cubicBezTo>
                  <a:cubicBezTo>
                    <a:pt x="1801" y="1120"/>
                    <a:pt x="1201" y="586"/>
                    <a:pt x="734" y="119"/>
                  </a:cubicBezTo>
                  <a:cubicBezTo>
                    <a:pt x="650" y="35"/>
                    <a:pt x="557" y="0"/>
                    <a:pt x="470" y="0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3" name="Google Shape;7449;p120">
              <a:extLst>
                <a:ext uri="{FF2B5EF4-FFF2-40B4-BE49-F238E27FC236}">
                  <a16:creationId xmlns:a16="http://schemas.microsoft.com/office/drawing/2014/main" id="{3914E792-A9E4-54DC-7EF0-4D46F1B520C9}"/>
                </a:ext>
              </a:extLst>
            </p:cNvPr>
            <p:cNvSpPr/>
            <p:nvPr/>
          </p:nvSpPr>
          <p:spPr>
            <a:xfrm>
              <a:off x="3858695" y="2257106"/>
              <a:ext cx="40850" cy="42400"/>
            </a:xfrm>
            <a:custGeom>
              <a:avLst/>
              <a:gdLst/>
              <a:ahLst/>
              <a:cxnLst/>
              <a:rect l="l" t="t" r="r" b="b"/>
              <a:pathLst>
                <a:path w="1634" h="1696" extrusionOk="0">
                  <a:moveTo>
                    <a:pt x="500" y="1"/>
                  </a:moveTo>
                  <a:cubicBezTo>
                    <a:pt x="244" y="1"/>
                    <a:pt x="1" y="265"/>
                    <a:pt x="133" y="528"/>
                  </a:cubicBezTo>
                  <a:cubicBezTo>
                    <a:pt x="266" y="829"/>
                    <a:pt x="533" y="1062"/>
                    <a:pt x="733" y="1262"/>
                  </a:cubicBezTo>
                  <a:cubicBezTo>
                    <a:pt x="900" y="1496"/>
                    <a:pt x="1100" y="1696"/>
                    <a:pt x="1400" y="1696"/>
                  </a:cubicBezTo>
                  <a:cubicBezTo>
                    <a:pt x="1534" y="1696"/>
                    <a:pt x="1600" y="1596"/>
                    <a:pt x="1600" y="1496"/>
                  </a:cubicBezTo>
                  <a:cubicBezTo>
                    <a:pt x="1634" y="1196"/>
                    <a:pt x="1467" y="929"/>
                    <a:pt x="1300" y="729"/>
                  </a:cubicBezTo>
                  <a:cubicBezTo>
                    <a:pt x="1133" y="495"/>
                    <a:pt x="933" y="228"/>
                    <a:pt x="700" y="61"/>
                  </a:cubicBezTo>
                  <a:cubicBezTo>
                    <a:pt x="637" y="19"/>
                    <a:pt x="568" y="1"/>
                    <a:pt x="500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4" name="Google Shape;7450;p120">
              <a:extLst>
                <a:ext uri="{FF2B5EF4-FFF2-40B4-BE49-F238E27FC236}">
                  <a16:creationId xmlns:a16="http://schemas.microsoft.com/office/drawing/2014/main" id="{54A989BF-0E17-95F3-A233-30D7264771BA}"/>
                </a:ext>
              </a:extLst>
            </p:cNvPr>
            <p:cNvSpPr/>
            <p:nvPr/>
          </p:nvSpPr>
          <p:spPr>
            <a:xfrm>
              <a:off x="3143145" y="2113531"/>
              <a:ext cx="147625" cy="168600"/>
            </a:xfrm>
            <a:custGeom>
              <a:avLst/>
              <a:gdLst/>
              <a:ahLst/>
              <a:cxnLst/>
              <a:rect l="l" t="t" r="r" b="b"/>
              <a:pathLst>
                <a:path w="5905" h="6744" extrusionOk="0">
                  <a:moveTo>
                    <a:pt x="1001" y="0"/>
                  </a:moveTo>
                  <a:lnTo>
                    <a:pt x="1001" y="0"/>
                  </a:lnTo>
                  <a:cubicBezTo>
                    <a:pt x="868" y="134"/>
                    <a:pt x="935" y="334"/>
                    <a:pt x="1035" y="467"/>
                  </a:cubicBezTo>
                  <a:cubicBezTo>
                    <a:pt x="1502" y="1234"/>
                    <a:pt x="2002" y="1968"/>
                    <a:pt x="2436" y="2736"/>
                  </a:cubicBezTo>
                  <a:cubicBezTo>
                    <a:pt x="1895" y="2195"/>
                    <a:pt x="679" y="1439"/>
                    <a:pt x="320" y="1439"/>
                  </a:cubicBezTo>
                  <a:cubicBezTo>
                    <a:pt x="280" y="1439"/>
                    <a:pt x="251" y="1448"/>
                    <a:pt x="234" y="1468"/>
                  </a:cubicBezTo>
                  <a:cubicBezTo>
                    <a:pt x="67" y="1668"/>
                    <a:pt x="701" y="2302"/>
                    <a:pt x="1035" y="2635"/>
                  </a:cubicBezTo>
                  <a:cubicBezTo>
                    <a:pt x="1435" y="3069"/>
                    <a:pt x="1835" y="3469"/>
                    <a:pt x="2236" y="3903"/>
                  </a:cubicBezTo>
                  <a:cubicBezTo>
                    <a:pt x="1701" y="3636"/>
                    <a:pt x="737" y="3175"/>
                    <a:pt x="324" y="3175"/>
                  </a:cubicBezTo>
                  <a:cubicBezTo>
                    <a:pt x="222" y="3175"/>
                    <a:pt x="154" y="3203"/>
                    <a:pt x="134" y="3269"/>
                  </a:cubicBezTo>
                  <a:cubicBezTo>
                    <a:pt x="1" y="3603"/>
                    <a:pt x="1335" y="4437"/>
                    <a:pt x="2002" y="4937"/>
                  </a:cubicBezTo>
                  <a:cubicBezTo>
                    <a:pt x="2836" y="5571"/>
                    <a:pt x="3470" y="6572"/>
                    <a:pt x="4471" y="6738"/>
                  </a:cubicBezTo>
                  <a:cubicBezTo>
                    <a:pt x="4471" y="6738"/>
                    <a:pt x="4503" y="6744"/>
                    <a:pt x="4558" y="6744"/>
                  </a:cubicBezTo>
                  <a:cubicBezTo>
                    <a:pt x="4694" y="6744"/>
                    <a:pt x="4966" y="6710"/>
                    <a:pt x="5204" y="6472"/>
                  </a:cubicBezTo>
                  <a:cubicBezTo>
                    <a:pt x="5505" y="6138"/>
                    <a:pt x="5538" y="5604"/>
                    <a:pt x="5538" y="5604"/>
                  </a:cubicBezTo>
                  <a:cubicBezTo>
                    <a:pt x="5304" y="4937"/>
                    <a:pt x="5505" y="4170"/>
                    <a:pt x="5705" y="3469"/>
                  </a:cubicBezTo>
                  <a:cubicBezTo>
                    <a:pt x="5872" y="2769"/>
                    <a:pt x="5905" y="1401"/>
                    <a:pt x="5538" y="1401"/>
                  </a:cubicBezTo>
                  <a:cubicBezTo>
                    <a:pt x="5171" y="1401"/>
                    <a:pt x="4737" y="2635"/>
                    <a:pt x="4704" y="3403"/>
                  </a:cubicBezTo>
                  <a:cubicBezTo>
                    <a:pt x="4190" y="2279"/>
                    <a:pt x="2843" y="291"/>
                    <a:pt x="2534" y="291"/>
                  </a:cubicBezTo>
                  <a:cubicBezTo>
                    <a:pt x="2522" y="291"/>
                    <a:pt x="2511" y="294"/>
                    <a:pt x="2502" y="300"/>
                  </a:cubicBezTo>
                  <a:cubicBezTo>
                    <a:pt x="2236" y="467"/>
                    <a:pt x="3203" y="1935"/>
                    <a:pt x="3670" y="2669"/>
                  </a:cubicBezTo>
                  <a:cubicBezTo>
                    <a:pt x="2903" y="1635"/>
                    <a:pt x="2102" y="601"/>
                    <a:pt x="1001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26" name="Google Shape;988;p64">
            <a:extLst>
              <a:ext uri="{FF2B5EF4-FFF2-40B4-BE49-F238E27FC236}">
                <a16:creationId xmlns:a16="http://schemas.microsoft.com/office/drawing/2014/main" id="{D4F1665A-A35D-1797-6A83-750DBA8F42E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21190" y="446560"/>
            <a:ext cx="9450237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3000" b="1">
                <a:solidFill>
                  <a:srgbClr val="FF725E"/>
                </a:solidFill>
                <a:latin typeface="Tenorite"/>
              </a:rPr>
              <a:t>What is an inclusive clinical environment?</a:t>
            </a:r>
            <a:endParaRPr lang="en-US" sz="3000">
              <a:latin typeface="Tenorite"/>
            </a:endParaRPr>
          </a:p>
        </p:txBody>
      </p:sp>
      <p:sp>
        <p:nvSpPr>
          <p:cNvPr id="1127" name="TextBox 1126">
            <a:extLst>
              <a:ext uri="{FF2B5EF4-FFF2-40B4-BE49-F238E27FC236}">
                <a16:creationId xmlns:a16="http://schemas.microsoft.com/office/drawing/2014/main" id="{E993E07D-03F0-7227-D5E2-9D1C1E03E2E9}"/>
              </a:ext>
            </a:extLst>
          </p:cNvPr>
          <p:cNvSpPr txBox="1"/>
          <p:nvPr/>
        </p:nvSpPr>
        <p:spPr>
          <a:xfrm>
            <a:off x="682692" y="1209040"/>
            <a:ext cx="7298088" cy="156966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>
                <a:solidFill>
                  <a:srgbClr val="202124"/>
                </a:solidFill>
                <a:latin typeface="Tenorite"/>
                <a:ea typeface="+mn-lt"/>
                <a:cs typeface="+mn-lt"/>
              </a:rPr>
              <a:t>Inclusion is defined as being the practice or policy of providing equal access to opportunities and resources for people who might otherwise be excluded or marginalized.</a:t>
            </a:r>
            <a:endParaRPr lang="en-US" sz="2400">
              <a:latin typeface="Tenorite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8F6CCCC-B41F-09C8-72DD-104585FC75EB}"/>
              </a:ext>
            </a:extLst>
          </p:cNvPr>
          <p:cNvSpPr txBox="1"/>
          <p:nvPr/>
        </p:nvSpPr>
        <p:spPr>
          <a:xfrm>
            <a:off x="4674453" y="2774985"/>
            <a:ext cx="3306326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>
                <a:solidFill>
                  <a:srgbClr val="FF725E"/>
                </a:solidFill>
                <a:latin typeface="Tenorite"/>
                <a:ea typeface="+mn-lt"/>
                <a:cs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United Way NCA,</a:t>
            </a:r>
            <a:r>
              <a:rPr lang="en-US" sz="2400">
                <a:solidFill>
                  <a:srgbClr val="FF725E"/>
                </a:solidFill>
                <a:latin typeface="Tenorite"/>
                <a:ea typeface="+mn-lt"/>
                <a:cs typeface="+mn-lt"/>
              </a:rPr>
              <a:t> </a:t>
            </a:r>
            <a:r>
              <a:rPr lang="en-US" sz="2400">
                <a:solidFill>
                  <a:srgbClr val="202124"/>
                </a:solidFill>
                <a:latin typeface="Tenorite"/>
                <a:ea typeface="+mn-lt"/>
                <a:cs typeface="+mn-lt"/>
              </a:rPr>
              <a:t>2022</a:t>
            </a:r>
            <a:endParaRPr lang="en-US" sz="2400">
              <a:solidFill>
                <a:srgbClr val="202124"/>
              </a:solidFill>
              <a:latin typeface="Tenorite"/>
              <a:cs typeface="Arial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ED1F671-2152-9AF9-8B28-88ABE5933A51}"/>
              </a:ext>
            </a:extLst>
          </p:cNvPr>
          <p:cNvSpPr txBox="1"/>
          <p:nvPr/>
        </p:nvSpPr>
        <p:spPr>
          <a:xfrm>
            <a:off x="682691" y="3013776"/>
            <a:ext cx="7298088" cy="384720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>
                <a:solidFill>
                  <a:srgbClr val="FF725E"/>
                </a:solidFill>
                <a:latin typeface="Tenorite"/>
                <a:ea typeface="+mn-lt"/>
                <a:cs typeface="+mn-lt"/>
              </a:rPr>
              <a:t>Domains to consider: </a:t>
            </a:r>
          </a:p>
          <a:p>
            <a:pPr marL="342900" indent="-342900">
              <a:buFont typeface="Arial"/>
              <a:buChar char="•"/>
            </a:pPr>
            <a:r>
              <a:rPr lang="en-US" sz="2000" i="1">
                <a:solidFill>
                  <a:srgbClr val="202124"/>
                </a:solidFill>
                <a:latin typeface="Tenorite"/>
                <a:cs typeface="Arial"/>
              </a:rPr>
              <a:t>Race</a:t>
            </a:r>
          </a:p>
          <a:p>
            <a:pPr marL="342900" indent="-342900">
              <a:buFont typeface="Arial"/>
              <a:buChar char="•"/>
            </a:pPr>
            <a:r>
              <a:rPr lang="en-US" sz="2000" i="1">
                <a:solidFill>
                  <a:srgbClr val="202124"/>
                </a:solidFill>
                <a:latin typeface="Tenorite"/>
                <a:cs typeface="Arial"/>
              </a:rPr>
              <a:t>Ethnicity </a:t>
            </a:r>
          </a:p>
          <a:p>
            <a:pPr marL="342900" indent="-342900">
              <a:buFont typeface="Arial"/>
              <a:buChar char="•"/>
            </a:pPr>
            <a:r>
              <a:rPr lang="en-US" sz="2000" i="1">
                <a:solidFill>
                  <a:srgbClr val="202124"/>
                </a:solidFill>
                <a:latin typeface="Tenorite"/>
                <a:cs typeface="Arial"/>
              </a:rPr>
              <a:t>Faith </a:t>
            </a:r>
          </a:p>
          <a:p>
            <a:pPr marL="342900" indent="-342900">
              <a:buFont typeface="Arial"/>
              <a:buChar char="•"/>
            </a:pPr>
            <a:r>
              <a:rPr lang="en-US" sz="2000" i="1">
                <a:solidFill>
                  <a:srgbClr val="202124"/>
                </a:solidFill>
                <a:latin typeface="Tenorite"/>
                <a:cs typeface="Arial"/>
              </a:rPr>
              <a:t>Ability (both apparent and non-apparent)</a:t>
            </a:r>
          </a:p>
          <a:p>
            <a:pPr marL="342900" indent="-342900">
              <a:buFont typeface="Arial"/>
              <a:buChar char="•"/>
            </a:pPr>
            <a:r>
              <a:rPr lang="en-US" sz="2000" i="1">
                <a:solidFill>
                  <a:srgbClr val="202124"/>
                </a:solidFill>
                <a:latin typeface="Tenorite"/>
                <a:cs typeface="Arial"/>
              </a:rPr>
              <a:t>Age</a:t>
            </a:r>
          </a:p>
          <a:p>
            <a:pPr marL="342900" indent="-342900">
              <a:buFont typeface="Arial"/>
              <a:buChar char="•"/>
            </a:pPr>
            <a:r>
              <a:rPr lang="en-US" sz="2000" i="1">
                <a:solidFill>
                  <a:srgbClr val="202124"/>
                </a:solidFill>
                <a:latin typeface="Tenorite"/>
                <a:cs typeface="Arial"/>
              </a:rPr>
              <a:t>Gender Identity and expression</a:t>
            </a:r>
          </a:p>
          <a:p>
            <a:pPr marL="342900" indent="-342900">
              <a:buFont typeface="Arial"/>
              <a:buChar char="•"/>
            </a:pPr>
            <a:r>
              <a:rPr lang="en-US" sz="2000" i="1">
                <a:solidFill>
                  <a:srgbClr val="202124"/>
                </a:solidFill>
                <a:latin typeface="Tenorite"/>
                <a:cs typeface="Arial"/>
              </a:rPr>
              <a:t>Socioeconomic status </a:t>
            </a:r>
          </a:p>
          <a:p>
            <a:pPr marL="342900" indent="-342900">
              <a:buFont typeface="Arial"/>
              <a:buChar char="•"/>
            </a:pPr>
            <a:r>
              <a:rPr lang="en-US" sz="2000" i="1">
                <a:solidFill>
                  <a:srgbClr val="202124"/>
                </a:solidFill>
                <a:latin typeface="Tenorite"/>
                <a:cs typeface="Arial"/>
              </a:rPr>
              <a:t>Veteran status </a:t>
            </a:r>
          </a:p>
          <a:p>
            <a:pPr marL="342900" indent="-342900">
              <a:buFont typeface="Arial"/>
              <a:buChar char="•"/>
            </a:pPr>
            <a:r>
              <a:rPr lang="en-US" sz="2000" i="1">
                <a:solidFill>
                  <a:srgbClr val="202124"/>
                </a:solidFill>
                <a:latin typeface="Tenorite"/>
                <a:cs typeface="Arial"/>
              </a:rPr>
              <a:t>People of color, including underserved groups and new immigrant populations</a:t>
            </a:r>
          </a:p>
          <a:p>
            <a:pPr marL="342900" indent="-342900">
              <a:buFont typeface="Arial"/>
              <a:buChar char="•"/>
            </a:pPr>
            <a:endParaRPr lang="en-US" sz="2400">
              <a:solidFill>
                <a:srgbClr val="202124"/>
              </a:solidFill>
              <a:latin typeface="Tenorite"/>
              <a:cs typeface="Arial"/>
            </a:endParaRPr>
          </a:p>
        </p:txBody>
      </p:sp>
      <p:sp>
        <p:nvSpPr>
          <p:cNvPr id="988" name="TextBox 987">
            <a:extLst>
              <a:ext uri="{FF2B5EF4-FFF2-40B4-BE49-F238E27FC236}">
                <a16:creationId xmlns:a16="http://schemas.microsoft.com/office/drawing/2014/main" id="{5D6BC2BC-3091-80E3-A74A-6F082C6218C1}"/>
              </a:ext>
            </a:extLst>
          </p:cNvPr>
          <p:cNvSpPr txBox="1"/>
          <p:nvPr/>
        </p:nvSpPr>
        <p:spPr>
          <a:xfrm>
            <a:off x="7227869" y="3430871"/>
            <a:ext cx="4747394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solidFill>
                  <a:srgbClr val="152041"/>
                </a:solidFill>
                <a:latin typeface="Tenorite"/>
                <a:cs typeface="Arial"/>
              </a:rPr>
              <a:t>A clinical environment that is not inclusive of all people can take on many forms. It's important to consistently re-evaluate and adapt as necessary.</a:t>
            </a:r>
          </a:p>
          <a:p>
            <a:pPr marL="342900" indent="-342900">
              <a:buFont typeface="Arial"/>
              <a:buChar char="•"/>
            </a:pPr>
            <a:endParaRPr lang="en-US">
              <a:solidFill>
                <a:srgbClr val="152041"/>
              </a:solidFill>
              <a:latin typeface="Tenorite"/>
              <a:cs typeface="Arial"/>
            </a:endParaRPr>
          </a:p>
        </p:txBody>
      </p:sp>
      <p:sp>
        <p:nvSpPr>
          <p:cNvPr id="1125" name="TextBox 1124">
            <a:extLst>
              <a:ext uri="{FF2B5EF4-FFF2-40B4-BE49-F238E27FC236}">
                <a16:creationId xmlns:a16="http://schemas.microsoft.com/office/drawing/2014/main" id="{E9CE4484-E343-6354-320B-5EF6726A0D52}"/>
              </a:ext>
            </a:extLst>
          </p:cNvPr>
          <p:cNvSpPr txBox="1"/>
          <p:nvPr/>
        </p:nvSpPr>
        <p:spPr>
          <a:xfrm rot="-10800000" flipV="1">
            <a:off x="947385" y="6551061"/>
            <a:ext cx="4731352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solidFill>
                  <a:srgbClr val="152041"/>
                </a:solidFill>
                <a:latin typeface="Tenorite"/>
                <a:cs typeface="Arial"/>
              </a:rPr>
              <a:t>Adapted from University of Minnesota</a:t>
            </a:r>
          </a:p>
        </p:txBody>
      </p:sp>
    </p:spTree>
    <p:extLst>
      <p:ext uri="{BB962C8B-B14F-4D97-AF65-F5344CB8AC3E}">
        <p14:creationId xmlns:p14="http://schemas.microsoft.com/office/powerpoint/2010/main" val="30135571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988;p64">
            <a:extLst>
              <a:ext uri="{FF2B5EF4-FFF2-40B4-BE49-F238E27FC236}">
                <a16:creationId xmlns:a16="http://schemas.microsoft.com/office/drawing/2014/main" id="{AD385443-9470-5DD2-5B77-4D8524F57B8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21190" y="446560"/>
            <a:ext cx="7534751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2800" b="1">
                <a:solidFill>
                  <a:srgbClr val="FF725E"/>
                </a:solidFill>
                <a:latin typeface="Tenorite"/>
              </a:rPr>
              <a:t>Why are policies important to an inclusive clinical environment?</a:t>
            </a:r>
            <a:endParaRPr lang="en-US" sz="185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740AD8F-0B8E-44FA-DB20-C9C0F169AA16}"/>
              </a:ext>
            </a:extLst>
          </p:cNvPr>
          <p:cNvSpPr txBox="1"/>
          <p:nvPr/>
        </p:nvSpPr>
        <p:spPr>
          <a:xfrm>
            <a:off x="597811" y="1711996"/>
            <a:ext cx="7589767" cy="193899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>
                <a:solidFill>
                  <a:srgbClr val="000000"/>
                </a:solidFill>
                <a:latin typeface="Tenorite"/>
                <a:ea typeface="+mn-lt"/>
                <a:cs typeface="+mn-lt"/>
              </a:rPr>
              <a:t>Policies provide a </a:t>
            </a:r>
            <a:r>
              <a:rPr lang="en-US" sz="2400" b="1">
                <a:solidFill>
                  <a:srgbClr val="000000"/>
                </a:solidFill>
                <a:latin typeface="Tenorite"/>
                <a:ea typeface="+mn-lt"/>
                <a:cs typeface="+mn-lt"/>
              </a:rPr>
              <a:t>framework for consistent decision making in action.</a:t>
            </a:r>
            <a:r>
              <a:rPr lang="en-US" sz="2400">
                <a:solidFill>
                  <a:srgbClr val="000000"/>
                </a:solidFill>
                <a:latin typeface="Tenorite"/>
                <a:ea typeface="+mn-lt"/>
                <a:cs typeface="+mn-lt"/>
              </a:rPr>
              <a:t> They are an important aspect of a company's culture, as they ensure that the organization is operating in a way consistent with its </a:t>
            </a:r>
            <a:r>
              <a:rPr lang="en-US" sz="2400">
                <a:solidFill>
                  <a:srgbClr val="FF725E"/>
                </a:solidFill>
                <a:latin typeface="Tenorite"/>
                <a:ea typeface="+mn-lt"/>
                <a:cs typeface="+mn-lt"/>
              </a:rPr>
              <a:t>values and goals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1B023BD-5703-D4FE-D688-C9D60834B58D}"/>
              </a:ext>
            </a:extLst>
          </p:cNvPr>
          <p:cNvSpPr txBox="1"/>
          <p:nvPr/>
        </p:nvSpPr>
        <p:spPr>
          <a:xfrm>
            <a:off x="5794501" y="3426816"/>
            <a:ext cx="3306326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>
                <a:solidFill>
                  <a:srgbClr val="FF725E"/>
                </a:solidFill>
                <a:latin typeface="Tenorite"/>
                <a:ea typeface="+mn-lt"/>
                <a:cs typeface="+mn-lt"/>
                <a:hlinkClick r:id="rId3"/>
              </a:rPr>
              <a:t>Jones,</a:t>
            </a:r>
            <a:r>
              <a:rPr lang="en-US" sz="2400">
                <a:solidFill>
                  <a:srgbClr val="FF725E"/>
                </a:solidFill>
                <a:latin typeface="Tenorite"/>
                <a:ea typeface="+mn-lt"/>
                <a:cs typeface="+mn-lt"/>
              </a:rPr>
              <a:t> </a:t>
            </a:r>
            <a:r>
              <a:rPr lang="en-US" sz="2400">
                <a:solidFill>
                  <a:srgbClr val="202124"/>
                </a:solidFill>
                <a:latin typeface="Tenorite"/>
                <a:ea typeface="+mn-lt"/>
                <a:cs typeface="+mn-lt"/>
              </a:rPr>
              <a:t>2022 </a:t>
            </a:r>
            <a:endParaRPr lang="en-US" sz="2400">
              <a:solidFill>
                <a:srgbClr val="202124"/>
              </a:solidFill>
              <a:latin typeface="Tenorite"/>
              <a:cs typeface="Arial"/>
            </a:endParaRPr>
          </a:p>
        </p:txBody>
      </p:sp>
      <p:pic>
        <p:nvPicPr>
          <p:cNvPr id="2" name="Picture 1" descr="A close up of a logo&#10;&#10;Description automatically generated">
            <a:extLst>
              <a:ext uri="{FF2B5EF4-FFF2-40B4-BE49-F238E27FC236}">
                <a16:creationId xmlns:a16="http://schemas.microsoft.com/office/drawing/2014/main" id="{3360AE38-75A5-7FCA-AE62-CF5F5012ED6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913" y="5098572"/>
            <a:ext cx="4047689" cy="725397"/>
          </a:xfrm>
          <a:prstGeom prst="rect">
            <a:avLst/>
          </a:prstGeom>
          <a:ln w="28575">
            <a:solidFill>
              <a:srgbClr val="FF725E"/>
            </a:solidFill>
          </a:ln>
        </p:spPr>
      </p:pic>
      <p:pic>
        <p:nvPicPr>
          <p:cNvPr id="3" name="Picture 2" descr="A close up of a sign&#10;&#10;Description automatically generated">
            <a:extLst>
              <a:ext uri="{FF2B5EF4-FFF2-40B4-BE49-F238E27FC236}">
                <a16:creationId xmlns:a16="http://schemas.microsoft.com/office/drawing/2014/main" id="{EEDB009F-D74B-8351-53CD-BA5459EC59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09"/>
          <a:stretch/>
        </p:blipFill>
        <p:spPr>
          <a:xfrm>
            <a:off x="6423759" y="5823636"/>
            <a:ext cx="5354973" cy="754435"/>
          </a:xfrm>
          <a:prstGeom prst="rect">
            <a:avLst/>
          </a:prstGeom>
          <a:ln>
            <a:solidFill>
              <a:srgbClr val="FF725E"/>
            </a:solidFill>
          </a:ln>
        </p:spPr>
      </p:pic>
      <p:pic>
        <p:nvPicPr>
          <p:cNvPr id="4" name="Picture 3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E6573761-7339-F576-280E-27F67235407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5996" y="4127322"/>
            <a:ext cx="5347982" cy="787364"/>
          </a:xfrm>
          <a:prstGeom prst="rect">
            <a:avLst/>
          </a:prstGeom>
          <a:ln w="12700">
            <a:solidFill>
              <a:srgbClr val="FF725E"/>
            </a:solidFill>
          </a:ln>
        </p:spPr>
      </p:pic>
      <p:pic>
        <p:nvPicPr>
          <p:cNvPr id="5" name="Picture 4" descr="A close-up of a sign&#10;&#10;Description automatically generated">
            <a:extLst>
              <a:ext uri="{FF2B5EF4-FFF2-40B4-BE49-F238E27FC236}">
                <a16:creationId xmlns:a16="http://schemas.microsoft.com/office/drawing/2014/main" id="{B6771705-AF2D-41B4-C770-98F0CAFEAC6C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07167" y="4353609"/>
            <a:ext cx="4655890" cy="1136159"/>
          </a:xfrm>
          <a:prstGeom prst="rect">
            <a:avLst/>
          </a:prstGeom>
          <a:ln>
            <a:solidFill>
              <a:srgbClr val="FF725E"/>
            </a:solidFill>
          </a:ln>
        </p:spPr>
      </p:pic>
    </p:spTree>
    <p:extLst>
      <p:ext uri="{BB962C8B-B14F-4D97-AF65-F5344CB8AC3E}">
        <p14:creationId xmlns:p14="http://schemas.microsoft.com/office/powerpoint/2010/main" val="41255320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79978-6647-EDE0-87A0-C3A213094B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2994" y="538992"/>
            <a:ext cx="9365380" cy="1940698"/>
          </a:xfrm>
        </p:spPr>
        <p:txBody>
          <a:bodyPr/>
          <a:lstStyle/>
          <a:p>
            <a:r>
              <a:rPr lang="en-US">
                <a:solidFill>
                  <a:srgbClr val="1C498B"/>
                </a:solidFill>
                <a:latin typeface="Aptos"/>
                <a:ea typeface="Lato Medium"/>
                <a:cs typeface="Calibri"/>
              </a:rPr>
              <a:t>Equitable and Inclusive Unit Polici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13DF45-5546-BD2D-CDE2-E95A74C5564B}"/>
              </a:ext>
            </a:extLst>
          </p:cNvPr>
          <p:cNvSpPr txBox="1">
            <a:spLocks/>
          </p:cNvSpPr>
          <p:nvPr/>
        </p:nvSpPr>
        <p:spPr>
          <a:xfrm>
            <a:off x="1292994" y="2480087"/>
            <a:ext cx="9365380" cy="1940698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r>
              <a:rPr lang="en-US" sz="2400" i="1">
                <a:solidFill>
                  <a:srgbClr val="1C498B"/>
                </a:solidFill>
                <a:latin typeface="Aptos"/>
                <a:ea typeface="Lato Medium"/>
                <a:cs typeface="Calibri"/>
              </a:rPr>
              <a:t>Starting the conversation for a new strategy</a:t>
            </a:r>
          </a:p>
        </p:txBody>
      </p:sp>
    </p:spTree>
    <p:extLst>
      <p:ext uri="{BB962C8B-B14F-4D97-AF65-F5344CB8AC3E}">
        <p14:creationId xmlns:p14="http://schemas.microsoft.com/office/powerpoint/2010/main" val="36203810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A6321E-1296-52A9-B4DF-1A3BBD230BC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9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DAFCD47-A021-2F70-937B-F672A75863F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Box 6">
            <a:extLst>
              <a:ext uri="{FF2B5EF4-FFF2-40B4-BE49-F238E27FC236}">
                <a16:creationId xmlns:a16="http://schemas.microsoft.com/office/drawing/2014/main" id="{364B6BB4-2321-2CAE-8E26-F1B5B2324E06}"/>
              </a:ext>
            </a:extLst>
          </p:cNvPr>
          <p:cNvSpPr txBox="1"/>
          <p:nvPr/>
        </p:nvSpPr>
        <p:spPr>
          <a:xfrm>
            <a:off x="8265875" y="1437754"/>
            <a:ext cx="3325985" cy="9233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900" lvl="1">
              <a:lnSpc>
                <a:spcPts val="2400"/>
              </a:lnSpc>
            </a:pPr>
            <a:r>
              <a:rPr lang="en-US" sz="2000" b="1">
                <a:solidFill>
                  <a:srgbClr val="813158"/>
                </a:solidFill>
                <a:latin typeface="Aptos"/>
              </a:rPr>
              <a:t>24 Hospitals are actively working on this measure in March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948829FD-D6EC-1A4B-2358-D5A9C3C5D797}"/>
              </a:ext>
            </a:extLst>
          </p:cNvPr>
          <p:cNvSpPr txBox="1"/>
          <p:nvPr/>
        </p:nvSpPr>
        <p:spPr>
          <a:xfrm>
            <a:off x="9693194" y="3796339"/>
            <a:ext cx="2377539" cy="92333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900" lvl="1">
              <a:lnSpc>
                <a:spcPts val="2400"/>
              </a:lnSpc>
            </a:pPr>
            <a:r>
              <a:rPr lang="en-US" sz="2000" b="1">
                <a:solidFill>
                  <a:srgbClr val="813158"/>
                </a:solidFill>
                <a:latin typeface="Aptos"/>
              </a:rPr>
              <a:t>Continue to submit your monthly data!</a:t>
            </a:r>
          </a:p>
        </p:txBody>
      </p:sp>
    </p:spTree>
    <p:extLst>
      <p:ext uri="{BB962C8B-B14F-4D97-AF65-F5344CB8AC3E}">
        <p14:creationId xmlns:p14="http://schemas.microsoft.com/office/powerpoint/2010/main" val="36637537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605789" y="456520"/>
            <a:ext cx="8229600" cy="1143000"/>
          </a:xfrm>
          <a:noFill/>
        </p:spPr>
        <p:txBody>
          <a:bodyPr>
            <a:normAutofit/>
          </a:bodyPr>
          <a:lstStyle/>
          <a:p>
            <a:r>
              <a:rPr lang="en-US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Overview</a:t>
            </a:r>
          </a:p>
        </p:txBody>
      </p:sp>
      <p:sp>
        <p:nvSpPr>
          <p:cNvPr id="16387" name="Content Placeholder 3"/>
          <p:cNvSpPr>
            <a:spLocks noGrp="1"/>
          </p:cNvSpPr>
          <p:nvPr>
            <p:ph idx="1"/>
          </p:nvPr>
        </p:nvSpPr>
        <p:spPr>
          <a:xfrm>
            <a:off x="504159" y="1720370"/>
            <a:ext cx="7489719" cy="4948346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US" altLang="en-US" sz="2800"/>
          </a:p>
          <a:p>
            <a:pPr>
              <a:buClr>
                <a:srgbClr val="F5668F"/>
              </a:buClr>
            </a:pPr>
            <a:endParaRPr lang="en-US" altLang="en-US" sz="2800"/>
          </a:p>
          <a:p>
            <a:pPr>
              <a:buClr>
                <a:srgbClr val="F5668F"/>
              </a:buClr>
            </a:pPr>
            <a:endParaRPr lang="en-US" altLang="en-US" sz="2200"/>
          </a:p>
          <a:p>
            <a:pPr>
              <a:buClr>
                <a:srgbClr val="F5668F"/>
              </a:buClr>
            </a:pPr>
            <a:endParaRPr lang="en-US" altLang="en-US" sz="2200"/>
          </a:p>
          <a:p>
            <a:pPr marL="457200" lvl="1" indent="0">
              <a:buClr>
                <a:srgbClr val="004990"/>
              </a:buClr>
              <a:buNone/>
            </a:pPr>
            <a:endParaRPr lang="en-US" altLang="en-US" sz="2200"/>
          </a:p>
          <a:p>
            <a:pPr>
              <a:buClr>
                <a:srgbClr val="F5668F"/>
              </a:buClr>
            </a:pPr>
            <a:endParaRPr lang="en-US" alt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8B9DA9E4-8E57-D07F-2A71-1A5B61A0F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C2BF6A44-9F85-5CD9-CFDD-619DFCC5DAE3}"/>
              </a:ext>
            </a:extLst>
          </p:cNvPr>
          <p:cNvSpPr txBox="1">
            <a:spLocks/>
          </p:cNvSpPr>
          <p:nvPr/>
        </p:nvSpPr>
        <p:spPr>
          <a:xfrm>
            <a:off x="654616" y="1592862"/>
            <a:ext cx="10434221" cy="392466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2024 Face-to-Face Meeting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ESSI Aims and Measures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 b="1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Starting the Conversation: Equitable and Inclusive Unit Policies 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 b="1" err="1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REDCap</a:t>
            </a:r>
            <a:r>
              <a:rPr lang="en-US" sz="2400" b="1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 Reports Overview</a:t>
            </a:r>
          </a:p>
          <a:p>
            <a:pPr marL="285750" indent="-28575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Font typeface="Arial"/>
              <a:buChar char="•"/>
            </a:pPr>
            <a:r>
              <a:rPr lang="en-US" sz="2400">
                <a:solidFill>
                  <a:srgbClr val="000000"/>
                </a:solidFill>
                <a:latin typeface="Arial"/>
                <a:ea typeface="Lato Medium"/>
                <a:cs typeface="Arial"/>
              </a:rPr>
              <a:t>Upcoming Opportunities of Interest to ESSI Teams</a:t>
            </a:r>
          </a:p>
          <a:p>
            <a:pPr marL="742950" lvl="1" indent="-285750">
              <a:spcBef>
                <a:spcPts val="500"/>
              </a:spcBef>
              <a:spcAft>
                <a:spcPts val="1000"/>
              </a:spcAft>
              <a:buFont typeface="Courier New,monospace"/>
              <a:buChar char="o"/>
            </a:pPr>
            <a:endParaRPr lang="en-US" sz="2000">
              <a:latin typeface="Arial"/>
              <a:ea typeface="Lato Medium"/>
              <a:cs typeface="Arial"/>
            </a:endParaRPr>
          </a:p>
        </p:txBody>
      </p:sp>
      <p:grpSp>
        <p:nvGrpSpPr>
          <p:cNvPr id="7" name="Group 27">
            <a:extLst>
              <a:ext uri="{FF2B5EF4-FFF2-40B4-BE49-F238E27FC236}">
                <a16:creationId xmlns:a16="http://schemas.microsoft.com/office/drawing/2014/main" id="{E2176F69-6A90-79BF-BE1A-647EEC25E5B6}"/>
              </a:ext>
            </a:extLst>
          </p:cNvPr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5" name="Freeform 28">
              <a:extLst>
                <a:ext uri="{FF2B5EF4-FFF2-40B4-BE49-F238E27FC236}">
                  <a16:creationId xmlns:a16="http://schemas.microsoft.com/office/drawing/2014/main" id="{293A4BD0-ADF6-D907-7D01-9A0EC913C33B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TextBox 29">
              <a:extLst>
                <a:ext uri="{FF2B5EF4-FFF2-40B4-BE49-F238E27FC236}">
                  <a16:creationId xmlns:a16="http://schemas.microsoft.com/office/drawing/2014/main" id="{D6B07960-BA62-1FF2-41F2-10CDCFC99DF9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8" name="Group 27">
            <a:extLst>
              <a:ext uri="{FF2B5EF4-FFF2-40B4-BE49-F238E27FC236}">
                <a16:creationId xmlns:a16="http://schemas.microsoft.com/office/drawing/2014/main" id="{EAB6171E-B389-19EF-475C-7DFC8285AD27}"/>
              </a:ext>
            </a:extLst>
          </p:cNvPr>
          <p:cNvGrpSpPr/>
          <p:nvPr/>
        </p:nvGrpSpPr>
        <p:grpSpPr>
          <a:xfrm>
            <a:off x="9609154" y="906164"/>
            <a:ext cx="1368800" cy="1368800"/>
            <a:chOff x="0" y="0"/>
            <a:chExt cx="812800" cy="812800"/>
          </a:xfrm>
        </p:grpSpPr>
        <p:sp>
          <p:nvSpPr>
            <p:cNvPr id="9" name="Freeform 28">
              <a:extLst>
                <a:ext uri="{FF2B5EF4-FFF2-40B4-BE49-F238E27FC236}">
                  <a16:creationId xmlns:a16="http://schemas.microsoft.com/office/drawing/2014/main" id="{CC9F8EAA-EC69-50AE-9585-3DE094AE2F30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TextBox 29">
              <a:extLst>
                <a:ext uri="{FF2B5EF4-FFF2-40B4-BE49-F238E27FC236}">
                  <a16:creationId xmlns:a16="http://schemas.microsoft.com/office/drawing/2014/main" id="{48DF3E86-0462-C737-A26E-7B5C3372F5C4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11" name="Group 27">
            <a:extLst>
              <a:ext uri="{FF2B5EF4-FFF2-40B4-BE49-F238E27FC236}">
                <a16:creationId xmlns:a16="http://schemas.microsoft.com/office/drawing/2014/main" id="{C636D4D3-6E50-71B8-4C52-AB0F011B5518}"/>
              </a:ext>
            </a:extLst>
          </p:cNvPr>
          <p:cNvGrpSpPr/>
          <p:nvPr/>
        </p:nvGrpSpPr>
        <p:grpSpPr>
          <a:xfrm>
            <a:off x="1212358" y="5130455"/>
            <a:ext cx="1368800" cy="1368800"/>
            <a:chOff x="0" y="0"/>
            <a:chExt cx="812800" cy="812800"/>
          </a:xfrm>
        </p:grpSpPr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D6BAEE9A-1F1D-1843-864B-32552986B52F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TextBox 29">
              <a:extLst>
                <a:ext uri="{FF2B5EF4-FFF2-40B4-BE49-F238E27FC236}">
                  <a16:creationId xmlns:a16="http://schemas.microsoft.com/office/drawing/2014/main" id="{B9B7469D-5A82-4F91-36EF-5918948D6DDF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14" name="Group 27">
            <a:extLst>
              <a:ext uri="{FF2B5EF4-FFF2-40B4-BE49-F238E27FC236}">
                <a16:creationId xmlns:a16="http://schemas.microsoft.com/office/drawing/2014/main" id="{2DF12F63-3431-2654-C666-E4B652452F80}"/>
              </a:ext>
            </a:extLst>
          </p:cNvPr>
          <p:cNvGrpSpPr/>
          <p:nvPr/>
        </p:nvGrpSpPr>
        <p:grpSpPr>
          <a:xfrm>
            <a:off x="11281115" y="5818474"/>
            <a:ext cx="1368800" cy="1368800"/>
            <a:chOff x="0" y="0"/>
            <a:chExt cx="812800" cy="812800"/>
          </a:xfrm>
        </p:grpSpPr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16305E8F-6DF3-2D08-8BEF-A689BDE654F3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TextBox 29">
              <a:extLst>
                <a:ext uri="{FF2B5EF4-FFF2-40B4-BE49-F238E27FC236}">
                  <a16:creationId xmlns:a16="http://schemas.microsoft.com/office/drawing/2014/main" id="{54C6D955-875D-85C4-889E-D42517C6668E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</p:spTree>
    <p:extLst>
      <p:ext uri="{BB962C8B-B14F-4D97-AF65-F5344CB8AC3E}">
        <p14:creationId xmlns:p14="http://schemas.microsoft.com/office/powerpoint/2010/main" val="40446910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" name="Google Shape;895;p62"/>
          <p:cNvSpPr txBox="1">
            <a:spLocks noGrp="1"/>
          </p:cNvSpPr>
          <p:nvPr>
            <p:ph type="title"/>
          </p:nvPr>
        </p:nvSpPr>
        <p:spPr>
          <a:xfrm>
            <a:off x="751453" y="256483"/>
            <a:ext cx="10062276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2800" b="1">
                <a:solidFill>
                  <a:srgbClr val="FF725E"/>
                </a:solidFill>
                <a:latin typeface="Tenorite"/>
                <a:cs typeface="DokChampa"/>
              </a:rPr>
              <a:t>What is health equity?</a:t>
            </a:r>
            <a:endParaRPr lang="en-US" sz="2800">
              <a:cs typeface="DokChampa"/>
            </a:endParaRPr>
          </a:p>
        </p:txBody>
      </p:sp>
      <p:sp>
        <p:nvSpPr>
          <p:cNvPr id="896" name="Google Shape;896;p62"/>
          <p:cNvSpPr txBox="1">
            <a:spLocks noGrp="1"/>
          </p:cNvSpPr>
          <p:nvPr>
            <p:ph type="body" idx="1"/>
          </p:nvPr>
        </p:nvSpPr>
        <p:spPr>
          <a:xfrm>
            <a:off x="750275" y="1020747"/>
            <a:ext cx="10272000" cy="3616736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" sz="2200" b="1">
                <a:latin typeface="Tenorite"/>
              </a:rPr>
              <a:t>Health equity </a:t>
            </a:r>
            <a:r>
              <a:rPr lang="en" sz="2200">
                <a:latin typeface="Tenorite"/>
              </a:rPr>
              <a:t>is the state in which everyone has a fair and just opportunity to attain their highest level of health. </a:t>
            </a:r>
            <a:endParaRPr lang="en-US" sz="2200">
              <a:latin typeface="Tenorite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en" sz="2200">
                <a:latin typeface="Tenorite"/>
              </a:rPr>
              <a:t>Achieving this requires ongoing societal efforts to:  </a:t>
            </a:r>
          </a:p>
          <a:p>
            <a:pPr marL="380365" indent="-380365">
              <a:lnSpc>
                <a:spcPct val="150000"/>
              </a:lnSpc>
            </a:pPr>
            <a:r>
              <a:rPr lang="en" sz="2200">
                <a:latin typeface="Tenorite"/>
              </a:rPr>
              <a:t>Address historical and contemporary injustices;</a:t>
            </a:r>
          </a:p>
          <a:p>
            <a:pPr marL="380365" indent="-380365">
              <a:lnSpc>
                <a:spcPct val="150000"/>
              </a:lnSpc>
            </a:pPr>
            <a:r>
              <a:rPr lang="en" sz="2200">
                <a:latin typeface="Tenorite"/>
              </a:rPr>
              <a:t>Overcome economic, social, and other obstacles to health and health care; and</a:t>
            </a:r>
          </a:p>
          <a:p>
            <a:pPr marL="380365" indent="-380365">
              <a:lnSpc>
                <a:spcPct val="150000"/>
              </a:lnSpc>
            </a:pPr>
            <a:r>
              <a:rPr lang="en" sz="2200">
                <a:latin typeface="Tenorite"/>
              </a:rPr>
              <a:t>Eliminate preventable health disparities.</a:t>
            </a:r>
          </a:p>
          <a:p>
            <a:pPr marL="0" indent="0">
              <a:lnSpc>
                <a:spcPct val="150000"/>
              </a:lnSpc>
              <a:buNone/>
            </a:pPr>
            <a:endParaRPr lang="en" sz="2000">
              <a:solidFill>
                <a:srgbClr val="000000"/>
              </a:solidFill>
              <a:latin typeface="Tenorite"/>
            </a:endParaRPr>
          </a:p>
        </p:txBody>
      </p:sp>
      <p:grpSp>
        <p:nvGrpSpPr>
          <p:cNvPr id="911" name="Google Shape;911;p62"/>
          <p:cNvGrpSpPr/>
          <p:nvPr/>
        </p:nvGrpSpPr>
        <p:grpSpPr>
          <a:xfrm>
            <a:off x="157561" y="5709495"/>
            <a:ext cx="1186913" cy="900144"/>
            <a:chOff x="4725044" y="4077175"/>
            <a:chExt cx="398900" cy="347475"/>
          </a:xfrm>
        </p:grpSpPr>
        <p:sp>
          <p:nvSpPr>
            <p:cNvPr id="912" name="Google Shape;912;p62"/>
            <p:cNvSpPr/>
            <p:nvPr/>
          </p:nvSpPr>
          <p:spPr>
            <a:xfrm>
              <a:off x="4725044" y="4077175"/>
              <a:ext cx="398900" cy="297393"/>
            </a:xfrm>
            <a:custGeom>
              <a:avLst/>
              <a:gdLst/>
              <a:ahLst/>
              <a:cxnLst/>
              <a:rect l="l" t="t" r="r" b="b"/>
              <a:pathLst>
                <a:path w="15956" h="9319" extrusionOk="0">
                  <a:moveTo>
                    <a:pt x="7919" y="1"/>
                  </a:moveTo>
                  <a:cubicBezTo>
                    <a:pt x="6674" y="1"/>
                    <a:pt x="5425" y="185"/>
                    <a:pt x="4303" y="548"/>
                  </a:cubicBezTo>
                  <a:cubicBezTo>
                    <a:pt x="3756" y="724"/>
                    <a:pt x="3235" y="939"/>
                    <a:pt x="2783" y="1211"/>
                  </a:cubicBezTo>
                  <a:cubicBezTo>
                    <a:pt x="1975" y="1692"/>
                    <a:pt x="1329" y="2406"/>
                    <a:pt x="932" y="3258"/>
                  </a:cubicBezTo>
                  <a:cubicBezTo>
                    <a:pt x="0" y="5237"/>
                    <a:pt x="795" y="7718"/>
                    <a:pt x="3444" y="8773"/>
                  </a:cubicBezTo>
                  <a:cubicBezTo>
                    <a:pt x="4426" y="9163"/>
                    <a:pt x="5521" y="9318"/>
                    <a:pt x="6649" y="9318"/>
                  </a:cubicBezTo>
                  <a:cubicBezTo>
                    <a:pt x="8094" y="9318"/>
                    <a:pt x="9592" y="9063"/>
                    <a:pt x="10975" y="8718"/>
                  </a:cubicBezTo>
                  <a:lnTo>
                    <a:pt x="10975" y="8718"/>
                  </a:lnTo>
                  <a:lnTo>
                    <a:pt x="9264" y="9159"/>
                  </a:lnTo>
                  <a:cubicBezTo>
                    <a:pt x="9282" y="9159"/>
                    <a:pt x="9301" y="9159"/>
                    <a:pt x="9319" y="9159"/>
                  </a:cubicBezTo>
                  <a:cubicBezTo>
                    <a:pt x="12107" y="9159"/>
                    <a:pt x="14699" y="7684"/>
                    <a:pt x="15325" y="5847"/>
                  </a:cubicBezTo>
                  <a:cubicBezTo>
                    <a:pt x="15956" y="3998"/>
                    <a:pt x="14658" y="1956"/>
                    <a:pt x="12336" y="888"/>
                  </a:cubicBezTo>
                  <a:cubicBezTo>
                    <a:pt x="11043" y="293"/>
                    <a:pt x="9484" y="1"/>
                    <a:pt x="7919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913" name="Google Shape;913;p62"/>
            <p:cNvSpPr/>
            <p:nvPr/>
          </p:nvSpPr>
          <p:spPr>
            <a:xfrm>
              <a:off x="4913100" y="4172025"/>
              <a:ext cx="21550" cy="252625"/>
            </a:xfrm>
            <a:custGeom>
              <a:avLst/>
              <a:gdLst/>
              <a:ahLst/>
              <a:cxnLst/>
              <a:rect l="l" t="t" r="r" b="b"/>
              <a:pathLst>
                <a:path w="862" h="10105" extrusionOk="0">
                  <a:moveTo>
                    <a:pt x="647" y="1"/>
                  </a:moveTo>
                  <a:cubicBezTo>
                    <a:pt x="568" y="1"/>
                    <a:pt x="488" y="21"/>
                    <a:pt x="479" y="59"/>
                  </a:cubicBezTo>
                  <a:cubicBezTo>
                    <a:pt x="398" y="424"/>
                    <a:pt x="398" y="795"/>
                    <a:pt x="378" y="1162"/>
                  </a:cubicBezTo>
                  <a:cubicBezTo>
                    <a:pt x="358" y="1520"/>
                    <a:pt x="339" y="1878"/>
                    <a:pt x="319" y="2236"/>
                  </a:cubicBezTo>
                  <a:cubicBezTo>
                    <a:pt x="246" y="3531"/>
                    <a:pt x="222" y="4827"/>
                    <a:pt x="174" y="6123"/>
                  </a:cubicBezTo>
                  <a:cubicBezTo>
                    <a:pt x="150" y="6771"/>
                    <a:pt x="125" y="7421"/>
                    <a:pt x="101" y="8071"/>
                  </a:cubicBezTo>
                  <a:cubicBezTo>
                    <a:pt x="90" y="8394"/>
                    <a:pt x="77" y="8717"/>
                    <a:pt x="66" y="9039"/>
                  </a:cubicBezTo>
                  <a:cubicBezTo>
                    <a:pt x="60" y="9200"/>
                    <a:pt x="53" y="9362"/>
                    <a:pt x="42" y="9523"/>
                  </a:cubicBezTo>
                  <a:cubicBezTo>
                    <a:pt x="33" y="9685"/>
                    <a:pt x="0" y="9848"/>
                    <a:pt x="55" y="10008"/>
                  </a:cubicBezTo>
                  <a:cubicBezTo>
                    <a:pt x="71" y="10056"/>
                    <a:pt x="145" y="10096"/>
                    <a:pt x="290" y="10105"/>
                  </a:cubicBezTo>
                  <a:cubicBezTo>
                    <a:pt x="298" y="10105"/>
                    <a:pt x="306" y="10105"/>
                    <a:pt x="315" y="10105"/>
                  </a:cubicBezTo>
                  <a:cubicBezTo>
                    <a:pt x="430" y="10105"/>
                    <a:pt x="568" y="10077"/>
                    <a:pt x="587" y="10034"/>
                  </a:cubicBezTo>
                  <a:cubicBezTo>
                    <a:pt x="661" y="9845"/>
                    <a:pt x="639" y="9659"/>
                    <a:pt x="639" y="9470"/>
                  </a:cubicBezTo>
                  <a:cubicBezTo>
                    <a:pt x="639" y="9290"/>
                    <a:pt x="644" y="9112"/>
                    <a:pt x="650" y="8932"/>
                  </a:cubicBezTo>
                  <a:cubicBezTo>
                    <a:pt x="659" y="8569"/>
                    <a:pt x="668" y="8205"/>
                    <a:pt x="679" y="7843"/>
                  </a:cubicBezTo>
                  <a:cubicBezTo>
                    <a:pt x="712" y="6547"/>
                    <a:pt x="747" y="5253"/>
                    <a:pt x="784" y="3958"/>
                  </a:cubicBezTo>
                  <a:cubicBezTo>
                    <a:pt x="802" y="3307"/>
                    <a:pt x="826" y="2657"/>
                    <a:pt x="833" y="2007"/>
                  </a:cubicBezTo>
                  <a:cubicBezTo>
                    <a:pt x="835" y="1684"/>
                    <a:pt x="846" y="1366"/>
                    <a:pt x="841" y="1041"/>
                  </a:cubicBezTo>
                  <a:cubicBezTo>
                    <a:pt x="835" y="714"/>
                    <a:pt x="861" y="384"/>
                    <a:pt x="809" y="59"/>
                  </a:cubicBezTo>
                  <a:cubicBezTo>
                    <a:pt x="802" y="20"/>
                    <a:pt x="725" y="1"/>
                    <a:pt x="647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914" name="Google Shape;914;p62"/>
            <p:cNvSpPr/>
            <p:nvPr/>
          </p:nvSpPr>
          <p:spPr>
            <a:xfrm>
              <a:off x="4796700" y="4226125"/>
              <a:ext cx="220125" cy="95400"/>
            </a:xfrm>
            <a:custGeom>
              <a:avLst/>
              <a:gdLst/>
              <a:ahLst/>
              <a:cxnLst/>
              <a:rect l="l" t="t" r="r" b="b"/>
              <a:pathLst>
                <a:path w="8805" h="3816" extrusionOk="0">
                  <a:moveTo>
                    <a:pt x="303" y="1"/>
                  </a:moveTo>
                  <a:cubicBezTo>
                    <a:pt x="152" y="1"/>
                    <a:pt x="1" y="117"/>
                    <a:pt x="108" y="217"/>
                  </a:cubicBezTo>
                  <a:cubicBezTo>
                    <a:pt x="429" y="515"/>
                    <a:pt x="795" y="792"/>
                    <a:pt x="1142" y="1078"/>
                  </a:cubicBezTo>
                  <a:lnTo>
                    <a:pt x="2150" y="1908"/>
                  </a:lnTo>
                  <a:cubicBezTo>
                    <a:pt x="2752" y="2402"/>
                    <a:pt x="3339" y="2905"/>
                    <a:pt x="3956" y="3390"/>
                  </a:cubicBezTo>
                  <a:cubicBezTo>
                    <a:pt x="4186" y="3570"/>
                    <a:pt x="4498" y="3759"/>
                    <a:pt x="4856" y="3805"/>
                  </a:cubicBezTo>
                  <a:cubicBezTo>
                    <a:pt x="4906" y="3812"/>
                    <a:pt x="4956" y="3816"/>
                    <a:pt x="5006" y="3816"/>
                  </a:cubicBezTo>
                  <a:cubicBezTo>
                    <a:pt x="5128" y="3816"/>
                    <a:pt x="5250" y="3795"/>
                    <a:pt x="5366" y="3752"/>
                  </a:cubicBezTo>
                  <a:cubicBezTo>
                    <a:pt x="5541" y="3687"/>
                    <a:pt x="5649" y="3570"/>
                    <a:pt x="5752" y="3458"/>
                  </a:cubicBezTo>
                  <a:cubicBezTo>
                    <a:pt x="6266" y="2911"/>
                    <a:pt x="6778" y="2362"/>
                    <a:pt x="7283" y="1813"/>
                  </a:cubicBezTo>
                  <a:cubicBezTo>
                    <a:pt x="7790" y="1264"/>
                    <a:pt x="8315" y="722"/>
                    <a:pt x="8765" y="151"/>
                  </a:cubicBezTo>
                  <a:lnTo>
                    <a:pt x="8765" y="149"/>
                  </a:lnTo>
                  <a:cubicBezTo>
                    <a:pt x="8804" y="99"/>
                    <a:pt x="8748" y="59"/>
                    <a:pt x="8685" y="59"/>
                  </a:cubicBezTo>
                  <a:cubicBezTo>
                    <a:pt x="8657" y="59"/>
                    <a:pt x="8627" y="67"/>
                    <a:pt x="8605" y="87"/>
                  </a:cubicBezTo>
                  <a:cubicBezTo>
                    <a:pt x="7988" y="636"/>
                    <a:pt x="7445" y="1227"/>
                    <a:pt x="6885" y="1802"/>
                  </a:cubicBezTo>
                  <a:cubicBezTo>
                    <a:pt x="6383" y="2318"/>
                    <a:pt x="5888" y="2839"/>
                    <a:pt x="5388" y="3357"/>
                  </a:cubicBezTo>
                  <a:cubicBezTo>
                    <a:pt x="5306" y="3441"/>
                    <a:pt x="5216" y="3535"/>
                    <a:pt x="5054" y="3546"/>
                  </a:cubicBezTo>
                  <a:cubicBezTo>
                    <a:pt x="5039" y="3547"/>
                    <a:pt x="5025" y="3548"/>
                    <a:pt x="5010" y="3548"/>
                  </a:cubicBezTo>
                  <a:cubicBezTo>
                    <a:pt x="4878" y="3548"/>
                    <a:pt x="4748" y="3497"/>
                    <a:pt x="4643" y="3447"/>
                  </a:cubicBezTo>
                  <a:cubicBezTo>
                    <a:pt x="4322" y="3300"/>
                    <a:pt x="4096" y="3065"/>
                    <a:pt x="3855" y="2865"/>
                  </a:cubicBezTo>
                  <a:lnTo>
                    <a:pt x="2150" y="1453"/>
                  </a:lnTo>
                  <a:lnTo>
                    <a:pt x="1301" y="746"/>
                  </a:lnTo>
                  <a:cubicBezTo>
                    <a:pt x="1017" y="511"/>
                    <a:pt x="743" y="267"/>
                    <a:pt x="442" y="43"/>
                  </a:cubicBezTo>
                  <a:cubicBezTo>
                    <a:pt x="402" y="13"/>
                    <a:pt x="352" y="1"/>
                    <a:pt x="303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915" name="Google Shape;915;p62"/>
            <p:cNvSpPr/>
            <p:nvPr/>
          </p:nvSpPr>
          <p:spPr>
            <a:xfrm>
              <a:off x="4891150" y="4191050"/>
              <a:ext cx="85575" cy="46575"/>
            </a:xfrm>
            <a:custGeom>
              <a:avLst/>
              <a:gdLst/>
              <a:ahLst/>
              <a:cxnLst/>
              <a:rect l="l" t="t" r="r" b="b"/>
              <a:pathLst>
                <a:path w="3423" h="1863" extrusionOk="0">
                  <a:moveTo>
                    <a:pt x="3315" y="0"/>
                  </a:moveTo>
                  <a:cubicBezTo>
                    <a:pt x="3297" y="0"/>
                    <a:pt x="3278" y="4"/>
                    <a:pt x="3261" y="14"/>
                  </a:cubicBezTo>
                  <a:cubicBezTo>
                    <a:pt x="3208" y="49"/>
                    <a:pt x="3147" y="69"/>
                    <a:pt x="3099" y="104"/>
                  </a:cubicBezTo>
                  <a:cubicBezTo>
                    <a:pt x="3050" y="137"/>
                    <a:pt x="3009" y="172"/>
                    <a:pt x="2960" y="205"/>
                  </a:cubicBezTo>
                  <a:cubicBezTo>
                    <a:pt x="2870" y="269"/>
                    <a:pt x="2785" y="335"/>
                    <a:pt x="2701" y="401"/>
                  </a:cubicBezTo>
                  <a:cubicBezTo>
                    <a:pt x="2536" y="537"/>
                    <a:pt x="2374" y="673"/>
                    <a:pt x="2211" y="809"/>
                  </a:cubicBezTo>
                  <a:cubicBezTo>
                    <a:pt x="1942" y="1039"/>
                    <a:pt x="1669" y="1266"/>
                    <a:pt x="1405" y="1499"/>
                  </a:cubicBezTo>
                  <a:lnTo>
                    <a:pt x="1405" y="1499"/>
                  </a:lnTo>
                  <a:lnTo>
                    <a:pt x="920" y="1104"/>
                  </a:lnTo>
                  <a:lnTo>
                    <a:pt x="602" y="844"/>
                  </a:lnTo>
                  <a:cubicBezTo>
                    <a:pt x="551" y="803"/>
                    <a:pt x="503" y="761"/>
                    <a:pt x="450" y="721"/>
                  </a:cubicBezTo>
                  <a:cubicBezTo>
                    <a:pt x="386" y="673"/>
                    <a:pt x="323" y="656"/>
                    <a:pt x="239" y="627"/>
                  </a:cubicBezTo>
                  <a:cubicBezTo>
                    <a:pt x="219" y="621"/>
                    <a:pt x="197" y="618"/>
                    <a:pt x="175" y="618"/>
                  </a:cubicBezTo>
                  <a:cubicBezTo>
                    <a:pt x="85" y="618"/>
                    <a:pt x="0" y="669"/>
                    <a:pt x="31" y="737"/>
                  </a:cubicBezTo>
                  <a:cubicBezTo>
                    <a:pt x="55" y="794"/>
                    <a:pt x="66" y="847"/>
                    <a:pt x="121" y="895"/>
                  </a:cubicBezTo>
                  <a:cubicBezTo>
                    <a:pt x="176" y="941"/>
                    <a:pt x="235" y="985"/>
                    <a:pt x="290" y="1031"/>
                  </a:cubicBezTo>
                  <a:lnTo>
                    <a:pt x="610" y="1290"/>
                  </a:lnTo>
                  <a:lnTo>
                    <a:pt x="1269" y="1822"/>
                  </a:lnTo>
                  <a:cubicBezTo>
                    <a:pt x="1305" y="1851"/>
                    <a:pt x="1352" y="1863"/>
                    <a:pt x="1399" y="1863"/>
                  </a:cubicBezTo>
                  <a:cubicBezTo>
                    <a:pt x="1473" y="1863"/>
                    <a:pt x="1549" y="1833"/>
                    <a:pt x="1592" y="1793"/>
                  </a:cubicBezTo>
                  <a:cubicBezTo>
                    <a:pt x="1897" y="1512"/>
                    <a:pt x="2194" y="1224"/>
                    <a:pt x="2503" y="943"/>
                  </a:cubicBezTo>
                  <a:cubicBezTo>
                    <a:pt x="2659" y="803"/>
                    <a:pt x="2815" y="664"/>
                    <a:pt x="2971" y="524"/>
                  </a:cubicBezTo>
                  <a:cubicBezTo>
                    <a:pt x="3042" y="458"/>
                    <a:pt x="3110" y="390"/>
                    <a:pt x="3178" y="322"/>
                  </a:cubicBezTo>
                  <a:cubicBezTo>
                    <a:pt x="3215" y="284"/>
                    <a:pt x="3257" y="247"/>
                    <a:pt x="3294" y="208"/>
                  </a:cubicBezTo>
                  <a:cubicBezTo>
                    <a:pt x="3331" y="168"/>
                    <a:pt x="3351" y="124"/>
                    <a:pt x="3386" y="85"/>
                  </a:cubicBezTo>
                  <a:lnTo>
                    <a:pt x="3386" y="80"/>
                  </a:lnTo>
                  <a:cubicBezTo>
                    <a:pt x="3423" y="39"/>
                    <a:pt x="3371" y="0"/>
                    <a:pt x="3315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916" name="Google Shape;916;p62"/>
            <p:cNvSpPr/>
            <p:nvPr/>
          </p:nvSpPr>
          <p:spPr>
            <a:xfrm>
              <a:off x="5026525" y="4154875"/>
              <a:ext cx="7775" cy="6075"/>
            </a:xfrm>
            <a:custGeom>
              <a:avLst/>
              <a:gdLst/>
              <a:ahLst/>
              <a:cxnLst/>
              <a:rect l="l" t="t" r="r" b="b"/>
              <a:pathLst>
                <a:path w="311" h="243" extrusionOk="0">
                  <a:moveTo>
                    <a:pt x="157" y="1"/>
                  </a:moveTo>
                  <a:cubicBezTo>
                    <a:pt x="1" y="1"/>
                    <a:pt x="1" y="242"/>
                    <a:pt x="157" y="242"/>
                  </a:cubicBezTo>
                  <a:cubicBezTo>
                    <a:pt x="310" y="242"/>
                    <a:pt x="310" y="1"/>
                    <a:pt x="15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917" name="Google Shape;917;p62"/>
            <p:cNvSpPr/>
            <p:nvPr/>
          </p:nvSpPr>
          <p:spPr>
            <a:xfrm>
              <a:off x="5002150" y="4132700"/>
              <a:ext cx="9075" cy="8975"/>
            </a:xfrm>
            <a:custGeom>
              <a:avLst/>
              <a:gdLst/>
              <a:ahLst/>
              <a:cxnLst/>
              <a:rect l="l" t="t" r="r" b="b"/>
              <a:pathLst>
                <a:path w="363" h="359" extrusionOk="0">
                  <a:moveTo>
                    <a:pt x="207" y="1"/>
                  </a:moveTo>
                  <a:cubicBezTo>
                    <a:pt x="150" y="1"/>
                    <a:pt x="99" y="29"/>
                    <a:pt x="73" y="77"/>
                  </a:cubicBezTo>
                  <a:lnTo>
                    <a:pt x="22" y="143"/>
                  </a:lnTo>
                  <a:cubicBezTo>
                    <a:pt x="11" y="159"/>
                    <a:pt x="7" y="178"/>
                    <a:pt x="5" y="196"/>
                  </a:cubicBezTo>
                  <a:cubicBezTo>
                    <a:pt x="1" y="216"/>
                    <a:pt x="3" y="236"/>
                    <a:pt x="9" y="253"/>
                  </a:cubicBezTo>
                  <a:lnTo>
                    <a:pt x="22" y="288"/>
                  </a:lnTo>
                  <a:lnTo>
                    <a:pt x="44" y="317"/>
                  </a:lnTo>
                  <a:cubicBezTo>
                    <a:pt x="58" y="330"/>
                    <a:pt x="73" y="341"/>
                    <a:pt x="91" y="345"/>
                  </a:cubicBezTo>
                  <a:cubicBezTo>
                    <a:pt x="102" y="352"/>
                    <a:pt x="115" y="356"/>
                    <a:pt x="128" y="356"/>
                  </a:cubicBezTo>
                  <a:cubicBezTo>
                    <a:pt x="135" y="358"/>
                    <a:pt x="142" y="359"/>
                    <a:pt x="149" y="359"/>
                  </a:cubicBezTo>
                  <a:cubicBezTo>
                    <a:pt x="160" y="359"/>
                    <a:pt x="172" y="357"/>
                    <a:pt x="183" y="354"/>
                  </a:cubicBezTo>
                  <a:lnTo>
                    <a:pt x="218" y="339"/>
                  </a:lnTo>
                  <a:lnTo>
                    <a:pt x="284" y="288"/>
                  </a:lnTo>
                  <a:cubicBezTo>
                    <a:pt x="332" y="262"/>
                    <a:pt x="361" y="211"/>
                    <a:pt x="361" y="157"/>
                  </a:cubicBezTo>
                  <a:cubicBezTo>
                    <a:pt x="363" y="135"/>
                    <a:pt x="356" y="115"/>
                    <a:pt x="347" y="95"/>
                  </a:cubicBezTo>
                  <a:cubicBezTo>
                    <a:pt x="341" y="77"/>
                    <a:pt x="330" y="60"/>
                    <a:pt x="315" y="47"/>
                  </a:cubicBezTo>
                  <a:cubicBezTo>
                    <a:pt x="297" y="27"/>
                    <a:pt x="273" y="14"/>
                    <a:pt x="246" y="5"/>
                  </a:cubicBezTo>
                  <a:lnTo>
                    <a:pt x="20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918" name="Google Shape;918;p62"/>
            <p:cNvSpPr/>
            <p:nvPr/>
          </p:nvSpPr>
          <p:spPr>
            <a:xfrm>
              <a:off x="4996825" y="4178825"/>
              <a:ext cx="10300" cy="7975"/>
            </a:xfrm>
            <a:custGeom>
              <a:avLst/>
              <a:gdLst/>
              <a:ahLst/>
              <a:cxnLst/>
              <a:rect l="l" t="t" r="r" b="b"/>
              <a:pathLst>
                <a:path w="412" h="319" extrusionOk="0">
                  <a:moveTo>
                    <a:pt x="205" y="0"/>
                  </a:moveTo>
                  <a:cubicBezTo>
                    <a:pt x="0" y="0"/>
                    <a:pt x="0" y="319"/>
                    <a:pt x="205" y="319"/>
                  </a:cubicBezTo>
                  <a:cubicBezTo>
                    <a:pt x="411" y="319"/>
                    <a:pt x="411" y="0"/>
                    <a:pt x="20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</p:grpSp>
      <p:pic>
        <p:nvPicPr>
          <p:cNvPr id="2" name="Picture 1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62853F57-E789-D0DC-9413-C5B76F13194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2711" y="4186241"/>
            <a:ext cx="3759447" cy="906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17632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8" name="Google Shape;988;p64"/>
          <p:cNvSpPr txBox="1">
            <a:spLocks noGrp="1"/>
          </p:cNvSpPr>
          <p:nvPr>
            <p:ph type="title"/>
          </p:nvPr>
        </p:nvSpPr>
        <p:spPr>
          <a:xfrm>
            <a:off x="779198" y="446560"/>
            <a:ext cx="9450237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2800" b="1">
                <a:solidFill>
                  <a:srgbClr val="FF725E"/>
                </a:solidFill>
                <a:latin typeface="Tenorite"/>
              </a:rPr>
              <a:t>What is an equity lens?</a:t>
            </a:r>
            <a:endParaRPr lang="en-US"/>
          </a:p>
        </p:txBody>
      </p:sp>
      <p:grpSp>
        <p:nvGrpSpPr>
          <p:cNvPr id="1023" name="Google Shape;1023;p64"/>
          <p:cNvGrpSpPr/>
          <p:nvPr/>
        </p:nvGrpSpPr>
        <p:grpSpPr>
          <a:xfrm>
            <a:off x="11419237" y="171789"/>
            <a:ext cx="549071" cy="548208"/>
            <a:chOff x="5721625" y="4984150"/>
            <a:chExt cx="196950" cy="196650"/>
          </a:xfrm>
        </p:grpSpPr>
        <p:sp>
          <p:nvSpPr>
            <p:cNvPr id="1024" name="Google Shape;1024;p64"/>
            <p:cNvSpPr/>
            <p:nvPr/>
          </p:nvSpPr>
          <p:spPr>
            <a:xfrm>
              <a:off x="5847225" y="4984150"/>
              <a:ext cx="22325" cy="185825"/>
            </a:xfrm>
            <a:custGeom>
              <a:avLst/>
              <a:gdLst/>
              <a:ahLst/>
              <a:cxnLst/>
              <a:rect l="l" t="t" r="r" b="b"/>
              <a:pathLst>
                <a:path w="893" h="7433" extrusionOk="0">
                  <a:moveTo>
                    <a:pt x="732" y="1"/>
                  </a:moveTo>
                  <a:lnTo>
                    <a:pt x="732" y="1"/>
                  </a:lnTo>
                  <a:cubicBezTo>
                    <a:pt x="181" y="2414"/>
                    <a:pt x="1" y="4898"/>
                    <a:pt x="199" y="7364"/>
                  </a:cubicBezTo>
                  <a:lnTo>
                    <a:pt x="462" y="7432"/>
                  </a:lnTo>
                  <a:cubicBezTo>
                    <a:pt x="803" y="4971"/>
                    <a:pt x="893" y="2480"/>
                    <a:pt x="732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025" name="Google Shape;1025;p64"/>
            <p:cNvSpPr/>
            <p:nvPr/>
          </p:nvSpPr>
          <p:spPr>
            <a:xfrm>
              <a:off x="5787275" y="4985750"/>
              <a:ext cx="50100" cy="186200"/>
            </a:xfrm>
            <a:custGeom>
              <a:avLst/>
              <a:gdLst/>
              <a:ahLst/>
              <a:cxnLst/>
              <a:rect l="l" t="t" r="r" b="b"/>
              <a:pathLst>
                <a:path w="2004" h="7448" extrusionOk="0">
                  <a:moveTo>
                    <a:pt x="1" y="0"/>
                  </a:moveTo>
                  <a:lnTo>
                    <a:pt x="1" y="0"/>
                  </a:lnTo>
                  <a:cubicBezTo>
                    <a:pt x="666" y="2447"/>
                    <a:pt x="1294" y="4902"/>
                    <a:pt x="1881" y="7368"/>
                  </a:cubicBezTo>
                  <a:lnTo>
                    <a:pt x="1997" y="7447"/>
                  </a:lnTo>
                  <a:cubicBezTo>
                    <a:pt x="2004" y="5945"/>
                    <a:pt x="1835" y="4448"/>
                    <a:pt x="1496" y="2983"/>
                  </a:cubicBezTo>
                  <a:cubicBezTo>
                    <a:pt x="1239" y="1882"/>
                    <a:pt x="851" y="747"/>
                    <a:pt x="1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026" name="Google Shape;1026;p64"/>
            <p:cNvSpPr/>
            <p:nvPr/>
          </p:nvSpPr>
          <p:spPr>
            <a:xfrm>
              <a:off x="5777075" y="5069900"/>
              <a:ext cx="24950" cy="110900"/>
            </a:xfrm>
            <a:custGeom>
              <a:avLst/>
              <a:gdLst/>
              <a:ahLst/>
              <a:cxnLst/>
              <a:rect l="l" t="t" r="r" b="b"/>
              <a:pathLst>
                <a:path w="998" h="4436" extrusionOk="0">
                  <a:moveTo>
                    <a:pt x="688" y="1"/>
                  </a:moveTo>
                  <a:cubicBezTo>
                    <a:pt x="312" y="1453"/>
                    <a:pt x="81" y="2937"/>
                    <a:pt x="0" y="4435"/>
                  </a:cubicBezTo>
                  <a:lnTo>
                    <a:pt x="562" y="4231"/>
                  </a:lnTo>
                  <a:cubicBezTo>
                    <a:pt x="857" y="3392"/>
                    <a:pt x="905" y="2489"/>
                    <a:pt x="951" y="1602"/>
                  </a:cubicBezTo>
                  <a:cubicBezTo>
                    <a:pt x="980" y="1053"/>
                    <a:pt x="997" y="458"/>
                    <a:pt x="688" y="1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027" name="Google Shape;1027;p64"/>
            <p:cNvSpPr/>
            <p:nvPr/>
          </p:nvSpPr>
          <p:spPr>
            <a:xfrm>
              <a:off x="5721625" y="5011325"/>
              <a:ext cx="47775" cy="157175"/>
            </a:xfrm>
            <a:custGeom>
              <a:avLst/>
              <a:gdLst/>
              <a:ahLst/>
              <a:cxnLst/>
              <a:rect l="l" t="t" r="r" b="b"/>
              <a:pathLst>
                <a:path w="1911" h="6287" extrusionOk="0">
                  <a:moveTo>
                    <a:pt x="59" y="1"/>
                  </a:moveTo>
                  <a:lnTo>
                    <a:pt x="59" y="1"/>
                  </a:lnTo>
                  <a:cubicBezTo>
                    <a:pt x="26" y="1349"/>
                    <a:pt x="0" y="2735"/>
                    <a:pt x="452" y="4006"/>
                  </a:cubicBezTo>
                  <a:cubicBezTo>
                    <a:pt x="727" y="4775"/>
                    <a:pt x="1173" y="5487"/>
                    <a:pt x="1353" y="6284"/>
                  </a:cubicBezTo>
                  <a:lnTo>
                    <a:pt x="1770" y="6286"/>
                  </a:lnTo>
                  <a:cubicBezTo>
                    <a:pt x="1900" y="5987"/>
                    <a:pt x="1911" y="5651"/>
                    <a:pt x="1902" y="5326"/>
                  </a:cubicBezTo>
                  <a:cubicBezTo>
                    <a:pt x="1845" y="3405"/>
                    <a:pt x="1204" y="1547"/>
                    <a:pt x="59" y="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  <p:sp>
          <p:nvSpPr>
            <p:cNvPr id="1028" name="Google Shape;1028;p64"/>
            <p:cNvSpPr/>
            <p:nvPr/>
          </p:nvSpPr>
          <p:spPr>
            <a:xfrm>
              <a:off x="5877750" y="5044825"/>
              <a:ext cx="40825" cy="129000"/>
            </a:xfrm>
            <a:custGeom>
              <a:avLst/>
              <a:gdLst/>
              <a:ahLst/>
              <a:cxnLst/>
              <a:rect l="l" t="t" r="r" b="b"/>
              <a:pathLst>
                <a:path w="1633" h="5160" extrusionOk="0">
                  <a:moveTo>
                    <a:pt x="1213" y="0"/>
                  </a:moveTo>
                  <a:lnTo>
                    <a:pt x="1213" y="0"/>
                  </a:lnTo>
                  <a:cubicBezTo>
                    <a:pt x="974" y="907"/>
                    <a:pt x="737" y="1812"/>
                    <a:pt x="497" y="2719"/>
                  </a:cubicBezTo>
                  <a:cubicBezTo>
                    <a:pt x="374" y="3185"/>
                    <a:pt x="249" y="3655"/>
                    <a:pt x="225" y="4136"/>
                  </a:cubicBezTo>
                  <a:cubicBezTo>
                    <a:pt x="205" y="4491"/>
                    <a:pt x="229" y="4887"/>
                    <a:pt x="1" y="5159"/>
                  </a:cubicBezTo>
                  <a:lnTo>
                    <a:pt x="447" y="5027"/>
                  </a:lnTo>
                  <a:cubicBezTo>
                    <a:pt x="1352" y="3541"/>
                    <a:pt x="1633" y="1689"/>
                    <a:pt x="1213" y="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89"/>
            </a:p>
          </p:txBody>
        </p:sp>
      </p:grpSp>
      <p:sp>
        <p:nvSpPr>
          <p:cNvPr id="44" name="Google Shape;896;p62">
            <a:extLst>
              <a:ext uri="{FF2B5EF4-FFF2-40B4-BE49-F238E27FC236}">
                <a16:creationId xmlns:a16="http://schemas.microsoft.com/office/drawing/2014/main" id="{A5BE3C03-F718-4413-1294-7E0E29A89321}"/>
              </a:ext>
            </a:extLst>
          </p:cNvPr>
          <p:cNvSpPr txBox="1">
            <a:spLocks/>
          </p:cNvSpPr>
          <p:nvPr/>
        </p:nvSpPr>
        <p:spPr>
          <a:xfrm>
            <a:off x="781185" y="1714964"/>
            <a:ext cx="9606912" cy="2077796"/>
          </a:xfrm>
          <a:prstGeom prst="rect">
            <a:avLst/>
          </a:prstGeom>
        </p:spPr>
        <p:txBody>
          <a:bodyPr spcFirstLastPara="1" wrap="square" lIns="121900" tIns="121900" rIns="121900" bIns="12190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2200">
                <a:latin typeface="Tenorite"/>
              </a:rPr>
              <a:t>An equity lens means </a:t>
            </a:r>
            <a:r>
              <a:rPr lang="en-US" sz="2200" b="1">
                <a:latin typeface="Tenorite"/>
              </a:rPr>
              <a:t>intentionally</a:t>
            </a:r>
            <a:r>
              <a:rPr lang="en-US" sz="2200">
                <a:latin typeface="Tenorite"/>
              </a:rPr>
              <a:t> looking at the </a:t>
            </a:r>
            <a:r>
              <a:rPr lang="en-US" sz="2200" b="1">
                <a:latin typeface="Tenorite"/>
              </a:rPr>
              <a:t>potential positive and negative impacts of proposed messages</a:t>
            </a:r>
            <a:r>
              <a:rPr lang="en-US" sz="2200">
                <a:latin typeface="Tenorite"/>
              </a:rPr>
              <a:t>. Use a health equity lens in communication planning, development, and dissemination, to be inclusive, avoid bias and stigmatization, and effectively reach intended audiences.  (CDC, 2022) </a:t>
            </a:r>
          </a:p>
        </p:txBody>
      </p:sp>
      <p:grpSp>
        <p:nvGrpSpPr>
          <p:cNvPr id="2" name="Google Shape;1258;p38">
            <a:extLst>
              <a:ext uri="{FF2B5EF4-FFF2-40B4-BE49-F238E27FC236}">
                <a16:creationId xmlns:a16="http://schemas.microsoft.com/office/drawing/2014/main" id="{96F5DC93-A978-CEC3-E26D-182C82E08D95}"/>
              </a:ext>
            </a:extLst>
          </p:cNvPr>
          <p:cNvGrpSpPr/>
          <p:nvPr/>
        </p:nvGrpSpPr>
        <p:grpSpPr>
          <a:xfrm>
            <a:off x="9391683" y="3237714"/>
            <a:ext cx="2304769" cy="2695954"/>
            <a:chOff x="5510964" y="1006770"/>
            <a:chExt cx="3058213" cy="3598642"/>
          </a:xfrm>
        </p:grpSpPr>
        <p:grpSp>
          <p:nvGrpSpPr>
            <p:cNvPr id="3" name="Google Shape;1259;p38">
              <a:extLst>
                <a:ext uri="{FF2B5EF4-FFF2-40B4-BE49-F238E27FC236}">
                  <a16:creationId xmlns:a16="http://schemas.microsoft.com/office/drawing/2014/main" id="{77E1B576-E89A-AD51-02E0-E975C3F1D462}"/>
                </a:ext>
              </a:extLst>
            </p:cNvPr>
            <p:cNvGrpSpPr/>
            <p:nvPr/>
          </p:nvGrpSpPr>
          <p:grpSpPr>
            <a:xfrm>
              <a:off x="8037216" y="3877748"/>
              <a:ext cx="531961" cy="582363"/>
              <a:chOff x="8037216" y="3877748"/>
              <a:chExt cx="531961" cy="582363"/>
            </a:xfrm>
          </p:grpSpPr>
          <p:grpSp>
            <p:nvGrpSpPr>
              <p:cNvPr id="1039" name="Google Shape;1260;p38">
                <a:extLst>
                  <a:ext uri="{FF2B5EF4-FFF2-40B4-BE49-F238E27FC236}">
                    <a16:creationId xmlns:a16="http://schemas.microsoft.com/office/drawing/2014/main" id="{8647A629-BB75-735A-35D6-830111FE0A04}"/>
                  </a:ext>
                </a:extLst>
              </p:cNvPr>
              <p:cNvGrpSpPr/>
              <p:nvPr/>
            </p:nvGrpSpPr>
            <p:grpSpPr>
              <a:xfrm rot="-1049198">
                <a:off x="8037216" y="3997385"/>
                <a:ext cx="531961" cy="462726"/>
                <a:chOff x="8037277" y="3997421"/>
                <a:chExt cx="174010" cy="151357"/>
              </a:xfrm>
            </p:grpSpPr>
            <p:sp>
              <p:nvSpPr>
                <p:cNvPr id="1065" name="Google Shape;1261;p38">
                  <a:extLst>
                    <a:ext uri="{FF2B5EF4-FFF2-40B4-BE49-F238E27FC236}">
                      <a16:creationId xmlns:a16="http://schemas.microsoft.com/office/drawing/2014/main" id="{E54451FC-953B-4B96-DDFF-4733A644C8BB}"/>
                    </a:ext>
                  </a:extLst>
                </p:cNvPr>
                <p:cNvSpPr/>
                <p:nvPr/>
              </p:nvSpPr>
              <p:spPr>
                <a:xfrm>
                  <a:off x="8144055" y="4026942"/>
                  <a:ext cx="67232" cy="197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76" h="462" extrusionOk="0">
                      <a:moveTo>
                        <a:pt x="714" y="0"/>
                      </a:moveTo>
                      <a:cubicBezTo>
                        <a:pt x="650" y="0"/>
                        <a:pt x="586" y="4"/>
                        <a:pt x="523" y="14"/>
                      </a:cubicBezTo>
                      <a:cubicBezTo>
                        <a:pt x="317" y="44"/>
                        <a:pt x="113" y="142"/>
                        <a:pt x="1" y="317"/>
                      </a:cubicBezTo>
                      <a:cubicBezTo>
                        <a:pt x="55" y="357"/>
                        <a:pt x="241" y="442"/>
                        <a:pt x="307" y="451"/>
                      </a:cubicBezTo>
                      <a:cubicBezTo>
                        <a:pt x="365" y="458"/>
                        <a:pt x="421" y="461"/>
                        <a:pt x="476" y="461"/>
                      </a:cubicBezTo>
                      <a:cubicBezTo>
                        <a:pt x="684" y="461"/>
                        <a:pt x="871" y="414"/>
                        <a:pt x="1085" y="342"/>
                      </a:cubicBezTo>
                      <a:cubicBezTo>
                        <a:pt x="1255" y="284"/>
                        <a:pt x="1417" y="187"/>
                        <a:pt x="1576" y="101"/>
                      </a:cubicBezTo>
                      <a:lnTo>
                        <a:pt x="1143" y="41"/>
                      </a:lnTo>
                      <a:cubicBezTo>
                        <a:pt x="1001" y="20"/>
                        <a:pt x="857" y="0"/>
                        <a:pt x="714" y="0"/>
                      </a:cubicBezTo>
                      <a:close/>
                    </a:path>
                  </a:pathLst>
                </a:custGeom>
                <a:solidFill>
                  <a:srgbClr val="FF71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66" name="Google Shape;1262;p38">
                  <a:extLst>
                    <a:ext uri="{FF2B5EF4-FFF2-40B4-BE49-F238E27FC236}">
                      <a16:creationId xmlns:a16="http://schemas.microsoft.com/office/drawing/2014/main" id="{EACA7214-BE2B-F562-FCD9-0D18364D52A7}"/>
                    </a:ext>
                  </a:extLst>
                </p:cNvPr>
                <p:cNvSpPr/>
                <p:nvPr/>
              </p:nvSpPr>
              <p:spPr>
                <a:xfrm>
                  <a:off x="8109714" y="3997421"/>
                  <a:ext cx="46158" cy="510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82" h="1196" extrusionOk="0">
                      <a:moveTo>
                        <a:pt x="1082" y="1"/>
                      </a:moveTo>
                      <a:lnTo>
                        <a:pt x="716" y="238"/>
                      </a:lnTo>
                      <a:cubicBezTo>
                        <a:pt x="542" y="350"/>
                        <a:pt x="364" y="466"/>
                        <a:pt x="229" y="623"/>
                      </a:cubicBezTo>
                      <a:cubicBezTo>
                        <a:pt x="92" y="781"/>
                        <a:pt x="1" y="989"/>
                        <a:pt x="30" y="1195"/>
                      </a:cubicBezTo>
                      <a:cubicBezTo>
                        <a:pt x="424" y="1168"/>
                        <a:pt x="684" y="816"/>
                        <a:pt x="867" y="505"/>
                      </a:cubicBezTo>
                      <a:cubicBezTo>
                        <a:pt x="959" y="351"/>
                        <a:pt x="1019" y="171"/>
                        <a:pt x="1082" y="1"/>
                      </a:cubicBezTo>
                      <a:close/>
                    </a:path>
                  </a:pathLst>
                </a:custGeom>
                <a:solidFill>
                  <a:srgbClr val="FF71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67" name="Google Shape;1263;p38">
                  <a:extLst>
                    <a:ext uri="{FF2B5EF4-FFF2-40B4-BE49-F238E27FC236}">
                      <a16:creationId xmlns:a16="http://schemas.microsoft.com/office/drawing/2014/main" id="{D0910E85-B9C3-2509-E6BD-30B041A09424}"/>
                    </a:ext>
                  </a:extLst>
                </p:cNvPr>
                <p:cNvSpPr/>
                <p:nvPr/>
              </p:nvSpPr>
              <p:spPr>
                <a:xfrm>
                  <a:off x="8071405" y="4010987"/>
                  <a:ext cx="34981" cy="6015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0" h="1410" extrusionOk="0">
                      <a:moveTo>
                        <a:pt x="820" y="0"/>
                      </a:moveTo>
                      <a:lnTo>
                        <a:pt x="820" y="0"/>
                      </a:lnTo>
                      <a:cubicBezTo>
                        <a:pt x="720" y="106"/>
                        <a:pt x="618" y="212"/>
                        <a:pt x="518" y="318"/>
                      </a:cubicBezTo>
                      <a:cubicBezTo>
                        <a:pt x="375" y="469"/>
                        <a:pt x="231" y="622"/>
                        <a:pt x="135" y="807"/>
                      </a:cubicBezTo>
                      <a:cubicBezTo>
                        <a:pt x="40" y="992"/>
                        <a:pt x="1" y="1216"/>
                        <a:pt x="77" y="1410"/>
                      </a:cubicBezTo>
                      <a:cubicBezTo>
                        <a:pt x="453" y="1290"/>
                        <a:pt x="624" y="888"/>
                        <a:pt x="730" y="542"/>
                      </a:cubicBezTo>
                      <a:cubicBezTo>
                        <a:pt x="782" y="369"/>
                        <a:pt x="799" y="181"/>
                        <a:pt x="820" y="0"/>
                      </a:cubicBezTo>
                      <a:close/>
                    </a:path>
                  </a:pathLst>
                </a:custGeom>
                <a:solidFill>
                  <a:srgbClr val="FF71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68" name="Google Shape;1264;p38">
                  <a:extLst>
                    <a:ext uri="{FF2B5EF4-FFF2-40B4-BE49-F238E27FC236}">
                      <a16:creationId xmlns:a16="http://schemas.microsoft.com/office/drawing/2014/main" id="{59409293-1E53-DD87-2903-D28490FFF97B}"/>
                    </a:ext>
                  </a:extLst>
                </p:cNvPr>
                <p:cNvSpPr/>
                <p:nvPr/>
              </p:nvSpPr>
              <p:spPr>
                <a:xfrm>
                  <a:off x="8037277" y="4045456"/>
                  <a:ext cx="24274" cy="659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9" h="1546" extrusionOk="0">
                      <a:moveTo>
                        <a:pt x="515" y="1"/>
                      </a:moveTo>
                      <a:cubicBezTo>
                        <a:pt x="443" y="127"/>
                        <a:pt x="371" y="254"/>
                        <a:pt x="301" y="381"/>
                      </a:cubicBezTo>
                      <a:cubicBezTo>
                        <a:pt x="198" y="561"/>
                        <a:pt x="96" y="746"/>
                        <a:pt x="48" y="948"/>
                      </a:cubicBezTo>
                      <a:cubicBezTo>
                        <a:pt x="0" y="1150"/>
                        <a:pt x="18" y="1377"/>
                        <a:pt x="140" y="1545"/>
                      </a:cubicBezTo>
                      <a:cubicBezTo>
                        <a:pt x="476" y="1340"/>
                        <a:pt x="541" y="907"/>
                        <a:pt x="559" y="546"/>
                      </a:cubicBezTo>
                      <a:cubicBezTo>
                        <a:pt x="568" y="366"/>
                        <a:pt x="537" y="180"/>
                        <a:pt x="515" y="1"/>
                      </a:cubicBezTo>
                      <a:close/>
                    </a:path>
                  </a:pathLst>
                </a:custGeom>
                <a:solidFill>
                  <a:srgbClr val="FF71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69" name="Google Shape;1265;p38">
                  <a:extLst>
                    <a:ext uri="{FF2B5EF4-FFF2-40B4-BE49-F238E27FC236}">
                      <a16:creationId xmlns:a16="http://schemas.microsoft.com/office/drawing/2014/main" id="{BDCD68CB-966B-5719-7576-356A4B8D238B}"/>
                    </a:ext>
                  </a:extLst>
                </p:cNvPr>
                <p:cNvSpPr/>
                <p:nvPr/>
              </p:nvSpPr>
              <p:spPr>
                <a:xfrm>
                  <a:off x="8114918" y="4051983"/>
                  <a:ext cx="66294" cy="2094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54" h="491" extrusionOk="0">
                      <a:moveTo>
                        <a:pt x="403" y="1"/>
                      </a:moveTo>
                      <a:cubicBezTo>
                        <a:pt x="263" y="1"/>
                        <a:pt x="126" y="31"/>
                        <a:pt x="1" y="110"/>
                      </a:cubicBezTo>
                      <a:cubicBezTo>
                        <a:pt x="98" y="295"/>
                        <a:pt x="295" y="410"/>
                        <a:pt x="496" y="456"/>
                      </a:cubicBezTo>
                      <a:cubicBezTo>
                        <a:pt x="608" y="482"/>
                        <a:pt x="723" y="491"/>
                        <a:pt x="838" y="491"/>
                      </a:cubicBezTo>
                      <a:cubicBezTo>
                        <a:pt x="932" y="491"/>
                        <a:pt x="1025" y="485"/>
                        <a:pt x="1118" y="480"/>
                      </a:cubicBezTo>
                      <a:lnTo>
                        <a:pt x="1553" y="455"/>
                      </a:lnTo>
                      <a:cubicBezTo>
                        <a:pt x="1403" y="356"/>
                        <a:pt x="1249" y="246"/>
                        <a:pt x="1082" y="174"/>
                      </a:cubicBezTo>
                      <a:cubicBezTo>
                        <a:pt x="876" y="85"/>
                        <a:pt x="635" y="1"/>
                        <a:pt x="403" y="1"/>
                      </a:cubicBezTo>
                      <a:close/>
                    </a:path>
                  </a:pathLst>
                </a:custGeom>
                <a:solidFill>
                  <a:srgbClr val="FF71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70" name="Google Shape;1266;p38">
                  <a:extLst>
                    <a:ext uri="{FF2B5EF4-FFF2-40B4-BE49-F238E27FC236}">
                      <a16:creationId xmlns:a16="http://schemas.microsoft.com/office/drawing/2014/main" id="{24247D1B-55A8-D93A-F099-2119A981E733}"/>
                    </a:ext>
                  </a:extLst>
                </p:cNvPr>
                <p:cNvSpPr/>
                <p:nvPr/>
              </p:nvSpPr>
              <p:spPr>
                <a:xfrm>
                  <a:off x="8077804" y="4072972"/>
                  <a:ext cx="67787" cy="1953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89" h="458" extrusionOk="0">
                      <a:moveTo>
                        <a:pt x="712" y="1"/>
                      </a:moveTo>
                      <a:cubicBezTo>
                        <a:pt x="447" y="1"/>
                        <a:pt x="182" y="57"/>
                        <a:pt x="0" y="259"/>
                      </a:cubicBezTo>
                      <a:cubicBezTo>
                        <a:pt x="132" y="398"/>
                        <a:pt x="331" y="457"/>
                        <a:pt x="523" y="457"/>
                      </a:cubicBezTo>
                      <a:cubicBezTo>
                        <a:pt x="539" y="457"/>
                        <a:pt x="555" y="457"/>
                        <a:pt x="571" y="456"/>
                      </a:cubicBezTo>
                      <a:cubicBezTo>
                        <a:pt x="778" y="447"/>
                        <a:pt x="980" y="379"/>
                        <a:pt x="1175" y="311"/>
                      </a:cubicBezTo>
                      <a:lnTo>
                        <a:pt x="1588" y="168"/>
                      </a:lnTo>
                      <a:cubicBezTo>
                        <a:pt x="1417" y="113"/>
                        <a:pt x="1238" y="50"/>
                        <a:pt x="1059" y="27"/>
                      </a:cubicBezTo>
                      <a:cubicBezTo>
                        <a:pt x="948" y="12"/>
                        <a:pt x="830" y="1"/>
                        <a:pt x="712" y="1"/>
                      </a:cubicBezTo>
                      <a:close/>
                    </a:path>
                  </a:pathLst>
                </a:custGeom>
                <a:solidFill>
                  <a:srgbClr val="FF71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71" name="Google Shape;1267;p38">
                  <a:extLst>
                    <a:ext uri="{FF2B5EF4-FFF2-40B4-BE49-F238E27FC236}">
                      <a16:creationId xmlns:a16="http://schemas.microsoft.com/office/drawing/2014/main" id="{4147D1C8-19F6-F32A-61E7-9DC512275AE7}"/>
                    </a:ext>
                  </a:extLst>
                </p:cNvPr>
                <p:cNvSpPr/>
                <p:nvPr/>
              </p:nvSpPr>
              <p:spPr>
                <a:xfrm>
                  <a:off x="8053232" y="4098269"/>
                  <a:ext cx="61174" cy="3161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34" h="741" extrusionOk="0">
                      <a:moveTo>
                        <a:pt x="1433" y="0"/>
                      </a:moveTo>
                      <a:lnTo>
                        <a:pt x="1433" y="0"/>
                      </a:lnTo>
                      <a:cubicBezTo>
                        <a:pt x="1255" y="15"/>
                        <a:pt x="1064" y="26"/>
                        <a:pt x="891" y="72"/>
                      </a:cubicBezTo>
                      <a:cubicBezTo>
                        <a:pt x="542" y="164"/>
                        <a:pt x="133" y="321"/>
                        <a:pt x="0" y="692"/>
                      </a:cubicBezTo>
                      <a:cubicBezTo>
                        <a:pt x="78" y="726"/>
                        <a:pt x="161" y="741"/>
                        <a:pt x="245" y="741"/>
                      </a:cubicBezTo>
                      <a:cubicBezTo>
                        <a:pt x="368" y="741"/>
                        <a:pt x="493" y="709"/>
                        <a:pt x="604" y="656"/>
                      </a:cubicBezTo>
                      <a:cubicBezTo>
                        <a:pt x="792" y="567"/>
                        <a:pt x="952" y="427"/>
                        <a:pt x="1107" y="290"/>
                      </a:cubicBezTo>
                      <a:lnTo>
                        <a:pt x="1433" y="0"/>
                      </a:lnTo>
                      <a:close/>
                    </a:path>
                  </a:pathLst>
                </a:custGeom>
                <a:solidFill>
                  <a:srgbClr val="FF71B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72" name="Google Shape;1268;p38">
                  <a:extLst>
                    <a:ext uri="{FF2B5EF4-FFF2-40B4-BE49-F238E27FC236}">
                      <a16:creationId xmlns:a16="http://schemas.microsoft.com/office/drawing/2014/main" id="{2DCFAD40-0F51-159D-8BF2-E8143FEC728B}"/>
                    </a:ext>
                  </a:extLst>
                </p:cNvPr>
                <p:cNvSpPr/>
                <p:nvPr/>
              </p:nvSpPr>
              <p:spPr>
                <a:xfrm>
                  <a:off x="8037576" y="4033639"/>
                  <a:ext cx="152637" cy="11513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578" h="2699" extrusionOk="0">
                      <a:moveTo>
                        <a:pt x="3545" y="0"/>
                      </a:moveTo>
                      <a:cubicBezTo>
                        <a:pt x="2725" y="6"/>
                        <a:pt x="1675" y="354"/>
                        <a:pt x="1155" y="792"/>
                      </a:cubicBezTo>
                      <a:cubicBezTo>
                        <a:pt x="640" y="1225"/>
                        <a:pt x="178" y="1978"/>
                        <a:pt x="5" y="2663"/>
                      </a:cubicBezTo>
                      <a:cubicBezTo>
                        <a:pt x="1" y="2678"/>
                        <a:pt x="10" y="2695"/>
                        <a:pt x="24" y="2698"/>
                      </a:cubicBezTo>
                      <a:cubicBezTo>
                        <a:pt x="26" y="2699"/>
                        <a:pt x="27" y="2699"/>
                        <a:pt x="28" y="2699"/>
                      </a:cubicBezTo>
                      <a:cubicBezTo>
                        <a:pt x="29" y="2699"/>
                        <a:pt x="30" y="2699"/>
                        <a:pt x="32" y="2698"/>
                      </a:cubicBezTo>
                      <a:cubicBezTo>
                        <a:pt x="44" y="2698"/>
                        <a:pt x="56" y="2690"/>
                        <a:pt x="59" y="2677"/>
                      </a:cubicBezTo>
                      <a:cubicBezTo>
                        <a:pt x="230" y="2001"/>
                        <a:pt x="688" y="1257"/>
                        <a:pt x="1191" y="834"/>
                      </a:cubicBezTo>
                      <a:cubicBezTo>
                        <a:pt x="1693" y="410"/>
                        <a:pt x="2749" y="61"/>
                        <a:pt x="3545" y="55"/>
                      </a:cubicBezTo>
                      <a:cubicBezTo>
                        <a:pt x="3578" y="52"/>
                        <a:pt x="3578" y="3"/>
                        <a:pt x="3545" y="0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73" name="Google Shape;1269;p38">
                  <a:extLst>
                    <a:ext uri="{FF2B5EF4-FFF2-40B4-BE49-F238E27FC236}">
                      <a16:creationId xmlns:a16="http://schemas.microsoft.com/office/drawing/2014/main" id="{F0C0AA53-6FA5-9EED-4B43-5BC9CC4E0B42}"/>
                    </a:ext>
                  </a:extLst>
                </p:cNvPr>
                <p:cNvSpPr/>
                <p:nvPr/>
              </p:nvSpPr>
              <p:spPr>
                <a:xfrm>
                  <a:off x="8103400" y="4016277"/>
                  <a:ext cx="54861" cy="493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86" h="1156" extrusionOk="0">
                      <a:moveTo>
                        <a:pt x="886" y="0"/>
                      </a:moveTo>
                      <a:cubicBezTo>
                        <a:pt x="880" y="0"/>
                        <a:pt x="874" y="2"/>
                        <a:pt x="869" y="6"/>
                      </a:cubicBezTo>
                      <a:cubicBezTo>
                        <a:pt x="517" y="263"/>
                        <a:pt x="223" y="591"/>
                        <a:pt x="5" y="968"/>
                      </a:cubicBezTo>
                      <a:cubicBezTo>
                        <a:pt x="1" y="977"/>
                        <a:pt x="1" y="987"/>
                        <a:pt x="5" y="995"/>
                      </a:cubicBezTo>
                      <a:cubicBezTo>
                        <a:pt x="10" y="1004"/>
                        <a:pt x="19" y="1010"/>
                        <a:pt x="28" y="1010"/>
                      </a:cubicBezTo>
                      <a:lnTo>
                        <a:pt x="117" y="1019"/>
                      </a:lnTo>
                      <a:cubicBezTo>
                        <a:pt x="501" y="1051"/>
                        <a:pt x="863" y="1081"/>
                        <a:pt x="1242" y="1156"/>
                      </a:cubicBezTo>
                      <a:lnTo>
                        <a:pt x="1246" y="1156"/>
                      </a:lnTo>
                      <a:cubicBezTo>
                        <a:pt x="1247" y="1156"/>
                        <a:pt x="1247" y="1156"/>
                        <a:pt x="1248" y="1156"/>
                      </a:cubicBezTo>
                      <a:cubicBezTo>
                        <a:pt x="1282" y="1156"/>
                        <a:pt x="1286" y="1107"/>
                        <a:pt x="1252" y="1101"/>
                      </a:cubicBezTo>
                      <a:cubicBezTo>
                        <a:pt x="870" y="1026"/>
                        <a:pt x="506" y="995"/>
                        <a:pt x="122" y="962"/>
                      </a:cubicBezTo>
                      <a:lnTo>
                        <a:pt x="77" y="957"/>
                      </a:lnTo>
                      <a:cubicBezTo>
                        <a:pt x="289" y="604"/>
                        <a:pt x="569" y="295"/>
                        <a:pt x="902" y="51"/>
                      </a:cubicBezTo>
                      <a:cubicBezTo>
                        <a:pt x="927" y="34"/>
                        <a:pt x="909" y="0"/>
                        <a:pt x="886" y="0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74" name="Google Shape;1270;p38">
                  <a:extLst>
                    <a:ext uri="{FF2B5EF4-FFF2-40B4-BE49-F238E27FC236}">
                      <a16:creationId xmlns:a16="http://schemas.microsoft.com/office/drawing/2014/main" id="{9F982E74-83CA-26AE-0645-506C3B06E079}"/>
                    </a:ext>
                  </a:extLst>
                </p:cNvPr>
                <p:cNvSpPr/>
                <p:nvPr/>
              </p:nvSpPr>
              <p:spPr>
                <a:xfrm>
                  <a:off x="8068803" y="4030355"/>
                  <a:ext cx="47267" cy="563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08" h="1321" extrusionOk="0">
                      <a:moveTo>
                        <a:pt x="621" y="0"/>
                      </a:moveTo>
                      <a:cubicBezTo>
                        <a:pt x="613" y="0"/>
                        <a:pt x="606" y="3"/>
                        <a:pt x="600" y="10"/>
                      </a:cubicBezTo>
                      <a:cubicBezTo>
                        <a:pt x="287" y="374"/>
                        <a:pt x="81" y="815"/>
                        <a:pt x="4" y="1288"/>
                      </a:cubicBezTo>
                      <a:cubicBezTo>
                        <a:pt x="1" y="1299"/>
                        <a:pt x="5" y="1307"/>
                        <a:pt x="13" y="1315"/>
                      </a:cubicBezTo>
                      <a:cubicBezTo>
                        <a:pt x="17" y="1319"/>
                        <a:pt x="25" y="1321"/>
                        <a:pt x="31" y="1321"/>
                      </a:cubicBezTo>
                      <a:lnTo>
                        <a:pt x="40" y="1321"/>
                      </a:lnTo>
                      <a:cubicBezTo>
                        <a:pt x="365" y="1217"/>
                        <a:pt x="717" y="1205"/>
                        <a:pt x="1058" y="1193"/>
                      </a:cubicBezTo>
                      <a:lnTo>
                        <a:pt x="1079" y="1193"/>
                      </a:lnTo>
                      <a:cubicBezTo>
                        <a:pt x="1095" y="1193"/>
                        <a:pt x="1107" y="1179"/>
                        <a:pt x="1107" y="1164"/>
                      </a:cubicBezTo>
                      <a:cubicBezTo>
                        <a:pt x="1106" y="1148"/>
                        <a:pt x="1092" y="1136"/>
                        <a:pt x="1077" y="1136"/>
                      </a:cubicBezTo>
                      <a:lnTo>
                        <a:pt x="1057" y="1136"/>
                      </a:lnTo>
                      <a:cubicBezTo>
                        <a:pt x="727" y="1148"/>
                        <a:pt x="386" y="1158"/>
                        <a:pt x="66" y="1254"/>
                      </a:cubicBezTo>
                      <a:cubicBezTo>
                        <a:pt x="148" y="808"/>
                        <a:pt x="347" y="392"/>
                        <a:pt x="642" y="47"/>
                      </a:cubicBezTo>
                      <a:cubicBezTo>
                        <a:pt x="661" y="26"/>
                        <a:pt x="642" y="0"/>
                        <a:pt x="621" y="0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75" name="Google Shape;1271;p38">
                  <a:extLst>
                    <a:ext uri="{FF2B5EF4-FFF2-40B4-BE49-F238E27FC236}">
                      <a16:creationId xmlns:a16="http://schemas.microsoft.com/office/drawing/2014/main" id="{10840A78-5000-98E9-42E2-5EE64C6BDCF9}"/>
                    </a:ext>
                  </a:extLst>
                </p:cNvPr>
                <p:cNvSpPr/>
                <p:nvPr/>
              </p:nvSpPr>
              <p:spPr>
                <a:xfrm>
                  <a:off x="8045425" y="4106332"/>
                  <a:ext cx="49784" cy="2239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7" h="525" extrusionOk="0">
                      <a:moveTo>
                        <a:pt x="1126" y="1"/>
                      </a:moveTo>
                      <a:cubicBezTo>
                        <a:pt x="1122" y="1"/>
                        <a:pt x="1116" y="2"/>
                        <a:pt x="1111" y="5"/>
                      </a:cubicBezTo>
                      <a:cubicBezTo>
                        <a:pt x="792" y="202"/>
                        <a:pt x="427" y="424"/>
                        <a:pt x="27" y="469"/>
                      </a:cubicBezTo>
                      <a:cubicBezTo>
                        <a:pt x="12" y="470"/>
                        <a:pt x="0" y="484"/>
                        <a:pt x="2" y="499"/>
                      </a:cubicBezTo>
                      <a:cubicBezTo>
                        <a:pt x="3" y="514"/>
                        <a:pt x="16" y="524"/>
                        <a:pt x="30" y="524"/>
                      </a:cubicBezTo>
                      <a:lnTo>
                        <a:pt x="33" y="524"/>
                      </a:lnTo>
                      <a:cubicBezTo>
                        <a:pt x="446" y="479"/>
                        <a:pt x="814" y="253"/>
                        <a:pt x="1141" y="53"/>
                      </a:cubicBezTo>
                      <a:cubicBezTo>
                        <a:pt x="1167" y="37"/>
                        <a:pt x="1151" y="1"/>
                        <a:pt x="1126" y="1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76" name="Google Shape;1272;p38">
                  <a:extLst>
                    <a:ext uri="{FF2B5EF4-FFF2-40B4-BE49-F238E27FC236}">
                      <a16:creationId xmlns:a16="http://schemas.microsoft.com/office/drawing/2014/main" id="{865B7236-E6CE-4161-6FD7-473A90F54E3A}"/>
                    </a:ext>
                  </a:extLst>
                </p:cNvPr>
                <p:cNvSpPr/>
                <p:nvPr/>
              </p:nvSpPr>
              <p:spPr>
                <a:xfrm>
                  <a:off x="8042396" y="4073654"/>
                  <a:ext cx="9982" cy="5097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4" h="1195" extrusionOk="0">
                      <a:moveTo>
                        <a:pt x="197" y="0"/>
                      </a:moveTo>
                      <a:cubicBezTo>
                        <a:pt x="186" y="0"/>
                        <a:pt x="176" y="6"/>
                        <a:pt x="171" y="20"/>
                      </a:cubicBezTo>
                      <a:cubicBezTo>
                        <a:pt x="11" y="412"/>
                        <a:pt x="5" y="619"/>
                        <a:pt x="2" y="743"/>
                      </a:cubicBezTo>
                      <a:cubicBezTo>
                        <a:pt x="1" y="877"/>
                        <a:pt x="52" y="1054"/>
                        <a:pt x="99" y="1177"/>
                      </a:cubicBezTo>
                      <a:cubicBezTo>
                        <a:pt x="104" y="1187"/>
                        <a:pt x="114" y="1195"/>
                        <a:pt x="126" y="1195"/>
                      </a:cubicBezTo>
                      <a:cubicBezTo>
                        <a:pt x="129" y="1195"/>
                        <a:pt x="134" y="1195"/>
                        <a:pt x="137" y="1193"/>
                      </a:cubicBezTo>
                      <a:cubicBezTo>
                        <a:pt x="152" y="1187"/>
                        <a:pt x="159" y="1171"/>
                        <a:pt x="152" y="1156"/>
                      </a:cubicBezTo>
                      <a:cubicBezTo>
                        <a:pt x="105" y="1040"/>
                        <a:pt x="56" y="873"/>
                        <a:pt x="59" y="744"/>
                      </a:cubicBezTo>
                      <a:cubicBezTo>
                        <a:pt x="62" y="616"/>
                        <a:pt x="67" y="424"/>
                        <a:pt x="223" y="40"/>
                      </a:cubicBezTo>
                      <a:cubicBezTo>
                        <a:pt x="234" y="18"/>
                        <a:pt x="215" y="0"/>
                        <a:pt x="197" y="0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1040" name="Google Shape;1273;p38">
                <a:extLst>
                  <a:ext uri="{FF2B5EF4-FFF2-40B4-BE49-F238E27FC236}">
                    <a16:creationId xmlns:a16="http://schemas.microsoft.com/office/drawing/2014/main" id="{7BF5CA41-37CB-6952-00F2-62EF22AEA4B6}"/>
                  </a:ext>
                </a:extLst>
              </p:cNvPr>
              <p:cNvGrpSpPr/>
              <p:nvPr/>
            </p:nvGrpSpPr>
            <p:grpSpPr>
              <a:xfrm>
                <a:off x="8347817" y="3877748"/>
                <a:ext cx="161957" cy="158854"/>
                <a:chOff x="8347073" y="3876903"/>
                <a:chExt cx="123180" cy="120865"/>
              </a:xfrm>
            </p:grpSpPr>
            <p:grpSp>
              <p:nvGrpSpPr>
                <p:cNvPr id="1057" name="Google Shape;1274;p38">
                  <a:extLst>
                    <a:ext uri="{FF2B5EF4-FFF2-40B4-BE49-F238E27FC236}">
                      <a16:creationId xmlns:a16="http://schemas.microsoft.com/office/drawing/2014/main" id="{668A9B5E-147B-DC42-4407-FAD0F43CCF6D}"/>
                    </a:ext>
                  </a:extLst>
                </p:cNvPr>
                <p:cNvGrpSpPr/>
                <p:nvPr/>
              </p:nvGrpSpPr>
              <p:grpSpPr>
                <a:xfrm>
                  <a:off x="8347073" y="3876903"/>
                  <a:ext cx="123180" cy="120865"/>
                  <a:chOff x="8347073" y="3876903"/>
                  <a:chExt cx="123180" cy="120865"/>
                </a:xfrm>
              </p:grpSpPr>
              <p:sp>
                <p:nvSpPr>
                  <p:cNvPr id="1059" name="Google Shape;1275;p38">
                    <a:extLst>
                      <a:ext uri="{FF2B5EF4-FFF2-40B4-BE49-F238E27FC236}">
                        <a16:creationId xmlns:a16="http://schemas.microsoft.com/office/drawing/2014/main" id="{0C16B4B9-0FED-675A-C680-DE0EA2EB304D}"/>
                      </a:ext>
                    </a:extLst>
                  </p:cNvPr>
                  <p:cNvSpPr/>
                  <p:nvPr/>
                </p:nvSpPr>
                <p:spPr>
                  <a:xfrm rot="520759">
                    <a:off x="8387013" y="3876903"/>
                    <a:ext cx="44349" cy="12086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495" h="1349" extrusionOk="0">
                        <a:moveTo>
                          <a:pt x="405" y="0"/>
                        </a:moveTo>
                        <a:cubicBezTo>
                          <a:pt x="379" y="0"/>
                          <a:pt x="355" y="17"/>
                          <a:pt x="348" y="43"/>
                        </a:cubicBezTo>
                        <a:lnTo>
                          <a:pt x="8" y="1267"/>
                        </a:lnTo>
                        <a:cubicBezTo>
                          <a:pt x="1" y="1298"/>
                          <a:pt x="19" y="1331"/>
                          <a:pt x="50" y="1340"/>
                        </a:cubicBezTo>
                        <a:lnTo>
                          <a:pt x="74" y="1346"/>
                        </a:lnTo>
                        <a:cubicBezTo>
                          <a:pt x="79" y="1347"/>
                          <a:pt x="85" y="1348"/>
                          <a:pt x="90" y="1348"/>
                        </a:cubicBezTo>
                        <a:cubicBezTo>
                          <a:pt x="116" y="1348"/>
                          <a:pt x="139" y="1331"/>
                          <a:pt x="147" y="1306"/>
                        </a:cubicBezTo>
                        <a:lnTo>
                          <a:pt x="485" y="81"/>
                        </a:lnTo>
                        <a:cubicBezTo>
                          <a:pt x="494" y="50"/>
                          <a:pt x="476" y="17"/>
                          <a:pt x="445" y="8"/>
                        </a:cubicBezTo>
                        <a:lnTo>
                          <a:pt x="421" y="2"/>
                        </a:lnTo>
                        <a:cubicBezTo>
                          <a:pt x="416" y="1"/>
                          <a:pt x="410" y="0"/>
                          <a:pt x="405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1060" name="Google Shape;1276;p38">
                    <a:extLst>
                      <a:ext uri="{FF2B5EF4-FFF2-40B4-BE49-F238E27FC236}">
                        <a16:creationId xmlns:a16="http://schemas.microsoft.com/office/drawing/2014/main" id="{D60B62D0-B758-5711-8A09-902CE7C136DB}"/>
                      </a:ext>
                    </a:extLst>
                  </p:cNvPr>
                  <p:cNvSpPr/>
                  <p:nvPr/>
                </p:nvSpPr>
                <p:spPr>
                  <a:xfrm rot="520759">
                    <a:off x="8359247" y="3894092"/>
                    <a:ext cx="99718" cy="8637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113" h="964" extrusionOk="0">
                        <a:moveTo>
                          <a:pt x="1031" y="1"/>
                        </a:moveTo>
                        <a:cubicBezTo>
                          <a:pt x="1017" y="1"/>
                          <a:pt x="1004" y="5"/>
                          <a:pt x="994" y="15"/>
                        </a:cubicBezTo>
                        <a:lnTo>
                          <a:pt x="29" y="841"/>
                        </a:lnTo>
                        <a:cubicBezTo>
                          <a:pt x="3" y="862"/>
                          <a:pt x="0" y="899"/>
                          <a:pt x="21" y="924"/>
                        </a:cubicBezTo>
                        <a:lnTo>
                          <a:pt x="38" y="944"/>
                        </a:lnTo>
                        <a:cubicBezTo>
                          <a:pt x="49" y="957"/>
                          <a:pt x="66" y="964"/>
                          <a:pt x="82" y="964"/>
                        </a:cubicBezTo>
                        <a:cubicBezTo>
                          <a:pt x="96" y="964"/>
                          <a:pt x="110" y="959"/>
                          <a:pt x="121" y="950"/>
                        </a:cubicBezTo>
                        <a:lnTo>
                          <a:pt x="1086" y="123"/>
                        </a:lnTo>
                        <a:cubicBezTo>
                          <a:pt x="1111" y="103"/>
                          <a:pt x="1113" y="65"/>
                          <a:pt x="1092" y="40"/>
                        </a:cubicBezTo>
                        <a:lnTo>
                          <a:pt x="1076" y="22"/>
                        </a:lnTo>
                        <a:cubicBezTo>
                          <a:pt x="1064" y="8"/>
                          <a:pt x="1047" y="1"/>
                          <a:pt x="1031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1061" name="Google Shape;1277;p38">
                    <a:extLst>
                      <a:ext uri="{FF2B5EF4-FFF2-40B4-BE49-F238E27FC236}">
                        <a16:creationId xmlns:a16="http://schemas.microsoft.com/office/drawing/2014/main" id="{A3234803-7FC4-C736-CD79-BDDFD3541B26}"/>
                      </a:ext>
                    </a:extLst>
                  </p:cNvPr>
                  <p:cNvSpPr/>
                  <p:nvPr/>
                </p:nvSpPr>
                <p:spPr>
                  <a:xfrm rot="520759">
                    <a:off x="8347073" y="3917644"/>
                    <a:ext cx="122564" cy="4139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8" h="462" extrusionOk="0">
                        <a:moveTo>
                          <a:pt x="1295" y="1"/>
                        </a:moveTo>
                        <a:cubicBezTo>
                          <a:pt x="1291" y="1"/>
                          <a:pt x="1286" y="2"/>
                          <a:pt x="1281" y="3"/>
                        </a:cubicBezTo>
                        <a:lnTo>
                          <a:pt x="51" y="320"/>
                        </a:lnTo>
                        <a:cubicBezTo>
                          <a:pt x="20" y="329"/>
                          <a:pt x="0" y="361"/>
                          <a:pt x="9" y="393"/>
                        </a:cubicBezTo>
                        <a:lnTo>
                          <a:pt x="15" y="417"/>
                        </a:lnTo>
                        <a:cubicBezTo>
                          <a:pt x="23" y="443"/>
                          <a:pt x="46" y="461"/>
                          <a:pt x="71" y="461"/>
                        </a:cubicBezTo>
                        <a:cubicBezTo>
                          <a:pt x="76" y="461"/>
                          <a:pt x="82" y="460"/>
                          <a:pt x="87" y="459"/>
                        </a:cubicBezTo>
                        <a:lnTo>
                          <a:pt x="1317" y="141"/>
                        </a:lnTo>
                        <a:cubicBezTo>
                          <a:pt x="1348" y="132"/>
                          <a:pt x="1368" y="101"/>
                          <a:pt x="1359" y="70"/>
                        </a:cubicBezTo>
                        <a:lnTo>
                          <a:pt x="1353" y="46"/>
                        </a:lnTo>
                        <a:cubicBezTo>
                          <a:pt x="1346" y="18"/>
                          <a:pt x="1322" y="1"/>
                          <a:pt x="1295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1062" name="Google Shape;1278;p38">
                    <a:extLst>
                      <a:ext uri="{FF2B5EF4-FFF2-40B4-BE49-F238E27FC236}">
                        <a16:creationId xmlns:a16="http://schemas.microsoft.com/office/drawing/2014/main" id="{EAD0E885-70B6-B6C9-6C92-CA79C8EB6196}"/>
                      </a:ext>
                    </a:extLst>
                  </p:cNvPr>
                  <p:cNvSpPr/>
                  <p:nvPr/>
                </p:nvSpPr>
                <p:spPr>
                  <a:xfrm rot="520759">
                    <a:off x="8348137" y="3915698"/>
                    <a:ext cx="122116" cy="4318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363" h="482" extrusionOk="0">
                        <a:moveTo>
                          <a:pt x="72" y="1"/>
                        </a:moveTo>
                        <a:cubicBezTo>
                          <a:pt x="47" y="1"/>
                          <a:pt x="23" y="18"/>
                          <a:pt x="16" y="44"/>
                        </a:cubicBezTo>
                        <a:lnTo>
                          <a:pt x="8" y="67"/>
                        </a:lnTo>
                        <a:cubicBezTo>
                          <a:pt x="1" y="99"/>
                          <a:pt x="19" y="132"/>
                          <a:pt x="50" y="140"/>
                        </a:cubicBezTo>
                        <a:lnTo>
                          <a:pt x="1274" y="479"/>
                        </a:lnTo>
                        <a:cubicBezTo>
                          <a:pt x="1280" y="481"/>
                          <a:pt x="1285" y="481"/>
                          <a:pt x="1291" y="481"/>
                        </a:cubicBezTo>
                        <a:cubicBezTo>
                          <a:pt x="1316" y="481"/>
                          <a:pt x="1340" y="465"/>
                          <a:pt x="1347" y="439"/>
                        </a:cubicBezTo>
                        <a:lnTo>
                          <a:pt x="1353" y="415"/>
                        </a:lnTo>
                        <a:cubicBezTo>
                          <a:pt x="1362" y="384"/>
                          <a:pt x="1344" y="351"/>
                          <a:pt x="1311" y="342"/>
                        </a:cubicBezTo>
                        <a:lnTo>
                          <a:pt x="89" y="3"/>
                        </a:lnTo>
                        <a:cubicBezTo>
                          <a:pt x="83" y="2"/>
                          <a:pt x="78" y="1"/>
                          <a:pt x="72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1063" name="Google Shape;1279;p38">
                    <a:extLst>
                      <a:ext uri="{FF2B5EF4-FFF2-40B4-BE49-F238E27FC236}">
                        <a16:creationId xmlns:a16="http://schemas.microsoft.com/office/drawing/2014/main" id="{0859B9F4-304A-B097-5530-D3C264DE6E82}"/>
                      </a:ext>
                    </a:extLst>
                  </p:cNvPr>
                  <p:cNvSpPr/>
                  <p:nvPr/>
                </p:nvSpPr>
                <p:spPr>
                  <a:xfrm rot="520759">
                    <a:off x="8362550" y="3891865"/>
                    <a:ext cx="93088" cy="93359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39" h="1042" extrusionOk="0">
                        <a:moveTo>
                          <a:pt x="82" y="1"/>
                        </a:moveTo>
                        <a:cubicBezTo>
                          <a:pt x="67" y="1"/>
                          <a:pt x="52" y="6"/>
                          <a:pt x="40" y="17"/>
                        </a:cubicBezTo>
                        <a:lnTo>
                          <a:pt x="23" y="35"/>
                        </a:lnTo>
                        <a:cubicBezTo>
                          <a:pt x="0" y="58"/>
                          <a:pt x="0" y="95"/>
                          <a:pt x="23" y="119"/>
                        </a:cubicBezTo>
                        <a:lnTo>
                          <a:pt x="913" y="1024"/>
                        </a:lnTo>
                        <a:cubicBezTo>
                          <a:pt x="925" y="1036"/>
                          <a:pt x="940" y="1042"/>
                          <a:pt x="955" y="1042"/>
                        </a:cubicBezTo>
                        <a:cubicBezTo>
                          <a:pt x="969" y="1042"/>
                          <a:pt x="984" y="1036"/>
                          <a:pt x="996" y="1024"/>
                        </a:cubicBezTo>
                        <a:lnTo>
                          <a:pt x="1014" y="1007"/>
                        </a:lnTo>
                        <a:cubicBezTo>
                          <a:pt x="1038" y="985"/>
                          <a:pt x="1038" y="948"/>
                          <a:pt x="1014" y="924"/>
                        </a:cubicBezTo>
                        <a:lnTo>
                          <a:pt x="124" y="19"/>
                        </a:lnTo>
                        <a:cubicBezTo>
                          <a:pt x="113" y="7"/>
                          <a:pt x="97" y="1"/>
                          <a:pt x="82" y="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  <p:sp>
                <p:nvSpPr>
                  <p:cNvPr id="1064" name="Google Shape;1280;p38">
                    <a:extLst>
                      <a:ext uri="{FF2B5EF4-FFF2-40B4-BE49-F238E27FC236}">
                        <a16:creationId xmlns:a16="http://schemas.microsoft.com/office/drawing/2014/main" id="{3B346756-6D9C-46CF-01DA-71AB0C7ACE6D}"/>
                      </a:ext>
                    </a:extLst>
                  </p:cNvPr>
                  <p:cNvSpPr/>
                  <p:nvPr/>
                </p:nvSpPr>
                <p:spPr>
                  <a:xfrm rot="520759">
                    <a:off x="8385311" y="3877261"/>
                    <a:ext cx="47753" cy="12014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33" h="1341" extrusionOk="0">
                        <a:moveTo>
                          <a:pt x="91" y="0"/>
                        </a:moveTo>
                        <a:cubicBezTo>
                          <a:pt x="85" y="0"/>
                          <a:pt x="79" y="1"/>
                          <a:pt x="73" y="3"/>
                        </a:cubicBezTo>
                        <a:lnTo>
                          <a:pt x="49" y="10"/>
                        </a:lnTo>
                        <a:cubicBezTo>
                          <a:pt x="18" y="19"/>
                          <a:pt x="0" y="54"/>
                          <a:pt x="11" y="85"/>
                        </a:cubicBezTo>
                        <a:lnTo>
                          <a:pt x="385" y="1299"/>
                        </a:lnTo>
                        <a:cubicBezTo>
                          <a:pt x="392" y="1324"/>
                          <a:pt x="416" y="1340"/>
                          <a:pt x="441" y="1340"/>
                        </a:cubicBezTo>
                        <a:cubicBezTo>
                          <a:pt x="447" y="1340"/>
                          <a:pt x="453" y="1339"/>
                          <a:pt x="460" y="1337"/>
                        </a:cubicBezTo>
                        <a:lnTo>
                          <a:pt x="483" y="1330"/>
                        </a:lnTo>
                        <a:cubicBezTo>
                          <a:pt x="515" y="1321"/>
                          <a:pt x="533" y="1287"/>
                          <a:pt x="522" y="1255"/>
                        </a:cubicBezTo>
                        <a:lnTo>
                          <a:pt x="148" y="42"/>
                        </a:lnTo>
                        <a:cubicBezTo>
                          <a:pt x="139" y="16"/>
                          <a:pt x="116" y="0"/>
                          <a:pt x="91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spcFirstLastPara="1" wrap="square" lIns="91425" tIns="91425" rIns="91425" bIns="91425" anchor="ctr" anchorCtr="0">
                    <a:noAutofit/>
                  </a:bodyPr>
                  <a:lstStyle>
                    <a:def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</a:defPPr>
                    <a:lvl1pPr marR="0" lvl="0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1pPr>
                    <a:lvl2pPr marR="0" lvl="1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2pPr>
                    <a:lvl3pPr marR="0" lvl="2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3pPr>
                    <a:lvl4pPr marR="0" lvl="3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4pPr>
                    <a:lvl5pPr marR="0" lvl="4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5pPr>
                    <a:lvl6pPr marR="0" lvl="5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6pPr>
                    <a:lvl7pPr marR="0" lvl="6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7pPr>
                    <a:lvl8pPr marR="0" lvl="7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8pPr>
                    <a:lvl9pPr marR="0" lvl="8" algn="l" rtl="0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rgbClr val="000000"/>
                      </a:buClr>
                      <a:buFont typeface="Arial"/>
                      <a:defRPr sz="1400" b="0" i="0" u="none" strike="noStrike" cap="none"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  <a:sym typeface="Arial"/>
                      </a:defRPr>
                    </a:lvl9pPr>
                  </a:lstStyle>
                  <a:p>
                    <a:pPr marL="0" lvl="0" indent="0" algn="l" rtl="0">
                      <a:spcBef>
                        <a:spcPts val="0"/>
                      </a:spcBef>
                      <a:spcAft>
                        <a:spcPts val="0"/>
                      </a:spcAft>
                      <a:buNone/>
                    </a:pPr>
                    <a:endParaRPr/>
                  </a:p>
                </p:txBody>
              </p:sp>
            </p:grpSp>
            <p:sp>
              <p:nvSpPr>
                <p:cNvPr id="1058" name="Google Shape;1281;p38">
                  <a:extLst>
                    <a:ext uri="{FF2B5EF4-FFF2-40B4-BE49-F238E27FC236}">
                      <a16:creationId xmlns:a16="http://schemas.microsoft.com/office/drawing/2014/main" id="{060E88DB-2F96-26E3-55E4-0B3559B7D4E2}"/>
                    </a:ext>
                  </a:extLst>
                </p:cNvPr>
                <p:cNvSpPr/>
                <p:nvPr/>
              </p:nvSpPr>
              <p:spPr>
                <a:xfrm rot="520759">
                  <a:off x="8392185" y="3924682"/>
                  <a:ext cx="28491" cy="240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8" h="268" extrusionOk="0">
                      <a:moveTo>
                        <a:pt x="168" y="0"/>
                      </a:moveTo>
                      <a:cubicBezTo>
                        <a:pt x="70" y="0"/>
                        <a:pt x="1" y="108"/>
                        <a:pt x="52" y="199"/>
                      </a:cubicBezTo>
                      <a:cubicBezTo>
                        <a:pt x="79" y="246"/>
                        <a:pt x="124" y="268"/>
                        <a:pt x="169" y="268"/>
                      </a:cubicBezTo>
                      <a:cubicBezTo>
                        <a:pt x="225" y="268"/>
                        <a:pt x="281" y="233"/>
                        <a:pt x="299" y="170"/>
                      </a:cubicBezTo>
                      <a:cubicBezTo>
                        <a:pt x="318" y="98"/>
                        <a:pt x="276" y="25"/>
                        <a:pt x="206" y="6"/>
                      </a:cubicBezTo>
                      <a:cubicBezTo>
                        <a:pt x="193" y="2"/>
                        <a:pt x="180" y="0"/>
                        <a:pt x="168" y="0"/>
                      </a:cubicBezTo>
                      <a:close/>
                    </a:path>
                  </a:pathLst>
                </a:custGeom>
                <a:solidFill>
                  <a:srgbClr val="322C23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grpSp>
            <p:nvGrpSpPr>
              <p:cNvPr id="1041" name="Google Shape;1282;p38">
                <a:extLst>
                  <a:ext uri="{FF2B5EF4-FFF2-40B4-BE49-F238E27FC236}">
                    <a16:creationId xmlns:a16="http://schemas.microsoft.com/office/drawing/2014/main" id="{ED92DF06-4062-13C9-9EDE-B30B799BEB12}"/>
                  </a:ext>
                </a:extLst>
              </p:cNvPr>
              <p:cNvGrpSpPr/>
              <p:nvPr/>
            </p:nvGrpSpPr>
            <p:grpSpPr>
              <a:xfrm>
                <a:off x="8251941" y="4313686"/>
                <a:ext cx="138234" cy="135623"/>
                <a:chOff x="8251606" y="4313358"/>
                <a:chExt cx="123180" cy="120865"/>
              </a:xfrm>
            </p:grpSpPr>
            <p:sp>
              <p:nvSpPr>
                <p:cNvPr id="1051" name="Google Shape;1283;p38">
                  <a:extLst>
                    <a:ext uri="{FF2B5EF4-FFF2-40B4-BE49-F238E27FC236}">
                      <a16:creationId xmlns:a16="http://schemas.microsoft.com/office/drawing/2014/main" id="{0A0B3AF4-6C4D-266D-61A7-14F3DF3EECB9}"/>
                    </a:ext>
                  </a:extLst>
                </p:cNvPr>
                <p:cNvSpPr/>
                <p:nvPr/>
              </p:nvSpPr>
              <p:spPr>
                <a:xfrm rot="520759">
                  <a:off x="8291546" y="4313358"/>
                  <a:ext cx="44349" cy="1208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5" h="1349" extrusionOk="0">
                      <a:moveTo>
                        <a:pt x="405" y="0"/>
                      </a:moveTo>
                      <a:cubicBezTo>
                        <a:pt x="379" y="0"/>
                        <a:pt x="355" y="17"/>
                        <a:pt x="348" y="43"/>
                      </a:cubicBezTo>
                      <a:lnTo>
                        <a:pt x="8" y="1267"/>
                      </a:lnTo>
                      <a:cubicBezTo>
                        <a:pt x="1" y="1298"/>
                        <a:pt x="19" y="1331"/>
                        <a:pt x="50" y="1340"/>
                      </a:cubicBezTo>
                      <a:lnTo>
                        <a:pt x="74" y="1346"/>
                      </a:lnTo>
                      <a:cubicBezTo>
                        <a:pt x="79" y="1347"/>
                        <a:pt x="85" y="1348"/>
                        <a:pt x="90" y="1348"/>
                      </a:cubicBezTo>
                      <a:cubicBezTo>
                        <a:pt x="116" y="1348"/>
                        <a:pt x="139" y="1331"/>
                        <a:pt x="147" y="1306"/>
                      </a:cubicBezTo>
                      <a:lnTo>
                        <a:pt x="485" y="81"/>
                      </a:lnTo>
                      <a:cubicBezTo>
                        <a:pt x="494" y="50"/>
                        <a:pt x="476" y="17"/>
                        <a:pt x="445" y="8"/>
                      </a:cubicBezTo>
                      <a:lnTo>
                        <a:pt x="421" y="2"/>
                      </a:lnTo>
                      <a:cubicBezTo>
                        <a:pt x="416" y="1"/>
                        <a:pt x="410" y="0"/>
                        <a:pt x="405" y="0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52" name="Google Shape;1284;p38">
                  <a:extLst>
                    <a:ext uri="{FF2B5EF4-FFF2-40B4-BE49-F238E27FC236}">
                      <a16:creationId xmlns:a16="http://schemas.microsoft.com/office/drawing/2014/main" id="{631A5FB9-30AF-0171-1D20-68981631A71D}"/>
                    </a:ext>
                  </a:extLst>
                </p:cNvPr>
                <p:cNvSpPr/>
                <p:nvPr/>
              </p:nvSpPr>
              <p:spPr>
                <a:xfrm rot="520759">
                  <a:off x="8263780" y="4330547"/>
                  <a:ext cx="99718" cy="863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13" h="964" extrusionOk="0">
                      <a:moveTo>
                        <a:pt x="1031" y="1"/>
                      </a:moveTo>
                      <a:cubicBezTo>
                        <a:pt x="1017" y="1"/>
                        <a:pt x="1004" y="5"/>
                        <a:pt x="994" y="15"/>
                      </a:cubicBezTo>
                      <a:lnTo>
                        <a:pt x="29" y="841"/>
                      </a:lnTo>
                      <a:cubicBezTo>
                        <a:pt x="3" y="862"/>
                        <a:pt x="0" y="899"/>
                        <a:pt x="21" y="924"/>
                      </a:cubicBezTo>
                      <a:lnTo>
                        <a:pt x="38" y="944"/>
                      </a:lnTo>
                      <a:cubicBezTo>
                        <a:pt x="49" y="957"/>
                        <a:pt x="66" y="964"/>
                        <a:pt x="82" y="964"/>
                      </a:cubicBezTo>
                      <a:cubicBezTo>
                        <a:pt x="96" y="964"/>
                        <a:pt x="110" y="959"/>
                        <a:pt x="121" y="950"/>
                      </a:cubicBezTo>
                      <a:lnTo>
                        <a:pt x="1086" y="123"/>
                      </a:lnTo>
                      <a:cubicBezTo>
                        <a:pt x="1111" y="103"/>
                        <a:pt x="1113" y="65"/>
                        <a:pt x="1092" y="40"/>
                      </a:cubicBezTo>
                      <a:lnTo>
                        <a:pt x="1076" y="22"/>
                      </a:lnTo>
                      <a:cubicBezTo>
                        <a:pt x="1064" y="8"/>
                        <a:pt x="1047" y="1"/>
                        <a:pt x="1031" y="1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53" name="Google Shape;1285;p38">
                  <a:extLst>
                    <a:ext uri="{FF2B5EF4-FFF2-40B4-BE49-F238E27FC236}">
                      <a16:creationId xmlns:a16="http://schemas.microsoft.com/office/drawing/2014/main" id="{D5F1B66A-560E-46C5-CE7D-987C75899E10}"/>
                    </a:ext>
                  </a:extLst>
                </p:cNvPr>
                <p:cNvSpPr/>
                <p:nvPr/>
              </p:nvSpPr>
              <p:spPr>
                <a:xfrm rot="520759">
                  <a:off x="8251606" y="4354099"/>
                  <a:ext cx="122564" cy="41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8" h="462" extrusionOk="0">
                      <a:moveTo>
                        <a:pt x="1295" y="1"/>
                      </a:moveTo>
                      <a:cubicBezTo>
                        <a:pt x="1291" y="1"/>
                        <a:pt x="1286" y="2"/>
                        <a:pt x="1281" y="3"/>
                      </a:cubicBezTo>
                      <a:lnTo>
                        <a:pt x="51" y="320"/>
                      </a:lnTo>
                      <a:cubicBezTo>
                        <a:pt x="20" y="329"/>
                        <a:pt x="0" y="361"/>
                        <a:pt x="9" y="393"/>
                      </a:cubicBezTo>
                      <a:lnTo>
                        <a:pt x="15" y="417"/>
                      </a:lnTo>
                      <a:cubicBezTo>
                        <a:pt x="23" y="443"/>
                        <a:pt x="46" y="461"/>
                        <a:pt x="71" y="461"/>
                      </a:cubicBezTo>
                      <a:cubicBezTo>
                        <a:pt x="76" y="461"/>
                        <a:pt x="82" y="460"/>
                        <a:pt x="87" y="459"/>
                      </a:cubicBezTo>
                      <a:lnTo>
                        <a:pt x="1317" y="141"/>
                      </a:lnTo>
                      <a:cubicBezTo>
                        <a:pt x="1348" y="132"/>
                        <a:pt x="1368" y="101"/>
                        <a:pt x="1359" y="70"/>
                      </a:cubicBezTo>
                      <a:lnTo>
                        <a:pt x="1353" y="46"/>
                      </a:lnTo>
                      <a:cubicBezTo>
                        <a:pt x="1346" y="18"/>
                        <a:pt x="1322" y="1"/>
                        <a:pt x="1295" y="1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54" name="Google Shape;1286;p38">
                  <a:extLst>
                    <a:ext uri="{FF2B5EF4-FFF2-40B4-BE49-F238E27FC236}">
                      <a16:creationId xmlns:a16="http://schemas.microsoft.com/office/drawing/2014/main" id="{5454986E-0EA1-B02B-BEB8-BD434E65685B}"/>
                    </a:ext>
                  </a:extLst>
                </p:cNvPr>
                <p:cNvSpPr/>
                <p:nvPr/>
              </p:nvSpPr>
              <p:spPr>
                <a:xfrm rot="520759">
                  <a:off x="8252670" y="4352153"/>
                  <a:ext cx="122116" cy="431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3" h="482" extrusionOk="0">
                      <a:moveTo>
                        <a:pt x="72" y="1"/>
                      </a:moveTo>
                      <a:cubicBezTo>
                        <a:pt x="47" y="1"/>
                        <a:pt x="23" y="18"/>
                        <a:pt x="16" y="44"/>
                      </a:cubicBezTo>
                      <a:lnTo>
                        <a:pt x="8" y="67"/>
                      </a:lnTo>
                      <a:cubicBezTo>
                        <a:pt x="1" y="99"/>
                        <a:pt x="19" y="132"/>
                        <a:pt x="50" y="140"/>
                      </a:cubicBezTo>
                      <a:lnTo>
                        <a:pt x="1274" y="479"/>
                      </a:lnTo>
                      <a:cubicBezTo>
                        <a:pt x="1280" y="481"/>
                        <a:pt x="1285" y="481"/>
                        <a:pt x="1291" y="481"/>
                      </a:cubicBezTo>
                      <a:cubicBezTo>
                        <a:pt x="1316" y="481"/>
                        <a:pt x="1340" y="465"/>
                        <a:pt x="1347" y="439"/>
                      </a:cubicBezTo>
                      <a:lnTo>
                        <a:pt x="1353" y="415"/>
                      </a:lnTo>
                      <a:cubicBezTo>
                        <a:pt x="1362" y="384"/>
                        <a:pt x="1344" y="351"/>
                        <a:pt x="1311" y="342"/>
                      </a:cubicBezTo>
                      <a:lnTo>
                        <a:pt x="89" y="3"/>
                      </a:lnTo>
                      <a:cubicBezTo>
                        <a:pt x="83" y="2"/>
                        <a:pt x="78" y="1"/>
                        <a:pt x="72" y="1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55" name="Google Shape;1287;p38">
                  <a:extLst>
                    <a:ext uri="{FF2B5EF4-FFF2-40B4-BE49-F238E27FC236}">
                      <a16:creationId xmlns:a16="http://schemas.microsoft.com/office/drawing/2014/main" id="{7B88CC17-CD32-EDEB-5D46-7DF7543630C5}"/>
                    </a:ext>
                  </a:extLst>
                </p:cNvPr>
                <p:cNvSpPr/>
                <p:nvPr/>
              </p:nvSpPr>
              <p:spPr>
                <a:xfrm rot="520759">
                  <a:off x="8267083" y="4328320"/>
                  <a:ext cx="93088" cy="933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9" h="1042" extrusionOk="0">
                      <a:moveTo>
                        <a:pt x="82" y="1"/>
                      </a:moveTo>
                      <a:cubicBezTo>
                        <a:pt x="67" y="1"/>
                        <a:pt x="52" y="6"/>
                        <a:pt x="40" y="17"/>
                      </a:cubicBezTo>
                      <a:lnTo>
                        <a:pt x="23" y="35"/>
                      </a:lnTo>
                      <a:cubicBezTo>
                        <a:pt x="0" y="58"/>
                        <a:pt x="0" y="95"/>
                        <a:pt x="23" y="119"/>
                      </a:cubicBezTo>
                      <a:lnTo>
                        <a:pt x="913" y="1024"/>
                      </a:lnTo>
                      <a:cubicBezTo>
                        <a:pt x="925" y="1036"/>
                        <a:pt x="940" y="1042"/>
                        <a:pt x="955" y="1042"/>
                      </a:cubicBezTo>
                      <a:cubicBezTo>
                        <a:pt x="969" y="1042"/>
                        <a:pt x="984" y="1036"/>
                        <a:pt x="996" y="1024"/>
                      </a:cubicBezTo>
                      <a:lnTo>
                        <a:pt x="1014" y="1007"/>
                      </a:lnTo>
                      <a:cubicBezTo>
                        <a:pt x="1038" y="985"/>
                        <a:pt x="1038" y="948"/>
                        <a:pt x="1014" y="924"/>
                      </a:cubicBezTo>
                      <a:lnTo>
                        <a:pt x="124" y="19"/>
                      </a:lnTo>
                      <a:cubicBezTo>
                        <a:pt x="113" y="7"/>
                        <a:pt x="97" y="1"/>
                        <a:pt x="82" y="1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56" name="Google Shape;1288;p38">
                  <a:extLst>
                    <a:ext uri="{FF2B5EF4-FFF2-40B4-BE49-F238E27FC236}">
                      <a16:creationId xmlns:a16="http://schemas.microsoft.com/office/drawing/2014/main" id="{E30701A7-ED43-249F-EE36-3177FB674EC5}"/>
                    </a:ext>
                  </a:extLst>
                </p:cNvPr>
                <p:cNvSpPr/>
                <p:nvPr/>
              </p:nvSpPr>
              <p:spPr>
                <a:xfrm rot="520759">
                  <a:off x="8289844" y="4313716"/>
                  <a:ext cx="47753" cy="120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3" h="1341" extrusionOk="0">
                      <a:moveTo>
                        <a:pt x="91" y="0"/>
                      </a:moveTo>
                      <a:cubicBezTo>
                        <a:pt x="85" y="0"/>
                        <a:pt x="79" y="1"/>
                        <a:pt x="73" y="3"/>
                      </a:cubicBezTo>
                      <a:lnTo>
                        <a:pt x="49" y="10"/>
                      </a:lnTo>
                      <a:cubicBezTo>
                        <a:pt x="18" y="19"/>
                        <a:pt x="0" y="54"/>
                        <a:pt x="11" y="85"/>
                      </a:cubicBezTo>
                      <a:lnTo>
                        <a:pt x="385" y="1299"/>
                      </a:lnTo>
                      <a:cubicBezTo>
                        <a:pt x="392" y="1324"/>
                        <a:pt x="416" y="1340"/>
                        <a:pt x="441" y="1340"/>
                      </a:cubicBezTo>
                      <a:cubicBezTo>
                        <a:pt x="447" y="1340"/>
                        <a:pt x="453" y="1339"/>
                        <a:pt x="460" y="1337"/>
                      </a:cubicBezTo>
                      <a:lnTo>
                        <a:pt x="483" y="1330"/>
                      </a:lnTo>
                      <a:cubicBezTo>
                        <a:pt x="515" y="1321"/>
                        <a:pt x="533" y="1287"/>
                        <a:pt x="522" y="1255"/>
                      </a:cubicBezTo>
                      <a:lnTo>
                        <a:pt x="148" y="42"/>
                      </a:lnTo>
                      <a:cubicBezTo>
                        <a:pt x="139" y="16"/>
                        <a:pt x="116" y="0"/>
                        <a:pt x="91" y="0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1042" name="Google Shape;1289;p38">
                <a:extLst>
                  <a:ext uri="{FF2B5EF4-FFF2-40B4-BE49-F238E27FC236}">
                    <a16:creationId xmlns:a16="http://schemas.microsoft.com/office/drawing/2014/main" id="{A12A3B68-6122-1E1A-EFAC-CA7A1E496937}"/>
                  </a:ext>
                </a:extLst>
              </p:cNvPr>
              <p:cNvSpPr/>
              <p:nvPr/>
            </p:nvSpPr>
            <p:spPr>
              <a:xfrm rot="520688">
                <a:off x="8302526" y="4367294"/>
                <a:ext cx="31972" cy="26944"/>
              </a:xfrm>
              <a:custGeom>
                <a:avLst/>
                <a:gdLst/>
                <a:ahLst/>
                <a:cxnLst/>
                <a:rect l="l" t="t" r="r" b="b"/>
                <a:pathLst>
                  <a:path w="318" h="268" extrusionOk="0">
                    <a:moveTo>
                      <a:pt x="168" y="0"/>
                    </a:moveTo>
                    <a:cubicBezTo>
                      <a:pt x="70" y="0"/>
                      <a:pt x="1" y="108"/>
                      <a:pt x="52" y="199"/>
                    </a:cubicBezTo>
                    <a:cubicBezTo>
                      <a:pt x="79" y="246"/>
                      <a:pt x="124" y="268"/>
                      <a:pt x="169" y="268"/>
                    </a:cubicBezTo>
                    <a:cubicBezTo>
                      <a:pt x="225" y="268"/>
                      <a:pt x="281" y="233"/>
                      <a:pt x="299" y="170"/>
                    </a:cubicBezTo>
                    <a:cubicBezTo>
                      <a:pt x="318" y="98"/>
                      <a:pt x="276" y="25"/>
                      <a:pt x="206" y="6"/>
                    </a:cubicBezTo>
                    <a:cubicBezTo>
                      <a:pt x="193" y="2"/>
                      <a:pt x="180" y="0"/>
                      <a:pt x="168" y="0"/>
                    </a:cubicBezTo>
                    <a:close/>
                  </a:path>
                </a:pathLst>
              </a:custGeom>
              <a:solidFill>
                <a:srgbClr val="322C2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grpSp>
            <p:nvGrpSpPr>
              <p:cNvPr id="1043" name="Google Shape;1290;p38">
                <a:extLst>
                  <a:ext uri="{FF2B5EF4-FFF2-40B4-BE49-F238E27FC236}">
                    <a16:creationId xmlns:a16="http://schemas.microsoft.com/office/drawing/2014/main" id="{D0092205-051E-6CC7-2E21-4A8975C8DDF1}"/>
                  </a:ext>
                </a:extLst>
              </p:cNvPr>
              <p:cNvGrpSpPr/>
              <p:nvPr/>
            </p:nvGrpSpPr>
            <p:grpSpPr>
              <a:xfrm>
                <a:off x="8160089" y="3957695"/>
                <a:ext cx="86978" cy="85331"/>
                <a:chOff x="8160775" y="3958461"/>
                <a:chExt cx="123180" cy="120865"/>
              </a:xfrm>
            </p:grpSpPr>
            <p:sp>
              <p:nvSpPr>
                <p:cNvPr id="1045" name="Google Shape;1291;p38">
                  <a:extLst>
                    <a:ext uri="{FF2B5EF4-FFF2-40B4-BE49-F238E27FC236}">
                      <a16:creationId xmlns:a16="http://schemas.microsoft.com/office/drawing/2014/main" id="{C3D3B2DB-F64F-3E77-0324-49960E8A0C72}"/>
                    </a:ext>
                  </a:extLst>
                </p:cNvPr>
                <p:cNvSpPr/>
                <p:nvPr/>
              </p:nvSpPr>
              <p:spPr>
                <a:xfrm rot="520759">
                  <a:off x="8200715" y="3958461"/>
                  <a:ext cx="44349" cy="1208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95" h="1349" extrusionOk="0">
                      <a:moveTo>
                        <a:pt x="405" y="0"/>
                      </a:moveTo>
                      <a:cubicBezTo>
                        <a:pt x="379" y="0"/>
                        <a:pt x="355" y="17"/>
                        <a:pt x="348" y="43"/>
                      </a:cubicBezTo>
                      <a:lnTo>
                        <a:pt x="8" y="1267"/>
                      </a:lnTo>
                      <a:cubicBezTo>
                        <a:pt x="1" y="1298"/>
                        <a:pt x="19" y="1331"/>
                        <a:pt x="50" y="1340"/>
                      </a:cubicBezTo>
                      <a:lnTo>
                        <a:pt x="74" y="1346"/>
                      </a:lnTo>
                      <a:cubicBezTo>
                        <a:pt x="79" y="1347"/>
                        <a:pt x="85" y="1348"/>
                        <a:pt x="90" y="1348"/>
                      </a:cubicBezTo>
                      <a:cubicBezTo>
                        <a:pt x="116" y="1348"/>
                        <a:pt x="139" y="1331"/>
                        <a:pt x="147" y="1306"/>
                      </a:cubicBezTo>
                      <a:lnTo>
                        <a:pt x="485" y="81"/>
                      </a:lnTo>
                      <a:cubicBezTo>
                        <a:pt x="494" y="50"/>
                        <a:pt x="476" y="17"/>
                        <a:pt x="445" y="8"/>
                      </a:cubicBezTo>
                      <a:lnTo>
                        <a:pt x="421" y="2"/>
                      </a:lnTo>
                      <a:cubicBezTo>
                        <a:pt x="416" y="1"/>
                        <a:pt x="410" y="0"/>
                        <a:pt x="405" y="0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46" name="Google Shape;1292;p38">
                  <a:extLst>
                    <a:ext uri="{FF2B5EF4-FFF2-40B4-BE49-F238E27FC236}">
                      <a16:creationId xmlns:a16="http://schemas.microsoft.com/office/drawing/2014/main" id="{27FC8734-13B7-F2CE-0C18-43840CFA2B05}"/>
                    </a:ext>
                  </a:extLst>
                </p:cNvPr>
                <p:cNvSpPr/>
                <p:nvPr/>
              </p:nvSpPr>
              <p:spPr>
                <a:xfrm rot="520759">
                  <a:off x="8172949" y="3975650"/>
                  <a:ext cx="99718" cy="8637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13" h="964" extrusionOk="0">
                      <a:moveTo>
                        <a:pt x="1031" y="1"/>
                      </a:moveTo>
                      <a:cubicBezTo>
                        <a:pt x="1017" y="1"/>
                        <a:pt x="1004" y="5"/>
                        <a:pt x="994" y="15"/>
                      </a:cubicBezTo>
                      <a:lnTo>
                        <a:pt x="29" y="841"/>
                      </a:lnTo>
                      <a:cubicBezTo>
                        <a:pt x="3" y="862"/>
                        <a:pt x="0" y="899"/>
                        <a:pt x="21" y="924"/>
                      </a:cubicBezTo>
                      <a:lnTo>
                        <a:pt x="38" y="944"/>
                      </a:lnTo>
                      <a:cubicBezTo>
                        <a:pt x="49" y="957"/>
                        <a:pt x="66" y="964"/>
                        <a:pt x="82" y="964"/>
                      </a:cubicBezTo>
                      <a:cubicBezTo>
                        <a:pt x="96" y="964"/>
                        <a:pt x="110" y="959"/>
                        <a:pt x="121" y="950"/>
                      </a:cubicBezTo>
                      <a:lnTo>
                        <a:pt x="1086" y="123"/>
                      </a:lnTo>
                      <a:cubicBezTo>
                        <a:pt x="1111" y="103"/>
                        <a:pt x="1113" y="65"/>
                        <a:pt x="1092" y="40"/>
                      </a:cubicBezTo>
                      <a:lnTo>
                        <a:pt x="1076" y="22"/>
                      </a:lnTo>
                      <a:cubicBezTo>
                        <a:pt x="1064" y="8"/>
                        <a:pt x="1047" y="1"/>
                        <a:pt x="1031" y="1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47" name="Google Shape;1293;p38">
                  <a:extLst>
                    <a:ext uri="{FF2B5EF4-FFF2-40B4-BE49-F238E27FC236}">
                      <a16:creationId xmlns:a16="http://schemas.microsoft.com/office/drawing/2014/main" id="{80C97973-4C25-853F-D0AE-27AD8F363EAD}"/>
                    </a:ext>
                  </a:extLst>
                </p:cNvPr>
                <p:cNvSpPr/>
                <p:nvPr/>
              </p:nvSpPr>
              <p:spPr>
                <a:xfrm rot="520759">
                  <a:off x="8160775" y="3999202"/>
                  <a:ext cx="122564" cy="4139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8" h="462" extrusionOk="0">
                      <a:moveTo>
                        <a:pt x="1295" y="1"/>
                      </a:moveTo>
                      <a:cubicBezTo>
                        <a:pt x="1291" y="1"/>
                        <a:pt x="1286" y="2"/>
                        <a:pt x="1281" y="3"/>
                      </a:cubicBezTo>
                      <a:lnTo>
                        <a:pt x="51" y="320"/>
                      </a:lnTo>
                      <a:cubicBezTo>
                        <a:pt x="20" y="329"/>
                        <a:pt x="0" y="361"/>
                        <a:pt x="9" y="393"/>
                      </a:cubicBezTo>
                      <a:lnTo>
                        <a:pt x="15" y="417"/>
                      </a:lnTo>
                      <a:cubicBezTo>
                        <a:pt x="23" y="443"/>
                        <a:pt x="46" y="461"/>
                        <a:pt x="71" y="461"/>
                      </a:cubicBezTo>
                      <a:cubicBezTo>
                        <a:pt x="76" y="461"/>
                        <a:pt x="82" y="460"/>
                        <a:pt x="87" y="459"/>
                      </a:cubicBezTo>
                      <a:lnTo>
                        <a:pt x="1317" y="141"/>
                      </a:lnTo>
                      <a:cubicBezTo>
                        <a:pt x="1348" y="132"/>
                        <a:pt x="1368" y="101"/>
                        <a:pt x="1359" y="70"/>
                      </a:cubicBezTo>
                      <a:lnTo>
                        <a:pt x="1353" y="46"/>
                      </a:lnTo>
                      <a:cubicBezTo>
                        <a:pt x="1346" y="18"/>
                        <a:pt x="1322" y="1"/>
                        <a:pt x="1295" y="1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48" name="Google Shape;1294;p38">
                  <a:extLst>
                    <a:ext uri="{FF2B5EF4-FFF2-40B4-BE49-F238E27FC236}">
                      <a16:creationId xmlns:a16="http://schemas.microsoft.com/office/drawing/2014/main" id="{182862EA-3D45-C630-259D-A0E9EEA8E188}"/>
                    </a:ext>
                  </a:extLst>
                </p:cNvPr>
                <p:cNvSpPr/>
                <p:nvPr/>
              </p:nvSpPr>
              <p:spPr>
                <a:xfrm rot="520759">
                  <a:off x="8161839" y="3997256"/>
                  <a:ext cx="122116" cy="431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63" h="482" extrusionOk="0">
                      <a:moveTo>
                        <a:pt x="72" y="1"/>
                      </a:moveTo>
                      <a:cubicBezTo>
                        <a:pt x="47" y="1"/>
                        <a:pt x="23" y="18"/>
                        <a:pt x="16" y="44"/>
                      </a:cubicBezTo>
                      <a:lnTo>
                        <a:pt x="8" y="67"/>
                      </a:lnTo>
                      <a:cubicBezTo>
                        <a:pt x="1" y="99"/>
                        <a:pt x="19" y="132"/>
                        <a:pt x="50" y="140"/>
                      </a:cubicBezTo>
                      <a:lnTo>
                        <a:pt x="1274" y="479"/>
                      </a:lnTo>
                      <a:cubicBezTo>
                        <a:pt x="1280" y="481"/>
                        <a:pt x="1285" y="481"/>
                        <a:pt x="1291" y="481"/>
                      </a:cubicBezTo>
                      <a:cubicBezTo>
                        <a:pt x="1316" y="481"/>
                        <a:pt x="1340" y="465"/>
                        <a:pt x="1347" y="439"/>
                      </a:cubicBezTo>
                      <a:lnTo>
                        <a:pt x="1353" y="415"/>
                      </a:lnTo>
                      <a:cubicBezTo>
                        <a:pt x="1362" y="384"/>
                        <a:pt x="1344" y="351"/>
                        <a:pt x="1311" y="342"/>
                      </a:cubicBezTo>
                      <a:lnTo>
                        <a:pt x="89" y="3"/>
                      </a:lnTo>
                      <a:cubicBezTo>
                        <a:pt x="83" y="2"/>
                        <a:pt x="78" y="1"/>
                        <a:pt x="72" y="1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49" name="Google Shape;1295;p38">
                  <a:extLst>
                    <a:ext uri="{FF2B5EF4-FFF2-40B4-BE49-F238E27FC236}">
                      <a16:creationId xmlns:a16="http://schemas.microsoft.com/office/drawing/2014/main" id="{464B2643-AA67-1430-7DC2-57CC0393CD41}"/>
                    </a:ext>
                  </a:extLst>
                </p:cNvPr>
                <p:cNvSpPr/>
                <p:nvPr/>
              </p:nvSpPr>
              <p:spPr>
                <a:xfrm rot="520759">
                  <a:off x="8176252" y="3973423"/>
                  <a:ext cx="93088" cy="933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9" h="1042" extrusionOk="0">
                      <a:moveTo>
                        <a:pt x="82" y="1"/>
                      </a:moveTo>
                      <a:cubicBezTo>
                        <a:pt x="67" y="1"/>
                        <a:pt x="52" y="6"/>
                        <a:pt x="40" y="17"/>
                      </a:cubicBezTo>
                      <a:lnTo>
                        <a:pt x="23" y="35"/>
                      </a:lnTo>
                      <a:cubicBezTo>
                        <a:pt x="0" y="58"/>
                        <a:pt x="0" y="95"/>
                        <a:pt x="23" y="119"/>
                      </a:cubicBezTo>
                      <a:lnTo>
                        <a:pt x="913" y="1024"/>
                      </a:lnTo>
                      <a:cubicBezTo>
                        <a:pt x="925" y="1036"/>
                        <a:pt x="940" y="1042"/>
                        <a:pt x="955" y="1042"/>
                      </a:cubicBezTo>
                      <a:cubicBezTo>
                        <a:pt x="969" y="1042"/>
                        <a:pt x="984" y="1036"/>
                        <a:pt x="996" y="1024"/>
                      </a:cubicBezTo>
                      <a:lnTo>
                        <a:pt x="1014" y="1007"/>
                      </a:lnTo>
                      <a:cubicBezTo>
                        <a:pt x="1038" y="985"/>
                        <a:pt x="1038" y="948"/>
                        <a:pt x="1014" y="924"/>
                      </a:cubicBezTo>
                      <a:lnTo>
                        <a:pt x="124" y="19"/>
                      </a:lnTo>
                      <a:cubicBezTo>
                        <a:pt x="113" y="7"/>
                        <a:pt x="97" y="1"/>
                        <a:pt x="82" y="1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050" name="Google Shape;1296;p38">
                  <a:extLst>
                    <a:ext uri="{FF2B5EF4-FFF2-40B4-BE49-F238E27FC236}">
                      <a16:creationId xmlns:a16="http://schemas.microsoft.com/office/drawing/2014/main" id="{764623A0-2AAB-0409-BD76-EBB796854E9D}"/>
                    </a:ext>
                  </a:extLst>
                </p:cNvPr>
                <p:cNvSpPr/>
                <p:nvPr/>
              </p:nvSpPr>
              <p:spPr>
                <a:xfrm rot="520759">
                  <a:off x="8199013" y="3958819"/>
                  <a:ext cx="47753" cy="12014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3" h="1341" extrusionOk="0">
                      <a:moveTo>
                        <a:pt x="91" y="0"/>
                      </a:moveTo>
                      <a:cubicBezTo>
                        <a:pt x="85" y="0"/>
                        <a:pt x="79" y="1"/>
                        <a:pt x="73" y="3"/>
                      </a:cubicBezTo>
                      <a:lnTo>
                        <a:pt x="49" y="10"/>
                      </a:lnTo>
                      <a:cubicBezTo>
                        <a:pt x="18" y="19"/>
                        <a:pt x="0" y="54"/>
                        <a:pt x="11" y="85"/>
                      </a:cubicBezTo>
                      <a:lnTo>
                        <a:pt x="385" y="1299"/>
                      </a:lnTo>
                      <a:cubicBezTo>
                        <a:pt x="392" y="1324"/>
                        <a:pt x="416" y="1340"/>
                        <a:pt x="441" y="1340"/>
                      </a:cubicBezTo>
                      <a:cubicBezTo>
                        <a:pt x="447" y="1340"/>
                        <a:pt x="453" y="1339"/>
                        <a:pt x="460" y="1337"/>
                      </a:cubicBezTo>
                      <a:lnTo>
                        <a:pt x="483" y="1330"/>
                      </a:lnTo>
                      <a:cubicBezTo>
                        <a:pt x="515" y="1321"/>
                        <a:pt x="533" y="1287"/>
                        <a:pt x="522" y="1255"/>
                      </a:cubicBezTo>
                      <a:lnTo>
                        <a:pt x="148" y="42"/>
                      </a:lnTo>
                      <a:cubicBezTo>
                        <a:pt x="139" y="16"/>
                        <a:pt x="116" y="0"/>
                        <a:pt x="91" y="0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>
                  <a:def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defPPr>
                  <a:lvl1pPr marR="0" lvl="0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1pPr>
                  <a:lvl2pPr marR="0" lvl="1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2pPr>
                  <a:lvl3pPr marR="0" lvl="2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3pPr>
                  <a:lvl4pPr marR="0" lvl="3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4pPr>
                  <a:lvl5pPr marR="0" lvl="4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5pPr>
                  <a:lvl6pPr marR="0" lvl="5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6pPr>
                  <a:lvl7pPr marR="0" lvl="6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7pPr>
                  <a:lvl8pPr marR="0" lvl="7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8pPr>
                  <a:lvl9pPr marR="0" lvl="8" algn="l" rtl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Font typeface="Arial"/>
                    <a:defRPr sz="1400" b="0" i="0" u="none" strike="noStrike" cap="none">
                      <a:solidFill>
                        <a:srgbClr val="000000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lvl9pPr>
                </a:lstStyle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1044" name="Google Shape;1297;p38">
                <a:extLst>
                  <a:ext uri="{FF2B5EF4-FFF2-40B4-BE49-F238E27FC236}">
                    <a16:creationId xmlns:a16="http://schemas.microsoft.com/office/drawing/2014/main" id="{7C52299A-F178-FDD3-DF53-762D323F2E55}"/>
                  </a:ext>
                </a:extLst>
              </p:cNvPr>
              <p:cNvSpPr/>
              <p:nvPr/>
            </p:nvSpPr>
            <p:spPr>
              <a:xfrm rot="520639">
                <a:off x="8192241" y="3991552"/>
                <a:ext cx="20119" cy="16954"/>
              </a:xfrm>
              <a:custGeom>
                <a:avLst/>
                <a:gdLst/>
                <a:ahLst/>
                <a:cxnLst/>
                <a:rect l="l" t="t" r="r" b="b"/>
                <a:pathLst>
                  <a:path w="318" h="268" extrusionOk="0">
                    <a:moveTo>
                      <a:pt x="168" y="0"/>
                    </a:moveTo>
                    <a:cubicBezTo>
                      <a:pt x="70" y="0"/>
                      <a:pt x="1" y="108"/>
                      <a:pt x="52" y="199"/>
                    </a:cubicBezTo>
                    <a:cubicBezTo>
                      <a:pt x="79" y="246"/>
                      <a:pt x="124" y="268"/>
                      <a:pt x="169" y="268"/>
                    </a:cubicBezTo>
                    <a:cubicBezTo>
                      <a:pt x="225" y="268"/>
                      <a:pt x="281" y="233"/>
                      <a:pt x="299" y="170"/>
                    </a:cubicBezTo>
                    <a:cubicBezTo>
                      <a:pt x="318" y="98"/>
                      <a:pt x="276" y="25"/>
                      <a:pt x="206" y="6"/>
                    </a:cubicBezTo>
                    <a:cubicBezTo>
                      <a:pt x="193" y="2"/>
                      <a:pt x="180" y="0"/>
                      <a:pt x="168" y="0"/>
                    </a:cubicBezTo>
                    <a:close/>
                  </a:path>
                </a:pathLst>
              </a:custGeom>
              <a:solidFill>
                <a:srgbClr val="322C2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4" name="Google Shape;1298;p38">
              <a:extLst>
                <a:ext uri="{FF2B5EF4-FFF2-40B4-BE49-F238E27FC236}">
                  <a16:creationId xmlns:a16="http://schemas.microsoft.com/office/drawing/2014/main" id="{26B2AA0D-A8FE-9118-32FE-AFED2DF6ADC0}"/>
                </a:ext>
              </a:extLst>
            </p:cNvPr>
            <p:cNvGrpSpPr/>
            <p:nvPr/>
          </p:nvGrpSpPr>
          <p:grpSpPr>
            <a:xfrm>
              <a:off x="5653655" y="1006770"/>
              <a:ext cx="2486863" cy="3598642"/>
              <a:chOff x="5653655" y="1006588"/>
              <a:chExt cx="2486863" cy="3592534"/>
            </a:xfrm>
          </p:grpSpPr>
          <p:sp>
            <p:nvSpPr>
              <p:cNvPr id="54" name="Google Shape;1299;p38">
                <a:extLst>
                  <a:ext uri="{FF2B5EF4-FFF2-40B4-BE49-F238E27FC236}">
                    <a16:creationId xmlns:a16="http://schemas.microsoft.com/office/drawing/2014/main" id="{C83E3461-2B12-EE9B-67DB-624A456E6B30}"/>
                  </a:ext>
                </a:extLst>
              </p:cNvPr>
              <p:cNvSpPr/>
              <p:nvPr/>
            </p:nvSpPr>
            <p:spPr>
              <a:xfrm>
                <a:off x="5653655" y="2631353"/>
                <a:ext cx="530969" cy="1905248"/>
              </a:xfrm>
              <a:custGeom>
                <a:avLst/>
                <a:gdLst/>
                <a:ahLst/>
                <a:cxnLst/>
                <a:rect l="l" t="t" r="r" b="b"/>
                <a:pathLst>
                  <a:path w="4516" h="15887" extrusionOk="0">
                    <a:moveTo>
                      <a:pt x="0" y="1"/>
                    </a:moveTo>
                    <a:lnTo>
                      <a:pt x="0" y="15886"/>
                    </a:lnTo>
                    <a:lnTo>
                      <a:pt x="4516" y="15886"/>
                    </a:lnTo>
                    <a:lnTo>
                      <a:pt x="4516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1300;p38">
                <a:extLst>
                  <a:ext uri="{FF2B5EF4-FFF2-40B4-BE49-F238E27FC236}">
                    <a16:creationId xmlns:a16="http://schemas.microsoft.com/office/drawing/2014/main" id="{F1CB3C27-9247-D6B2-1D1A-10471CBC8297}"/>
                  </a:ext>
                </a:extLst>
              </p:cNvPr>
              <p:cNvSpPr/>
              <p:nvPr/>
            </p:nvSpPr>
            <p:spPr>
              <a:xfrm>
                <a:off x="7054645" y="2631353"/>
                <a:ext cx="530756" cy="1905248"/>
              </a:xfrm>
              <a:custGeom>
                <a:avLst/>
                <a:gdLst/>
                <a:ahLst/>
                <a:cxnLst/>
                <a:rect l="l" t="t" r="r" b="b"/>
                <a:pathLst>
                  <a:path w="4514" h="15887" extrusionOk="0">
                    <a:moveTo>
                      <a:pt x="0" y="1"/>
                    </a:moveTo>
                    <a:lnTo>
                      <a:pt x="0" y="15886"/>
                    </a:lnTo>
                    <a:lnTo>
                      <a:pt x="4514" y="15886"/>
                    </a:lnTo>
                    <a:lnTo>
                      <a:pt x="4514" y="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6" name="Google Shape;1301;p38">
                <a:extLst>
                  <a:ext uri="{FF2B5EF4-FFF2-40B4-BE49-F238E27FC236}">
                    <a16:creationId xmlns:a16="http://schemas.microsoft.com/office/drawing/2014/main" id="{382D1104-CA1C-B8DF-D206-C231D6D12B08}"/>
                  </a:ext>
                </a:extLst>
              </p:cNvPr>
              <p:cNvSpPr/>
              <p:nvPr/>
            </p:nvSpPr>
            <p:spPr>
              <a:xfrm>
                <a:off x="5924557" y="2575025"/>
                <a:ext cx="879028" cy="2024097"/>
              </a:xfrm>
              <a:custGeom>
                <a:avLst/>
                <a:gdLst/>
                <a:ahLst/>
                <a:cxnLst/>
                <a:rect l="l" t="t" r="r" b="b"/>
                <a:pathLst>
                  <a:path w="7476" h="17215" extrusionOk="0">
                    <a:moveTo>
                      <a:pt x="0" y="0"/>
                    </a:moveTo>
                    <a:lnTo>
                      <a:pt x="0" y="17214"/>
                    </a:lnTo>
                    <a:lnTo>
                      <a:pt x="7476" y="17214"/>
                    </a:lnTo>
                    <a:lnTo>
                      <a:pt x="7476" y="0"/>
                    </a:lnTo>
                    <a:close/>
                  </a:path>
                </a:pathLst>
              </a:custGeom>
              <a:solidFill>
                <a:srgbClr val="F5668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7" name="Google Shape;1302;p38">
                <a:extLst>
                  <a:ext uri="{FF2B5EF4-FFF2-40B4-BE49-F238E27FC236}">
                    <a16:creationId xmlns:a16="http://schemas.microsoft.com/office/drawing/2014/main" id="{071669C4-EB5C-F071-A15A-CD7413504280}"/>
                  </a:ext>
                </a:extLst>
              </p:cNvPr>
              <p:cNvSpPr/>
              <p:nvPr/>
            </p:nvSpPr>
            <p:spPr>
              <a:xfrm>
                <a:off x="5924557" y="2478020"/>
                <a:ext cx="879028" cy="97119"/>
              </a:xfrm>
              <a:custGeom>
                <a:avLst/>
                <a:gdLst/>
                <a:ahLst/>
                <a:cxnLst/>
                <a:rect l="l" t="t" r="r" b="b"/>
                <a:pathLst>
                  <a:path w="7476" h="826" extrusionOk="0">
                    <a:moveTo>
                      <a:pt x="0" y="0"/>
                    </a:moveTo>
                    <a:lnTo>
                      <a:pt x="0" y="825"/>
                    </a:lnTo>
                    <a:lnTo>
                      <a:pt x="7476" y="825"/>
                    </a:lnTo>
                    <a:lnTo>
                      <a:pt x="7476" y="0"/>
                    </a:lnTo>
                    <a:close/>
                  </a:path>
                </a:pathLst>
              </a:custGeom>
              <a:solidFill>
                <a:srgbClr val="C2A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9" name="Google Shape;1304;p38">
                <a:extLst>
                  <a:ext uri="{FF2B5EF4-FFF2-40B4-BE49-F238E27FC236}">
                    <a16:creationId xmlns:a16="http://schemas.microsoft.com/office/drawing/2014/main" id="{BC895009-BBDF-88EE-D578-6B8B5F24E963}"/>
                  </a:ext>
                </a:extLst>
              </p:cNvPr>
              <p:cNvSpPr/>
              <p:nvPr/>
            </p:nvSpPr>
            <p:spPr>
              <a:xfrm>
                <a:off x="6268255" y="2414172"/>
                <a:ext cx="74898" cy="78424"/>
              </a:xfrm>
              <a:custGeom>
                <a:avLst/>
                <a:gdLst/>
                <a:ahLst/>
                <a:cxnLst/>
                <a:rect l="l" t="t" r="r" b="b"/>
                <a:pathLst>
                  <a:path w="637" h="667" extrusionOk="0">
                    <a:moveTo>
                      <a:pt x="582" y="1"/>
                    </a:moveTo>
                    <a:lnTo>
                      <a:pt x="243" y="95"/>
                    </a:lnTo>
                    <a:cubicBezTo>
                      <a:pt x="243" y="95"/>
                      <a:pt x="0" y="563"/>
                      <a:pt x="113" y="600"/>
                    </a:cubicBezTo>
                    <a:cubicBezTo>
                      <a:pt x="183" y="623"/>
                      <a:pt x="323" y="667"/>
                      <a:pt x="434" y="667"/>
                    </a:cubicBezTo>
                    <a:cubicBezTo>
                      <a:pt x="503" y="667"/>
                      <a:pt x="560" y="650"/>
                      <a:pt x="582" y="600"/>
                    </a:cubicBezTo>
                    <a:cubicBezTo>
                      <a:pt x="637" y="469"/>
                      <a:pt x="582" y="1"/>
                      <a:pt x="582" y="1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0" name="Google Shape;1305;p38">
                <a:extLst>
                  <a:ext uri="{FF2B5EF4-FFF2-40B4-BE49-F238E27FC236}">
                    <a16:creationId xmlns:a16="http://schemas.microsoft.com/office/drawing/2014/main" id="{A7026E79-5386-C23F-6467-674ECE2FC67A}"/>
                  </a:ext>
                </a:extLst>
              </p:cNvPr>
              <p:cNvSpPr/>
              <p:nvPr/>
            </p:nvSpPr>
            <p:spPr>
              <a:xfrm>
                <a:off x="6248384" y="2468495"/>
                <a:ext cx="200474" cy="67489"/>
              </a:xfrm>
              <a:custGeom>
                <a:avLst/>
                <a:gdLst/>
                <a:ahLst/>
                <a:cxnLst/>
                <a:rect l="l" t="t" r="r" b="b"/>
                <a:pathLst>
                  <a:path w="1705" h="574" extrusionOk="0">
                    <a:moveTo>
                      <a:pt x="279" y="1"/>
                    </a:moveTo>
                    <a:cubicBezTo>
                      <a:pt x="279" y="1"/>
                      <a:pt x="1" y="401"/>
                      <a:pt x="75" y="456"/>
                    </a:cubicBezTo>
                    <a:cubicBezTo>
                      <a:pt x="150" y="512"/>
                      <a:pt x="357" y="512"/>
                      <a:pt x="357" y="512"/>
                    </a:cubicBezTo>
                    <a:cubicBezTo>
                      <a:pt x="357" y="512"/>
                      <a:pt x="907" y="573"/>
                      <a:pt x="1305" y="573"/>
                    </a:cubicBezTo>
                    <a:cubicBezTo>
                      <a:pt x="1529" y="573"/>
                      <a:pt x="1705" y="554"/>
                      <a:pt x="1705" y="493"/>
                    </a:cubicBezTo>
                    <a:lnTo>
                      <a:pt x="880" y="213"/>
                    </a:lnTo>
                    <a:lnTo>
                      <a:pt x="774" y="62"/>
                    </a:lnTo>
                    <a:lnTo>
                      <a:pt x="279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1" name="Google Shape;1306;p38">
                <a:extLst>
                  <a:ext uri="{FF2B5EF4-FFF2-40B4-BE49-F238E27FC236}">
                    <a16:creationId xmlns:a16="http://schemas.microsoft.com/office/drawing/2014/main" id="{EB354FAA-6984-1685-DFAF-F1C0426A20FB}"/>
                  </a:ext>
                </a:extLst>
              </p:cNvPr>
              <p:cNvSpPr/>
              <p:nvPr/>
            </p:nvSpPr>
            <p:spPr>
              <a:xfrm>
                <a:off x="6268255" y="1704913"/>
                <a:ext cx="213996" cy="757199"/>
              </a:xfrm>
              <a:custGeom>
                <a:avLst/>
                <a:gdLst/>
                <a:ahLst/>
                <a:cxnLst/>
                <a:rect l="l" t="t" r="r" b="b"/>
                <a:pathLst>
                  <a:path w="1820" h="6440" extrusionOk="0">
                    <a:moveTo>
                      <a:pt x="188" y="1"/>
                    </a:moveTo>
                    <a:lnTo>
                      <a:pt x="355" y="3073"/>
                    </a:lnTo>
                    <a:cubicBezTo>
                      <a:pt x="355" y="3073"/>
                      <a:pt x="0" y="6313"/>
                      <a:pt x="188" y="6389"/>
                    </a:cubicBezTo>
                    <a:cubicBezTo>
                      <a:pt x="269" y="6421"/>
                      <a:pt x="360" y="6439"/>
                      <a:pt x="442" y="6439"/>
                    </a:cubicBezTo>
                    <a:cubicBezTo>
                      <a:pt x="550" y="6439"/>
                      <a:pt x="643" y="6407"/>
                      <a:pt x="674" y="6332"/>
                    </a:cubicBezTo>
                    <a:cubicBezTo>
                      <a:pt x="731" y="6203"/>
                      <a:pt x="1256" y="3972"/>
                      <a:pt x="1256" y="3972"/>
                    </a:cubicBezTo>
                    <a:cubicBezTo>
                      <a:pt x="1256" y="3972"/>
                      <a:pt x="1819" y="843"/>
                      <a:pt x="1754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2" name="Google Shape;1307;p38">
                <a:extLst>
                  <a:ext uri="{FF2B5EF4-FFF2-40B4-BE49-F238E27FC236}">
                    <a16:creationId xmlns:a16="http://schemas.microsoft.com/office/drawing/2014/main" id="{4766A71B-3A8E-89C2-6FF1-4AF578B8C4BF}"/>
                  </a:ext>
                </a:extLst>
              </p:cNvPr>
              <p:cNvSpPr/>
              <p:nvPr/>
            </p:nvSpPr>
            <p:spPr>
              <a:xfrm>
                <a:off x="6197705" y="2447095"/>
                <a:ext cx="75016" cy="78542"/>
              </a:xfrm>
              <a:custGeom>
                <a:avLst/>
                <a:gdLst/>
                <a:ahLst/>
                <a:cxnLst/>
                <a:rect l="l" t="t" r="r" b="b"/>
                <a:pathLst>
                  <a:path w="638" h="668" extrusionOk="0">
                    <a:moveTo>
                      <a:pt x="582" y="1"/>
                    </a:moveTo>
                    <a:lnTo>
                      <a:pt x="244" y="95"/>
                    </a:lnTo>
                    <a:cubicBezTo>
                      <a:pt x="244" y="95"/>
                      <a:pt x="1" y="563"/>
                      <a:pt x="114" y="600"/>
                    </a:cubicBezTo>
                    <a:cubicBezTo>
                      <a:pt x="184" y="623"/>
                      <a:pt x="324" y="668"/>
                      <a:pt x="435" y="668"/>
                    </a:cubicBezTo>
                    <a:cubicBezTo>
                      <a:pt x="503" y="668"/>
                      <a:pt x="560" y="651"/>
                      <a:pt x="582" y="600"/>
                    </a:cubicBezTo>
                    <a:cubicBezTo>
                      <a:pt x="637" y="471"/>
                      <a:pt x="582" y="1"/>
                      <a:pt x="582" y="1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63" name="Google Shape;1308;p38">
                <a:extLst>
                  <a:ext uri="{FF2B5EF4-FFF2-40B4-BE49-F238E27FC236}">
                    <a16:creationId xmlns:a16="http://schemas.microsoft.com/office/drawing/2014/main" id="{13538C96-55A1-42E3-C79A-13BC3D0E642C}"/>
                  </a:ext>
                </a:extLst>
              </p:cNvPr>
              <p:cNvSpPr/>
              <p:nvPr/>
            </p:nvSpPr>
            <p:spPr>
              <a:xfrm>
                <a:off x="6195588" y="1737953"/>
                <a:ext cx="213173" cy="757082"/>
              </a:xfrm>
              <a:custGeom>
                <a:avLst/>
                <a:gdLst/>
                <a:ahLst/>
                <a:cxnLst/>
                <a:rect l="l" t="t" r="r" b="b"/>
                <a:pathLst>
                  <a:path w="1813" h="6439" extrusionOk="0">
                    <a:moveTo>
                      <a:pt x="1" y="0"/>
                    </a:moveTo>
                    <a:lnTo>
                      <a:pt x="393" y="3072"/>
                    </a:lnTo>
                    <a:cubicBezTo>
                      <a:pt x="393" y="3072"/>
                      <a:pt x="38" y="6314"/>
                      <a:pt x="224" y="6388"/>
                    </a:cubicBezTo>
                    <a:cubicBezTo>
                      <a:pt x="305" y="6420"/>
                      <a:pt x="396" y="6439"/>
                      <a:pt x="478" y="6439"/>
                    </a:cubicBezTo>
                    <a:cubicBezTo>
                      <a:pt x="587" y="6439"/>
                      <a:pt x="680" y="6406"/>
                      <a:pt x="712" y="6332"/>
                    </a:cubicBezTo>
                    <a:cubicBezTo>
                      <a:pt x="769" y="6200"/>
                      <a:pt x="1292" y="3971"/>
                      <a:pt x="1292" y="3971"/>
                    </a:cubicBezTo>
                    <a:lnTo>
                      <a:pt x="1316" y="3838"/>
                    </a:lnTo>
                    <a:cubicBezTo>
                      <a:pt x="1382" y="3466"/>
                      <a:pt x="1568" y="2383"/>
                      <a:pt x="1687" y="1430"/>
                    </a:cubicBezTo>
                    <a:cubicBezTo>
                      <a:pt x="1763" y="832"/>
                      <a:pt x="1813" y="285"/>
                      <a:pt x="179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0" name="Google Shape;1309;p38">
                <a:extLst>
                  <a:ext uri="{FF2B5EF4-FFF2-40B4-BE49-F238E27FC236}">
                    <a16:creationId xmlns:a16="http://schemas.microsoft.com/office/drawing/2014/main" id="{8C26E1D3-DA07-AFB3-B3CA-4206A60A2BE1}"/>
                  </a:ext>
                </a:extLst>
              </p:cNvPr>
              <p:cNvSpPr/>
              <p:nvPr/>
            </p:nvSpPr>
            <p:spPr>
              <a:xfrm>
                <a:off x="6182419" y="1710909"/>
                <a:ext cx="295831" cy="62551"/>
              </a:xfrm>
              <a:custGeom>
                <a:avLst/>
                <a:gdLst/>
                <a:ahLst/>
                <a:cxnLst/>
                <a:rect l="l" t="t" r="r" b="b"/>
                <a:pathLst>
                  <a:path w="2516" h="532" extrusionOk="0">
                    <a:moveTo>
                      <a:pt x="2515" y="0"/>
                    </a:moveTo>
                    <a:lnTo>
                      <a:pt x="113" y="324"/>
                    </a:lnTo>
                    <a:cubicBezTo>
                      <a:pt x="131" y="342"/>
                      <a:pt x="1" y="510"/>
                      <a:pt x="113" y="510"/>
                    </a:cubicBezTo>
                    <a:cubicBezTo>
                      <a:pt x="151" y="510"/>
                      <a:pt x="440" y="531"/>
                      <a:pt x="805" y="531"/>
                    </a:cubicBezTo>
                    <a:cubicBezTo>
                      <a:pt x="1508" y="531"/>
                      <a:pt x="2493" y="454"/>
                      <a:pt x="2515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1" name="Google Shape;1310;p38">
                <a:extLst>
                  <a:ext uri="{FF2B5EF4-FFF2-40B4-BE49-F238E27FC236}">
                    <a16:creationId xmlns:a16="http://schemas.microsoft.com/office/drawing/2014/main" id="{7E51992A-FE6E-BA5E-4BD3-500CEF0255C0}"/>
                  </a:ext>
                </a:extLst>
              </p:cNvPr>
              <p:cNvSpPr/>
              <p:nvPr/>
            </p:nvSpPr>
            <p:spPr>
              <a:xfrm>
                <a:off x="6162429" y="1158623"/>
                <a:ext cx="330517" cy="594825"/>
              </a:xfrm>
              <a:custGeom>
                <a:avLst/>
                <a:gdLst/>
                <a:ahLst/>
                <a:cxnLst/>
                <a:rect l="l" t="t" r="r" b="b"/>
                <a:pathLst>
                  <a:path w="2811" h="5059" extrusionOk="0">
                    <a:moveTo>
                      <a:pt x="1166" y="1"/>
                    </a:moveTo>
                    <a:cubicBezTo>
                      <a:pt x="1156" y="1"/>
                      <a:pt x="1147" y="2"/>
                      <a:pt x="1137" y="3"/>
                    </a:cubicBezTo>
                    <a:cubicBezTo>
                      <a:pt x="793" y="63"/>
                      <a:pt x="320" y="995"/>
                      <a:pt x="301" y="1050"/>
                    </a:cubicBezTo>
                    <a:lnTo>
                      <a:pt x="1" y="3466"/>
                    </a:lnTo>
                    <a:lnTo>
                      <a:pt x="207" y="5058"/>
                    </a:lnTo>
                    <a:cubicBezTo>
                      <a:pt x="207" y="5058"/>
                      <a:pt x="207" y="5058"/>
                      <a:pt x="207" y="5058"/>
                    </a:cubicBezTo>
                    <a:cubicBezTo>
                      <a:pt x="239" y="5058"/>
                      <a:pt x="2662" y="5057"/>
                      <a:pt x="2736" y="4609"/>
                    </a:cubicBezTo>
                    <a:cubicBezTo>
                      <a:pt x="2810" y="4161"/>
                      <a:pt x="2342" y="2549"/>
                      <a:pt x="2342" y="2549"/>
                    </a:cubicBezTo>
                    <a:cubicBezTo>
                      <a:pt x="2411" y="2210"/>
                      <a:pt x="2424" y="1861"/>
                      <a:pt x="2379" y="1518"/>
                    </a:cubicBezTo>
                    <a:cubicBezTo>
                      <a:pt x="2307" y="990"/>
                      <a:pt x="1525" y="1"/>
                      <a:pt x="1166" y="1"/>
                    </a:cubicBezTo>
                    <a:close/>
                  </a:path>
                </a:pathLst>
              </a:custGeom>
              <a:solidFill>
                <a:srgbClr val="A48E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2" name="Google Shape;1311;p38">
                <a:extLst>
                  <a:ext uri="{FF2B5EF4-FFF2-40B4-BE49-F238E27FC236}">
                    <a16:creationId xmlns:a16="http://schemas.microsoft.com/office/drawing/2014/main" id="{37346714-2683-41D0-3F8C-F6BABD77B7FB}"/>
                  </a:ext>
                </a:extLst>
              </p:cNvPr>
              <p:cNvSpPr/>
              <p:nvPr/>
            </p:nvSpPr>
            <p:spPr>
              <a:xfrm>
                <a:off x="6274840" y="1105593"/>
                <a:ext cx="136746" cy="147795"/>
              </a:xfrm>
              <a:custGeom>
                <a:avLst/>
                <a:gdLst/>
                <a:ahLst/>
                <a:cxnLst/>
                <a:rect l="l" t="t" r="r" b="b"/>
                <a:pathLst>
                  <a:path w="1163" h="1257" extrusionOk="0">
                    <a:moveTo>
                      <a:pt x="675" y="1"/>
                    </a:moveTo>
                    <a:cubicBezTo>
                      <a:pt x="675" y="11"/>
                      <a:pt x="627" y="55"/>
                      <a:pt x="558" y="113"/>
                    </a:cubicBezTo>
                    <a:cubicBezTo>
                      <a:pt x="494" y="169"/>
                      <a:pt x="411" y="238"/>
                      <a:pt x="329" y="310"/>
                    </a:cubicBezTo>
                    <a:cubicBezTo>
                      <a:pt x="162" y="454"/>
                      <a:pt x="1" y="602"/>
                      <a:pt x="19" y="639"/>
                    </a:cubicBezTo>
                    <a:cubicBezTo>
                      <a:pt x="56" y="714"/>
                      <a:pt x="637" y="1256"/>
                      <a:pt x="637" y="1256"/>
                    </a:cubicBezTo>
                    <a:lnTo>
                      <a:pt x="718" y="1191"/>
                    </a:lnTo>
                    <a:lnTo>
                      <a:pt x="797" y="1125"/>
                    </a:lnTo>
                    <a:lnTo>
                      <a:pt x="1162" y="826"/>
                    </a:lnTo>
                    <a:lnTo>
                      <a:pt x="675" y="1"/>
                    </a:lnTo>
                    <a:close/>
                  </a:path>
                </a:pathLst>
              </a:custGeom>
              <a:solidFill>
                <a:srgbClr val="FF724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3" name="Google Shape;1312;p38">
                <a:extLst>
                  <a:ext uri="{FF2B5EF4-FFF2-40B4-BE49-F238E27FC236}">
                    <a16:creationId xmlns:a16="http://schemas.microsoft.com/office/drawing/2014/main" id="{268AD36A-2C9A-134C-9733-8DB49B01023F}"/>
                  </a:ext>
                </a:extLst>
              </p:cNvPr>
              <p:cNvSpPr/>
              <p:nvPr/>
            </p:nvSpPr>
            <p:spPr>
              <a:xfrm>
                <a:off x="6313408" y="1118998"/>
                <a:ext cx="55263" cy="126631"/>
              </a:xfrm>
              <a:custGeom>
                <a:avLst/>
                <a:gdLst/>
                <a:ahLst/>
                <a:cxnLst/>
                <a:rect l="l" t="t" r="r" b="b"/>
                <a:pathLst>
                  <a:path w="470" h="1077" extrusionOk="0">
                    <a:moveTo>
                      <a:pt x="230" y="0"/>
                    </a:moveTo>
                    <a:lnTo>
                      <a:pt x="230" y="0"/>
                    </a:lnTo>
                    <a:cubicBezTo>
                      <a:pt x="166" y="55"/>
                      <a:pt x="83" y="125"/>
                      <a:pt x="1" y="196"/>
                    </a:cubicBezTo>
                    <a:cubicBezTo>
                      <a:pt x="60" y="485"/>
                      <a:pt x="268" y="873"/>
                      <a:pt x="390" y="1077"/>
                    </a:cubicBezTo>
                    <a:lnTo>
                      <a:pt x="469" y="1011"/>
                    </a:lnTo>
                    <a:cubicBezTo>
                      <a:pt x="321" y="814"/>
                      <a:pt x="210" y="463"/>
                      <a:pt x="196" y="451"/>
                    </a:cubicBezTo>
                    <a:cubicBezTo>
                      <a:pt x="184" y="437"/>
                      <a:pt x="198" y="205"/>
                      <a:pt x="230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4" name="Google Shape;1313;p38">
                <a:extLst>
                  <a:ext uri="{FF2B5EF4-FFF2-40B4-BE49-F238E27FC236}">
                    <a16:creationId xmlns:a16="http://schemas.microsoft.com/office/drawing/2014/main" id="{9AE47922-57EB-5E28-C5CC-F1688057A5FB}"/>
                  </a:ext>
                </a:extLst>
              </p:cNvPr>
              <p:cNvSpPr/>
              <p:nvPr/>
            </p:nvSpPr>
            <p:spPr>
              <a:xfrm>
                <a:off x="6334338" y="1046449"/>
                <a:ext cx="154147" cy="206819"/>
              </a:xfrm>
              <a:custGeom>
                <a:avLst/>
                <a:gdLst/>
                <a:ahLst/>
                <a:cxnLst/>
                <a:rect l="l" t="t" r="r" b="b"/>
                <a:pathLst>
                  <a:path w="1311" h="1759" extrusionOk="0">
                    <a:moveTo>
                      <a:pt x="738" y="0"/>
                    </a:moveTo>
                    <a:cubicBezTo>
                      <a:pt x="623" y="0"/>
                      <a:pt x="498" y="58"/>
                      <a:pt x="370" y="207"/>
                    </a:cubicBezTo>
                    <a:cubicBezTo>
                      <a:pt x="339" y="243"/>
                      <a:pt x="310" y="283"/>
                      <a:pt x="284" y="323"/>
                    </a:cubicBezTo>
                    <a:cubicBezTo>
                      <a:pt x="260" y="306"/>
                      <a:pt x="232" y="291"/>
                      <a:pt x="203" y="291"/>
                    </a:cubicBezTo>
                    <a:cubicBezTo>
                      <a:pt x="170" y="291"/>
                      <a:pt x="136" y="312"/>
                      <a:pt x="112" y="374"/>
                    </a:cubicBezTo>
                    <a:cubicBezTo>
                      <a:pt x="38" y="565"/>
                      <a:pt x="0" y="1068"/>
                      <a:pt x="20" y="1068"/>
                    </a:cubicBezTo>
                    <a:cubicBezTo>
                      <a:pt x="38" y="1068"/>
                      <a:pt x="169" y="1506"/>
                      <a:pt x="336" y="1682"/>
                    </a:cubicBezTo>
                    <a:cubicBezTo>
                      <a:pt x="380" y="1729"/>
                      <a:pt x="427" y="1758"/>
                      <a:pt x="474" y="1758"/>
                    </a:cubicBezTo>
                    <a:cubicBezTo>
                      <a:pt x="510" y="1758"/>
                      <a:pt x="545" y="1742"/>
                      <a:pt x="580" y="1704"/>
                    </a:cubicBezTo>
                    <a:cubicBezTo>
                      <a:pt x="843" y="1422"/>
                      <a:pt x="1311" y="805"/>
                      <a:pt x="1236" y="486"/>
                    </a:cubicBezTo>
                    <a:cubicBezTo>
                      <a:pt x="1189" y="285"/>
                      <a:pt x="991" y="0"/>
                      <a:pt x="738" y="0"/>
                    </a:cubicBezTo>
                    <a:close/>
                  </a:path>
                </a:pathLst>
              </a:custGeom>
              <a:solidFill>
                <a:srgbClr val="FF724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5" name="Google Shape;1314;p38">
                <a:extLst>
                  <a:ext uri="{FF2B5EF4-FFF2-40B4-BE49-F238E27FC236}">
                    <a16:creationId xmlns:a16="http://schemas.microsoft.com/office/drawing/2014/main" id="{6C558CEB-5AEC-0F00-DD43-77B6D44435D7}"/>
                  </a:ext>
                </a:extLst>
              </p:cNvPr>
              <p:cNvSpPr/>
              <p:nvPr/>
            </p:nvSpPr>
            <p:spPr>
              <a:xfrm>
                <a:off x="6387133" y="1193310"/>
                <a:ext cx="27866" cy="16814"/>
              </a:xfrm>
              <a:custGeom>
                <a:avLst/>
                <a:gdLst/>
                <a:ahLst/>
                <a:cxnLst/>
                <a:rect l="l" t="t" r="r" b="b"/>
                <a:pathLst>
                  <a:path w="237" h="143" extrusionOk="0">
                    <a:moveTo>
                      <a:pt x="12" y="1"/>
                    </a:moveTo>
                    <a:cubicBezTo>
                      <a:pt x="6" y="1"/>
                      <a:pt x="1" y="8"/>
                      <a:pt x="5" y="14"/>
                    </a:cubicBezTo>
                    <a:cubicBezTo>
                      <a:pt x="15" y="29"/>
                      <a:pt x="28" y="42"/>
                      <a:pt x="45" y="53"/>
                    </a:cubicBezTo>
                    <a:cubicBezTo>
                      <a:pt x="63" y="63"/>
                      <a:pt x="79" y="74"/>
                      <a:pt x="99" y="83"/>
                    </a:cubicBezTo>
                    <a:cubicBezTo>
                      <a:pt x="116" y="93"/>
                      <a:pt x="136" y="102"/>
                      <a:pt x="155" y="112"/>
                    </a:cubicBezTo>
                    <a:lnTo>
                      <a:pt x="184" y="127"/>
                    </a:lnTo>
                    <a:cubicBezTo>
                      <a:pt x="194" y="132"/>
                      <a:pt x="204" y="138"/>
                      <a:pt x="216" y="142"/>
                    </a:cubicBezTo>
                    <a:cubicBezTo>
                      <a:pt x="217" y="142"/>
                      <a:pt x="218" y="142"/>
                      <a:pt x="219" y="142"/>
                    </a:cubicBezTo>
                    <a:cubicBezTo>
                      <a:pt x="232" y="142"/>
                      <a:pt x="236" y="125"/>
                      <a:pt x="227" y="117"/>
                    </a:cubicBezTo>
                    <a:cubicBezTo>
                      <a:pt x="216" y="111"/>
                      <a:pt x="207" y="106"/>
                      <a:pt x="198" y="102"/>
                    </a:cubicBezTo>
                    <a:lnTo>
                      <a:pt x="169" y="88"/>
                    </a:lnTo>
                    <a:lnTo>
                      <a:pt x="113" y="60"/>
                    </a:lnTo>
                    <a:cubicBezTo>
                      <a:pt x="96" y="53"/>
                      <a:pt x="79" y="44"/>
                      <a:pt x="63" y="33"/>
                    </a:cubicBezTo>
                    <a:cubicBezTo>
                      <a:pt x="46" y="24"/>
                      <a:pt x="33" y="11"/>
                      <a:pt x="16" y="2"/>
                    </a:cubicBezTo>
                    <a:cubicBezTo>
                      <a:pt x="15" y="1"/>
                      <a:pt x="14" y="1"/>
                      <a:pt x="12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6" name="Google Shape;1315;p38">
                <a:extLst>
                  <a:ext uri="{FF2B5EF4-FFF2-40B4-BE49-F238E27FC236}">
                    <a16:creationId xmlns:a16="http://schemas.microsoft.com/office/drawing/2014/main" id="{08A6AC1C-5880-A38E-1B12-0CA983E0FFFF}"/>
                  </a:ext>
                </a:extLst>
              </p:cNvPr>
              <p:cNvSpPr/>
              <p:nvPr/>
            </p:nvSpPr>
            <p:spPr>
              <a:xfrm>
                <a:off x="6414412" y="1158153"/>
                <a:ext cx="35039" cy="38801"/>
              </a:xfrm>
              <a:custGeom>
                <a:avLst/>
                <a:gdLst/>
                <a:ahLst/>
                <a:cxnLst/>
                <a:rect l="l" t="t" r="r" b="b"/>
                <a:pathLst>
                  <a:path w="298" h="330" extrusionOk="0">
                    <a:moveTo>
                      <a:pt x="292" y="0"/>
                    </a:moveTo>
                    <a:cubicBezTo>
                      <a:pt x="291" y="0"/>
                      <a:pt x="290" y="0"/>
                      <a:pt x="290" y="1"/>
                    </a:cubicBezTo>
                    <a:cubicBezTo>
                      <a:pt x="253" y="53"/>
                      <a:pt x="215" y="103"/>
                      <a:pt x="177" y="153"/>
                    </a:cubicBezTo>
                    <a:cubicBezTo>
                      <a:pt x="141" y="201"/>
                      <a:pt x="107" y="249"/>
                      <a:pt x="68" y="295"/>
                    </a:cubicBezTo>
                    <a:cubicBezTo>
                      <a:pt x="59" y="288"/>
                      <a:pt x="53" y="279"/>
                      <a:pt x="47" y="270"/>
                    </a:cubicBezTo>
                    <a:cubicBezTo>
                      <a:pt x="41" y="255"/>
                      <a:pt x="38" y="240"/>
                      <a:pt x="37" y="225"/>
                    </a:cubicBezTo>
                    <a:cubicBezTo>
                      <a:pt x="34" y="219"/>
                      <a:pt x="29" y="216"/>
                      <a:pt x="23" y="216"/>
                    </a:cubicBezTo>
                    <a:cubicBezTo>
                      <a:pt x="18" y="216"/>
                      <a:pt x="13" y="219"/>
                      <a:pt x="11" y="225"/>
                    </a:cubicBezTo>
                    <a:cubicBezTo>
                      <a:pt x="1" y="265"/>
                      <a:pt x="31" y="308"/>
                      <a:pt x="63" y="328"/>
                    </a:cubicBezTo>
                    <a:cubicBezTo>
                      <a:pt x="66" y="329"/>
                      <a:pt x="68" y="329"/>
                      <a:pt x="71" y="329"/>
                    </a:cubicBezTo>
                    <a:cubicBezTo>
                      <a:pt x="76" y="329"/>
                      <a:pt x="81" y="327"/>
                      <a:pt x="84" y="322"/>
                    </a:cubicBezTo>
                    <a:cubicBezTo>
                      <a:pt x="122" y="271"/>
                      <a:pt x="162" y="220"/>
                      <a:pt x="196" y="168"/>
                    </a:cubicBezTo>
                    <a:cubicBezTo>
                      <a:pt x="232" y="115"/>
                      <a:pt x="265" y="59"/>
                      <a:pt x="296" y="4"/>
                    </a:cubicBezTo>
                    <a:cubicBezTo>
                      <a:pt x="297" y="2"/>
                      <a:pt x="294" y="0"/>
                      <a:pt x="292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7" name="Google Shape;1316;p38">
                <a:extLst>
                  <a:ext uri="{FF2B5EF4-FFF2-40B4-BE49-F238E27FC236}">
                    <a16:creationId xmlns:a16="http://schemas.microsoft.com/office/drawing/2014/main" id="{8C244644-B9A0-ECD1-1CE9-8142225D3C59}"/>
                  </a:ext>
                </a:extLst>
              </p:cNvPr>
              <p:cNvSpPr/>
              <p:nvPr/>
            </p:nvSpPr>
            <p:spPr>
              <a:xfrm>
                <a:off x="6341510" y="1060206"/>
                <a:ext cx="48443" cy="55614"/>
              </a:xfrm>
              <a:custGeom>
                <a:avLst/>
                <a:gdLst/>
                <a:ahLst/>
                <a:cxnLst/>
                <a:rect l="l" t="t" r="r" b="b"/>
                <a:pathLst>
                  <a:path w="412" h="473" extrusionOk="0">
                    <a:moveTo>
                      <a:pt x="406" y="1"/>
                    </a:moveTo>
                    <a:cubicBezTo>
                      <a:pt x="394" y="1"/>
                      <a:pt x="382" y="5"/>
                      <a:pt x="373" y="14"/>
                    </a:cubicBezTo>
                    <a:cubicBezTo>
                      <a:pt x="364" y="20"/>
                      <a:pt x="355" y="26"/>
                      <a:pt x="346" y="32"/>
                    </a:cubicBezTo>
                    <a:cubicBezTo>
                      <a:pt x="328" y="47"/>
                      <a:pt x="312" y="62"/>
                      <a:pt x="296" y="80"/>
                    </a:cubicBezTo>
                    <a:cubicBezTo>
                      <a:pt x="281" y="96"/>
                      <a:pt x="267" y="116"/>
                      <a:pt x="255" y="135"/>
                    </a:cubicBezTo>
                    <a:cubicBezTo>
                      <a:pt x="245" y="150"/>
                      <a:pt x="237" y="166"/>
                      <a:pt x="230" y="183"/>
                    </a:cubicBezTo>
                    <a:cubicBezTo>
                      <a:pt x="211" y="168"/>
                      <a:pt x="188" y="162"/>
                      <a:pt x="164" y="162"/>
                    </a:cubicBezTo>
                    <a:cubicBezTo>
                      <a:pt x="81" y="163"/>
                      <a:pt x="33" y="241"/>
                      <a:pt x="17" y="314"/>
                    </a:cubicBezTo>
                    <a:cubicBezTo>
                      <a:pt x="12" y="338"/>
                      <a:pt x="8" y="360"/>
                      <a:pt x="6" y="384"/>
                    </a:cubicBezTo>
                    <a:cubicBezTo>
                      <a:pt x="5" y="397"/>
                      <a:pt x="3" y="411"/>
                      <a:pt x="3" y="424"/>
                    </a:cubicBezTo>
                    <a:cubicBezTo>
                      <a:pt x="3" y="439"/>
                      <a:pt x="3" y="453"/>
                      <a:pt x="2" y="466"/>
                    </a:cubicBezTo>
                    <a:cubicBezTo>
                      <a:pt x="1" y="470"/>
                      <a:pt x="4" y="472"/>
                      <a:pt x="7" y="472"/>
                    </a:cubicBezTo>
                    <a:cubicBezTo>
                      <a:pt x="9" y="472"/>
                      <a:pt x="10" y="471"/>
                      <a:pt x="11" y="469"/>
                    </a:cubicBezTo>
                    <a:cubicBezTo>
                      <a:pt x="15" y="451"/>
                      <a:pt x="23" y="433"/>
                      <a:pt x="26" y="414"/>
                    </a:cubicBezTo>
                    <a:cubicBezTo>
                      <a:pt x="29" y="393"/>
                      <a:pt x="30" y="376"/>
                      <a:pt x="33" y="359"/>
                    </a:cubicBezTo>
                    <a:cubicBezTo>
                      <a:pt x="38" y="323"/>
                      <a:pt x="48" y="288"/>
                      <a:pt x="66" y="256"/>
                    </a:cubicBezTo>
                    <a:cubicBezTo>
                      <a:pt x="81" y="230"/>
                      <a:pt x="103" y="209"/>
                      <a:pt x="132" y="198"/>
                    </a:cubicBezTo>
                    <a:cubicBezTo>
                      <a:pt x="142" y="193"/>
                      <a:pt x="153" y="191"/>
                      <a:pt x="164" y="191"/>
                    </a:cubicBezTo>
                    <a:cubicBezTo>
                      <a:pt x="182" y="191"/>
                      <a:pt x="200" y="197"/>
                      <a:pt x="215" y="208"/>
                    </a:cubicBezTo>
                    <a:cubicBezTo>
                      <a:pt x="226" y="218"/>
                      <a:pt x="233" y="232"/>
                      <a:pt x="236" y="247"/>
                    </a:cubicBezTo>
                    <a:cubicBezTo>
                      <a:pt x="237" y="254"/>
                      <a:pt x="237" y="262"/>
                      <a:pt x="236" y="269"/>
                    </a:cubicBezTo>
                    <a:cubicBezTo>
                      <a:pt x="235" y="277"/>
                      <a:pt x="232" y="283"/>
                      <a:pt x="235" y="291"/>
                    </a:cubicBezTo>
                    <a:cubicBezTo>
                      <a:pt x="236" y="295"/>
                      <a:pt x="239" y="298"/>
                      <a:pt x="243" y="298"/>
                    </a:cubicBezTo>
                    <a:cubicBezTo>
                      <a:pt x="244" y="298"/>
                      <a:pt x="245" y="298"/>
                      <a:pt x="246" y="297"/>
                    </a:cubicBezTo>
                    <a:cubicBezTo>
                      <a:pt x="263" y="294"/>
                      <a:pt x="266" y="271"/>
                      <a:pt x="267" y="257"/>
                    </a:cubicBezTo>
                    <a:cubicBezTo>
                      <a:pt x="267" y="239"/>
                      <a:pt x="263" y="223"/>
                      <a:pt x="254" y="208"/>
                    </a:cubicBezTo>
                    <a:cubicBezTo>
                      <a:pt x="251" y="202"/>
                      <a:pt x="246" y="196"/>
                      <a:pt x="240" y="192"/>
                    </a:cubicBezTo>
                    <a:cubicBezTo>
                      <a:pt x="251" y="175"/>
                      <a:pt x="260" y="159"/>
                      <a:pt x="270" y="144"/>
                    </a:cubicBezTo>
                    <a:cubicBezTo>
                      <a:pt x="284" y="127"/>
                      <a:pt x="299" y="110"/>
                      <a:pt x="314" y="95"/>
                    </a:cubicBezTo>
                    <a:cubicBezTo>
                      <a:pt x="328" y="78"/>
                      <a:pt x="345" y="65"/>
                      <a:pt x="363" y="51"/>
                    </a:cubicBezTo>
                    <a:cubicBezTo>
                      <a:pt x="370" y="44"/>
                      <a:pt x="379" y="38"/>
                      <a:pt x="388" y="32"/>
                    </a:cubicBezTo>
                    <a:cubicBezTo>
                      <a:pt x="397" y="26"/>
                      <a:pt x="407" y="22"/>
                      <a:pt x="412" y="11"/>
                    </a:cubicBezTo>
                    <a:cubicBezTo>
                      <a:pt x="412" y="7"/>
                      <a:pt x="409" y="2"/>
                      <a:pt x="406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8" name="Google Shape;1317;p38">
                <a:extLst>
                  <a:ext uri="{FF2B5EF4-FFF2-40B4-BE49-F238E27FC236}">
                    <a16:creationId xmlns:a16="http://schemas.microsoft.com/office/drawing/2014/main" id="{94C856CA-BC31-0278-656C-A37E1AC6F783}"/>
                  </a:ext>
                </a:extLst>
              </p:cNvPr>
              <p:cNvSpPr/>
              <p:nvPr/>
            </p:nvSpPr>
            <p:spPr>
              <a:xfrm>
                <a:off x="6335749" y="1173321"/>
                <a:ext cx="60083" cy="81364"/>
              </a:xfrm>
              <a:custGeom>
                <a:avLst/>
                <a:gdLst/>
                <a:ahLst/>
                <a:cxnLst/>
                <a:rect l="l" t="t" r="r" b="b"/>
                <a:pathLst>
                  <a:path w="511" h="692" extrusionOk="0">
                    <a:moveTo>
                      <a:pt x="9" y="1"/>
                    </a:moveTo>
                    <a:cubicBezTo>
                      <a:pt x="5" y="1"/>
                      <a:pt x="0" y="4"/>
                      <a:pt x="0" y="9"/>
                    </a:cubicBezTo>
                    <a:cubicBezTo>
                      <a:pt x="2" y="29"/>
                      <a:pt x="6" y="48"/>
                      <a:pt x="14" y="66"/>
                    </a:cubicBezTo>
                    <a:cubicBezTo>
                      <a:pt x="20" y="84"/>
                      <a:pt x="26" y="103"/>
                      <a:pt x="33" y="121"/>
                    </a:cubicBezTo>
                    <a:cubicBezTo>
                      <a:pt x="46" y="159"/>
                      <a:pt x="61" y="196"/>
                      <a:pt x="78" y="233"/>
                    </a:cubicBezTo>
                    <a:cubicBezTo>
                      <a:pt x="111" y="305"/>
                      <a:pt x="146" y="376"/>
                      <a:pt x="188" y="443"/>
                    </a:cubicBezTo>
                    <a:cubicBezTo>
                      <a:pt x="200" y="463"/>
                      <a:pt x="210" y="481"/>
                      <a:pt x="224" y="500"/>
                    </a:cubicBezTo>
                    <a:cubicBezTo>
                      <a:pt x="230" y="509"/>
                      <a:pt x="236" y="518"/>
                      <a:pt x="242" y="527"/>
                    </a:cubicBezTo>
                    <a:cubicBezTo>
                      <a:pt x="248" y="536"/>
                      <a:pt x="257" y="543"/>
                      <a:pt x="263" y="552"/>
                    </a:cubicBezTo>
                    <a:cubicBezTo>
                      <a:pt x="288" y="592"/>
                      <a:pt x="322" y="628"/>
                      <a:pt x="361" y="657"/>
                    </a:cubicBezTo>
                    <a:cubicBezTo>
                      <a:pt x="382" y="670"/>
                      <a:pt x="404" y="680"/>
                      <a:pt x="430" y="686"/>
                    </a:cubicBezTo>
                    <a:cubicBezTo>
                      <a:pt x="440" y="689"/>
                      <a:pt x="454" y="691"/>
                      <a:pt x="467" y="691"/>
                    </a:cubicBezTo>
                    <a:cubicBezTo>
                      <a:pt x="482" y="691"/>
                      <a:pt x="496" y="688"/>
                      <a:pt x="504" y="679"/>
                    </a:cubicBezTo>
                    <a:cubicBezTo>
                      <a:pt x="510" y="675"/>
                      <a:pt x="509" y="664"/>
                      <a:pt x="500" y="661"/>
                    </a:cubicBezTo>
                    <a:cubicBezTo>
                      <a:pt x="495" y="660"/>
                      <a:pt x="489" y="660"/>
                      <a:pt x="484" y="660"/>
                    </a:cubicBezTo>
                    <a:cubicBezTo>
                      <a:pt x="479" y="660"/>
                      <a:pt x="474" y="660"/>
                      <a:pt x="468" y="661"/>
                    </a:cubicBezTo>
                    <a:cubicBezTo>
                      <a:pt x="465" y="661"/>
                      <a:pt x="462" y="662"/>
                      <a:pt x="459" y="662"/>
                    </a:cubicBezTo>
                    <a:cubicBezTo>
                      <a:pt x="450" y="662"/>
                      <a:pt x="442" y="660"/>
                      <a:pt x="434" y="658"/>
                    </a:cubicBezTo>
                    <a:cubicBezTo>
                      <a:pt x="410" y="654"/>
                      <a:pt x="389" y="643"/>
                      <a:pt x="370" y="630"/>
                    </a:cubicBezTo>
                    <a:cubicBezTo>
                      <a:pt x="349" y="615"/>
                      <a:pt x="331" y="598"/>
                      <a:pt x="316" y="581"/>
                    </a:cubicBezTo>
                    <a:cubicBezTo>
                      <a:pt x="301" y="561"/>
                      <a:pt x="285" y="543"/>
                      <a:pt x="267" y="527"/>
                    </a:cubicBezTo>
                    <a:lnTo>
                      <a:pt x="266" y="527"/>
                    </a:lnTo>
                    <a:cubicBezTo>
                      <a:pt x="264" y="524"/>
                      <a:pt x="263" y="522"/>
                      <a:pt x="261" y="519"/>
                    </a:cubicBezTo>
                    <a:cubicBezTo>
                      <a:pt x="257" y="510"/>
                      <a:pt x="251" y="500"/>
                      <a:pt x="245" y="493"/>
                    </a:cubicBezTo>
                    <a:cubicBezTo>
                      <a:pt x="236" y="476"/>
                      <a:pt x="227" y="460"/>
                      <a:pt x="216" y="443"/>
                    </a:cubicBezTo>
                    <a:cubicBezTo>
                      <a:pt x="197" y="409"/>
                      <a:pt x="178" y="375"/>
                      <a:pt x="160" y="340"/>
                    </a:cubicBezTo>
                    <a:cubicBezTo>
                      <a:pt x="124" y="270"/>
                      <a:pt x="93" y="200"/>
                      <a:pt x="64" y="127"/>
                    </a:cubicBezTo>
                    <a:cubicBezTo>
                      <a:pt x="57" y="108"/>
                      <a:pt x="49" y="87"/>
                      <a:pt x="42" y="66"/>
                    </a:cubicBezTo>
                    <a:cubicBezTo>
                      <a:pt x="36" y="45"/>
                      <a:pt x="29" y="24"/>
                      <a:pt x="18" y="5"/>
                    </a:cubicBezTo>
                    <a:cubicBezTo>
                      <a:pt x="16" y="2"/>
                      <a:pt x="13" y="1"/>
                      <a:pt x="9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69" name="Google Shape;1318;p38">
                <a:extLst>
                  <a:ext uri="{FF2B5EF4-FFF2-40B4-BE49-F238E27FC236}">
                    <a16:creationId xmlns:a16="http://schemas.microsoft.com/office/drawing/2014/main" id="{23EE14AD-9BB2-EB3B-77F4-B96EA8B9B69B}"/>
                  </a:ext>
                </a:extLst>
              </p:cNvPr>
              <p:cNvSpPr/>
              <p:nvPr/>
            </p:nvSpPr>
            <p:spPr>
              <a:xfrm>
                <a:off x="6147261" y="1700327"/>
                <a:ext cx="49384" cy="53498"/>
              </a:xfrm>
              <a:custGeom>
                <a:avLst/>
                <a:gdLst/>
                <a:ahLst/>
                <a:cxnLst/>
                <a:rect l="l" t="t" r="r" b="b"/>
                <a:pathLst>
                  <a:path w="420" h="455" extrusionOk="0">
                    <a:moveTo>
                      <a:pt x="169" y="1"/>
                    </a:moveTo>
                    <a:cubicBezTo>
                      <a:pt x="133" y="41"/>
                      <a:pt x="100" y="83"/>
                      <a:pt x="70" y="126"/>
                    </a:cubicBezTo>
                    <a:cubicBezTo>
                      <a:pt x="31" y="184"/>
                      <a:pt x="0" y="247"/>
                      <a:pt x="18" y="283"/>
                    </a:cubicBezTo>
                    <a:cubicBezTo>
                      <a:pt x="55" y="357"/>
                      <a:pt x="130" y="432"/>
                      <a:pt x="167" y="451"/>
                    </a:cubicBezTo>
                    <a:cubicBezTo>
                      <a:pt x="172" y="454"/>
                      <a:pt x="179" y="455"/>
                      <a:pt x="189" y="455"/>
                    </a:cubicBezTo>
                    <a:cubicBezTo>
                      <a:pt x="251" y="455"/>
                      <a:pt x="395" y="407"/>
                      <a:pt x="412" y="357"/>
                    </a:cubicBezTo>
                    <a:cubicBezTo>
                      <a:pt x="419" y="334"/>
                      <a:pt x="416" y="274"/>
                      <a:pt x="412" y="210"/>
                    </a:cubicBezTo>
                    <a:cubicBezTo>
                      <a:pt x="406" y="126"/>
                      <a:pt x="392" y="38"/>
                      <a:pt x="392" y="38"/>
                    </a:cubicBezTo>
                    <a:lnTo>
                      <a:pt x="169" y="1"/>
                    </a:lnTo>
                    <a:close/>
                  </a:path>
                </a:pathLst>
              </a:custGeom>
              <a:solidFill>
                <a:srgbClr val="F76E4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0" name="Google Shape;1319;p38">
                <a:extLst>
                  <a:ext uri="{FF2B5EF4-FFF2-40B4-BE49-F238E27FC236}">
                    <a16:creationId xmlns:a16="http://schemas.microsoft.com/office/drawing/2014/main" id="{EF2671C4-044C-F89F-3E23-FD895ED8B0E6}"/>
                  </a:ext>
                </a:extLst>
              </p:cNvPr>
              <p:cNvSpPr/>
              <p:nvPr/>
            </p:nvSpPr>
            <p:spPr>
              <a:xfrm>
                <a:off x="6155463" y="1700562"/>
                <a:ext cx="40212" cy="37154"/>
              </a:xfrm>
              <a:custGeom>
                <a:avLst/>
                <a:gdLst/>
                <a:ahLst/>
                <a:cxnLst/>
                <a:rect l="l" t="t" r="r" b="b"/>
                <a:pathLst>
                  <a:path w="342" h="316" extrusionOk="0">
                    <a:moveTo>
                      <a:pt x="97" y="0"/>
                    </a:moveTo>
                    <a:cubicBezTo>
                      <a:pt x="61" y="39"/>
                      <a:pt x="30" y="81"/>
                      <a:pt x="0" y="126"/>
                    </a:cubicBezTo>
                    <a:cubicBezTo>
                      <a:pt x="54" y="207"/>
                      <a:pt x="139" y="315"/>
                      <a:pt x="217" y="315"/>
                    </a:cubicBezTo>
                    <a:cubicBezTo>
                      <a:pt x="241" y="315"/>
                      <a:pt x="264" y="305"/>
                      <a:pt x="285" y="281"/>
                    </a:cubicBezTo>
                    <a:cubicBezTo>
                      <a:pt x="304" y="258"/>
                      <a:pt x="324" y="233"/>
                      <a:pt x="342" y="209"/>
                    </a:cubicBezTo>
                    <a:cubicBezTo>
                      <a:pt x="334" y="124"/>
                      <a:pt x="322" y="38"/>
                      <a:pt x="322" y="38"/>
                    </a:cubicBezTo>
                    <a:lnTo>
                      <a:pt x="97" y="0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1" name="Google Shape;1320;p38">
                <a:extLst>
                  <a:ext uri="{FF2B5EF4-FFF2-40B4-BE49-F238E27FC236}">
                    <a16:creationId xmlns:a16="http://schemas.microsoft.com/office/drawing/2014/main" id="{FE51DCC7-26BD-4DC0-2080-E0570A55706F}"/>
                  </a:ext>
                </a:extLst>
              </p:cNvPr>
              <p:cNvSpPr/>
              <p:nvPr/>
            </p:nvSpPr>
            <p:spPr>
              <a:xfrm>
                <a:off x="6130211" y="1229055"/>
                <a:ext cx="186364" cy="480422"/>
              </a:xfrm>
              <a:custGeom>
                <a:avLst/>
                <a:gdLst/>
                <a:ahLst/>
                <a:cxnLst/>
                <a:rect l="l" t="t" r="r" b="b"/>
                <a:pathLst>
                  <a:path w="1585" h="4086" extrusionOk="0">
                    <a:moveTo>
                      <a:pt x="931" y="1"/>
                    </a:moveTo>
                    <a:cubicBezTo>
                      <a:pt x="919" y="1"/>
                      <a:pt x="906" y="1"/>
                      <a:pt x="894" y="2"/>
                    </a:cubicBezTo>
                    <a:cubicBezTo>
                      <a:pt x="425" y="39"/>
                      <a:pt x="144" y="2175"/>
                      <a:pt x="69" y="2512"/>
                    </a:cubicBezTo>
                    <a:cubicBezTo>
                      <a:pt x="1" y="2819"/>
                      <a:pt x="214" y="3782"/>
                      <a:pt x="264" y="3948"/>
                    </a:cubicBezTo>
                    <a:cubicBezTo>
                      <a:pt x="270" y="3964"/>
                      <a:pt x="273" y="3973"/>
                      <a:pt x="275" y="3973"/>
                    </a:cubicBezTo>
                    <a:lnTo>
                      <a:pt x="557" y="4085"/>
                    </a:lnTo>
                    <a:cubicBezTo>
                      <a:pt x="595" y="4072"/>
                      <a:pt x="745" y="3308"/>
                      <a:pt x="837" y="2819"/>
                    </a:cubicBezTo>
                    <a:cubicBezTo>
                      <a:pt x="837" y="2818"/>
                      <a:pt x="837" y="2816"/>
                      <a:pt x="837" y="2816"/>
                    </a:cubicBezTo>
                    <a:cubicBezTo>
                      <a:pt x="882" y="2585"/>
                      <a:pt x="912" y="2418"/>
                      <a:pt x="912" y="2418"/>
                    </a:cubicBezTo>
                    <a:cubicBezTo>
                      <a:pt x="912" y="2418"/>
                      <a:pt x="1210" y="1792"/>
                      <a:pt x="1395" y="1335"/>
                    </a:cubicBezTo>
                    <a:cubicBezTo>
                      <a:pt x="1462" y="1165"/>
                      <a:pt x="1516" y="1019"/>
                      <a:pt x="1530" y="937"/>
                    </a:cubicBezTo>
                    <a:cubicBezTo>
                      <a:pt x="1584" y="645"/>
                      <a:pt x="1374" y="1"/>
                      <a:pt x="931" y="1"/>
                    </a:cubicBezTo>
                    <a:close/>
                  </a:path>
                </a:pathLst>
              </a:custGeom>
              <a:solidFill>
                <a:srgbClr val="A48E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2" name="Google Shape;1321;p38">
                <a:extLst>
                  <a:ext uri="{FF2B5EF4-FFF2-40B4-BE49-F238E27FC236}">
                    <a16:creationId xmlns:a16="http://schemas.microsoft.com/office/drawing/2014/main" id="{4160F883-ABB3-2F0A-51AC-BFAE1224E9CD}"/>
                  </a:ext>
                </a:extLst>
              </p:cNvPr>
              <p:cNvSpPr/>
              <p:nvPr/>
            </p:nvSpPr>
            <p:spPr>
              <a:xfrm>
                <a:off x="6213343" y="1391084"/>
                <a:ext cx="72194" cy="241504"/>
              </a:xfrm>
              <a:custGeom>
                <a:avLst/>
                <a:gdLst/>
                <a:ahLst/>
                <a:cxnLst/>
                <a:rect l="l" t="t" r="r" b="b"/>
                <a:pathLst>
                  <a:path w="614" h="2054" extrusionOk="0">
                    <a:moveTo>
                      <a:pt x="604" y="1"/>
                    </a:moveTo>
                    <a:cubicBezTo>
                      <a:pt x="599" y="1"/>
                      <a:pt x="594" y="3"/>
                      <a:pt x="592" y="8"/>
                    </a:cubicBezTo>
                    <a:cubicBezTo>
                      <a:pt x="577" y="48"/>
                      <a:pt x="565" y="89"/>
                      <a:pt x="557" y="130"/>
                    </a:cubicBezTo>
                    <a:cubicBezTo>
                      <a:pt x="546" y="172"/>
                      <a:pt x="534" y="212"/>
                      <a:pt x="522" y="254"/>
                    </a:cubicBezTo>
                    <a:cubicBezTo>
                      <a:pt x="498" y="335"/>
                      <a:pt x="473" y="417"/>
                      <a:pt x="445" y="497"/>
                    </a:cubicBezTo>
                    <a:cubicBezTo>
                      <a:pt x="390" y="657"/>
                      <a:pt x="325" y="815"/>
                      <a:pt x="255" y="970"/>
                    </a:cubicBezTo>
                    <a:cubicBezTo>
                      <a:pt x="239" y="1007"/>
                      <a:pt x="221" y="1043"/>
                      <a:pt x="203" y="1080"/>
                    </a:cubicBezTo>
                    <a:cubicBezTo>
                      <a:pt x="208" y="1052"/>
                      <a:pt x="209" y="1025"/>
                      <a:pt x="211" y="998"/>
                    </a:cubicBezTo>
                    <a:cubicBezTo>
                      <a:pt x="211" y="974"/>
                      <a:pt x="209" y="950"/>
                      <a:pt x="208" y="927"/>
                    </a:cubicBezTo>
                    <a:cubicBezTo>
                      <a:pt x="206" y="907"/>
                      <a:pt x="206" y="877"/>
                      <a:pt x="190" y="862"/>
                    </a:cubicBezTo>
                    <a:cubicBezTo>
                      <a:pt x="188" y="861"/>
                      <a:pt x="187" y="860"/>
                      <a:pt x="185" y="860"/>
                    </a:cubicBezTo>
                    <a:cubicBezTo>
                      <a:pt x="182" y="860"/>
                      <a:pt x="180" y="861"/>
                      <a:pt x="178" y="864"/>
                    </a:cubicBezTo>
                    <a:cubicBezTo>
                      <a:pt x="169" y="883"/>
                      <a:pt x="178" y="909"/>
                      <a:pt x="179" y="930"/>
                    </a:cubicBezTo>
                    <a:cubicBezTo>
                      <a:pt x="182" y="950"/>
                      <a:pt x="184" y="973"/>
                      <a:pt x="184" y="995"/>
                    </a:cubicBezTo>
                    <a:cubicBezTo>
                      <a:pt x="182" y="1029"/>
                      <a:pt x="181" y="1064"/>
                      <a:pt x="175" y="1097"/>
                    </a:cubicBezTo>
                    <a:cubicBezTo>
                      <a:pt x="175" y="1083"/>
                      <a:pt x="175" y="1071"/>
                      <a:pt x="173" y="1059"/>
                    </a:cubicBezTo>
                    <a:cubicBezTo>
                      <a:pt x="170" y="1019"/>
                      <a:pt x="160" y="979"/>
                      <a:pt x="143" y="941"/>
                    </a:cubicBezTo>
                    <a:cubicBezTo>
                      <a:pt x="130" y="904"/>
                      <a:pt x="105" y="873"/>
                      <a:pt x="72" y="852"/>
                    </a:cubicBezTo>
                    <a:cubicBezTo>
                      <a:pt x="70" y="851"/>
                      <a:pt x="67" y="850"/>
                      <a:pt x="65" y="850"/>
                    </a:cubicBezTo>
                    <a:cubicBezTo>
                      <a:pt x="55" y="850"/>
                      <a:pt x="47" y="863"/>
                      <a:pt x="57" y="871"/>
                    </a:cubicBezTo>
                    <a:cubicBezTo>
                      <a:pt x="78" y="897"/>
                      <a:pt x="97" y="924"/>
                      <a:pt x="112" y="952"/>
                    </a:cubicBezTo>
                    <a:cubicBezTo>
                      <a:pt x="126" y="983"/>
                      <a:pt x="135" y="1016"/>
                      <a:pt x="139" y="1050"/>
                    </a:cubicBezTo>
                    <a:cubicBezTo>
                      <a:pt x="143" y="1106"/>
                      <a:pt x="143" y="1162"/>
                      <a:pt x="136" y="1217"/>
                    </a:cubicBezTo>
                    <a:lnTo>
                      <a:pt x="132" y="1231"/>
                    </a:lnTo>
                    <a:cubicBezTo>
                      <a:pt x="129" y="1235"/>
                      <a:pt x="130" y="1241"/>
                      <a:pt x="135" y="1244"/>
                    </a:cubicBezTo>
                    <a:cubicBezTo>
                      <a:pt x="133" y="1261"/>
                      <a:pt x="130" y="1276"/>
                      <a:pt x="129" y="1292"/>
                    </a:cubicBezTo>
                    <a:cubicBezTo>
                      <a:pt x="112" y="1453"/>
                      <a:pt x="88" y="1613"/>
                      <a:pt x="57" y="1772"/>
                    </a:cubicBezTo>
                    <a:cubicBezTo>
                      <a:pt x="48" y="1817"/>
                      <a:pt x="39" y="1862"/>
                      <a:pt x="29" y="1906"/>
                    </a:cubicBezTo>
                    <a:cubicBezTo>
                      <a:pt x="20" y="1951"/>
                      <a:pt x="12" y="1997"/>
                      <a:pt x="2" y="2042"/>
                    </a:cubicBezTo>
                    <a:cubicBezTo>
                      <a:pt x="0" y="2049"/>
                      <a:pt x="5" y="2053"/>
                      <a:pt x="10" y="2053"/>
                    </a:cubicBezTo>
                    <a:cubicBezTo>
                      <a:pt x="14" y="2053"/>
                      <a:pt x="17" y="2051"/>
                      <a:pt x="18" y="2046"/>
                    </a:cubicBezTo>
                    <a:cubicBezTo>
                      <a:pt x="29" y="2006"/>
                      <a:pt x="42" y="1967"/>
                      <a:pt x="53" y="1927"/>
                    </a:cubicBezTo>
                    <a:cubicBezTo>
                      <a:pt x="63" y="1885"/>
                      <a:pt x="70" y="1845"/>
                      <a:pt x="81" y="1805"/>
                    </a:cubicBezTo>
                    <a:cubicBezTo>
                      <a:pt x="97" y="1721"/>
                      <a:pt x="112" y="1639"/>
                      <a:pt x="126" y="1556"/>
                    </a:cubicBezTo>
                    <a:cubicBezTo>
                      <a:pt x="139" y="1472"/>
                      <a:pt x="149" y="1390"/>
                      <a:pt x="160" y="1307"/>
                    </a:cubicBezTo>
                    <a:cubicBezTo>
                      <a:pt x="163" y="1274"/>
                      <a:pt x="167" y="1241"/>
                      <a:pt x="170" y="1207"/>
                    </a:cubicBezTo>
                    <a:cubicBezTo>
                      <a:pt x="246" y="1068"/>
                      <a:pt x="313" y="925"/>
                      <a:pt x="372" y="777"/>
                    </a:cubicBezTo>
                    <a:cubicBezTo>
                      <a:pt x="436" y="618"/>
                      <a:pt x="492" y="457"/>
                      <a:pt x="543" y="291"/>
                    </a:cubicBezTo>
                    <a:cubicBezTo>
                      <a:pt x="557" y="245"/>
                      <a:pt x="568" y="200"/>
                      <a:pt x="582" y="154"/>
                    </a:cubicBezTo>
                    <a:cubicBezTo>
                      <a:pt x="595" y="108"/>
                      <a:pt x="606" y="60"/>
                      <a:pt x="612" y="11"/>
                    </a:cubicBezTo>
                    <a:cubicBezTo>
                      <a:pt x="613" y="4"/>
                      <a:pt x="609" y="1"/>
                      <a:pt x="604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3" name="Google Shape;1322;p38">
                <a:extLst>
                  <a:ext uri="{FF2B5EF4-FFF2-40B4-BE49-F238E27FC236}">
                    <a16:creationId xmlns:a16="http://schemas.microsoft.com/office/drawing/2014/main" id="{E9892FA0-DE2B-576D-ED7F-66B755BDD81D}"/>
                  </a:ext>
                </a:extLst>
              </p:cNvPr>
              <p:cNvSpPr/>
              <p:nvPr/>
            </p:nvSpPr>
            <p:spPr>
              <a:xfrm>
                <a:off x="6228394" y="1479154"/>
                <a:ext cx="4115" cy="8348"/>
              </a:xfrm>
              <a:custGeom>
                <a:avLst/>
                <a:gdLst/>
                <a:ahLst/>
                <a:cxnLst/>
                <a:rect l="l" t="t" r="r" b="b"/>
                <a:pathLst>
                  <a:path w="35" h="71" extrusionOk="0">
                    <a:moveTo>
                      <a:pt x="11" y="1"/>
                    </a:moveTo>
                    <a:cubicBezTo>
                      <a:pt x="9" y="1"/>
                      <a:pt x="7" y="1"/>
                      <a:pt x="5" y="3"/>
                    </a:cubicBezTo>
                    <a:cubicBezTo>
                      <a:pt x="2" y="5"/>
                      <a:pt x="1" y="9"/>
                      <a:pt x="2" y="14"/>
                    </a:cubicBezTo>
                    <a:cubicBezTo>
                      <a:pt x="2" y="15"/>
                      <a:pt x="2" y="17"/>
                      <a:pt x="4" y="17"/>
                    </a:cubicBezTo>
                    <a:cubicBezTo>
                      <a:pt x="5" y="21"/>
                      <a:pt x="8" y="24"/>
                      <a:pt x="10" y="27"/>
                    </a:cubicBezTo>
                    <a:lnTo>
                      <a:pt x="11" y="30"/>
                    </a:lnTo>
                    <a:lnTo>
                      <a:pt x="13" y="36"/>
                    </a:lnTo>
                    <a:cubicBezTo>
                      <a:pt x="13" y="37"/>
                      <a:pt x="13" y="39"/>
                      <a:pt x="14" y="42"/>
                    </a:cubicBezTo>
                    <a:cubicBezTo>
                      <a:pt x="14" y="42"/>
                      <a:pt x="14" y="43"/>
                      <a:pt x="14" y="43"/>
                    </a:cubicBezTo>
                    <a:cubicBezTo>
                      <a:pt x="14" y="45"/>
                      <a:pt x="14" y="45"/>
                      <a:pt x="14" y="46"/>
                    </a:cubicBezTo>
                    <a:lnTo>
                      <a:pt x="14" y="52"/>
                    </a:lnTo>
                    <a:lnTo>
                      <a:pt x="14" y="54"/>
                    </a:lnTo>
                    <a:lnTo>
                      <a:pt x="14" y="58"/>
                    </a:lnTo>
                    <a:cubicBezTo>
                      <a:pt x="13" y="63"/>
                      <a:pt x="15" y="69"/>
                      <a:pt x="20" y="70"/>
                    </a:cubicBezTo>
                    <a:cubicBezTo>
                      <a:pt x="26" y="70"/>
                      <a:pt x="30" y="67"/>
                      <a:pt x="32" y="63"/>
                    </a:cubicBezTo>
                    <a:cubicBezTo>
                      <a:pt x="33" y="55"/>
                      <a:pt x="35" y="48"/>
                      <a:pt x="33" y="39"/>
                    </a:cubicBezTo>
                    <a:cubicBezTo>
                      <a:pt x="33" y="30"/>
                      <a:pt x="30" y="21"/>
                      <a:pt x="26" y="14"/>
                    </a:cubicBezTo>
                    <a:cubicBezTo>
                      <a:pt x="23" y="9"/>
                      <a:pt x="20" y="5"/>
                      <a:pt x="15" y="2"/>
                    </a:cubicBezTo>
                    <a:cubicBezTo>
                      <a:pt x="14" y="1"/>
                      <a:pt x="12" y="1"/>
                      <a:pt x="11" y="1"/>
                    </a:cubicBezTo>
                    <a:close/>
                  </a:path>
                </a:pathLst>
              </a:custGeom>
              <a:solidFill>
                <a:srgbClr val="A48E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4" name="Google Shape;1323;p38">
                <a:extLst>
                  <a:ext uri="{FF2B5EF4-FFF2-40B4-BE49-F238E27FC236}">
                    <a16:creationId xmlns:a16="http://schemas.microsoft.com/office/drawing/2014/main" id="{EAC7933D-84A9-2865-2187-562A1FAD33CD}"/>
                  </a:ext>
                </a:extLst>
              </p:cNvPr>
              <p:cNvSpPr/>
              <p:nvPr/>
            </p:nvSpPr>
            <p:spPr>
              <a:xfrm>
                <a:off x="6240270" y="1490442"/>
                <a:ext cx="4821" cy="9994"/>
              </a:xfrm>
              <a:custGeom>
                <a:avLst/>
                <a:gdLst/>
                <a:ahLst/>
                <a:cxnLst/>
                <a:rect l="l" t="t" r="r" b="b"/>
                <a:pathLst>
                  <a:path w="41" h="85" extrusionOk="0">
                    <a:moveTo>
                      <a:pt x="9" y="1"/>
                    </a:moveTo>
                    <a:cubicBezTo>
                      <a:pt x="6" y="1"/>
                      <a:pt x="3" y="3"/>
                      <a:pt x="2" y="6"/>
                    </a:cubicBezTo>
                    <a:cubicBezTo>
                      <a:pt x="1" y="10"/>
                      <a:pt x="1" y="13"/>
                      <a:pt x="2" y="17"/>
                    </a:cubicBezTo>
                    <a:cubicBezTo>
                      <a:pt x="2" y="20"/>
                      <a:pt x="4" y="23"/>
                      <a:pt x="4" y="26"/>
                    </a:cubicBezTo>
                    <a:cubicBezTo>
                      <a:pt x="4" y="32"/>
                      <a:pt x="5" y="38"/>
                      <a:pt x="8" y="43"/>
                    </a:cubicBezTo>
                    <a:lnTo>
                      <a:pt x="19" y="77"/>
                    </a:lnTo>
                    <a:cubicBezTo>
                      <a:pt x="19" y="82"/>
                      <a:pt x="22" y="84"/>
                      <a:pt x="26" y="84"/>
                    </a:cubicBezTo>
                    <a:cubicBezTo>
                      <a:pt x="33" y="84"/>
                      <a:pt x="40" y="79"/>
                      <a:pt x="37" y="73"/>
                    </a:cubicBezTo>
                    <a:lnTo>
                      <a:pt x="38" y="73"/>
                    </a:lnTo>
                    <a:cubicBezTo>
                      <a:pt x="35" y="61"/>
                      <a:pt x="32" y="49"/>
                      <a:pt x="29" y="37"/>
                    </a:cubicBezTo>
                    <a:lnTo>
                      <a:pt x="26" y="29"/>
                    </a:lnTo>
                    <a:cubicBezTo>
                      <a:pt x="25" y="26"/>
                      <a:pt x="23" y="22"/>
                      <a:pt x="22" y="19"/>
                    </a:cubicBezTo>
                    <a:cubicBezTo>
                      <a:pt x="20" y="13"/>
                      <a:pt x="17" y="7"/>
                      <a:pt x="14" y="3"/>
                    </a:cubicBezTo>
                    <a:cubicBezTo>
                      <a:pt x="13" y="1"/>
                      <a:pt x="11" y="1"/>
                      <a:pt x="9" y="1"/>
                    </a:cubicBezTo>
                    <a:close/>
                  </a:path>
                </a:pathLst>
              </a:custGeom>
              <a:solidFill>
                <a:srgbClr val="A48E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5" name="Google Shape;1324;p38">
                <a:extLst>
                  <a:ext uri="{FF2B5EF4-FFF2-40B4-BE49-F238E27FC236}">
                    <a16:creationId xmlns:a16="http://schemas.microsoft.com/office/drawing/2014/main" id="{45E62249-7265-A87A-F6A5-EFEB65B30942}"/>
                  </a:ext>
                </a:extLst>
              </p:cNvPr>
              <p:cNvSpPr/>
              <p:nvPr/>
            </p:nvSpPr>
            <p:spPr>
              <a:xfrm>
                <a:off x="6217224" y="1523012"/>
                <a:ext cx="9054" cy="13169"/>
              </a:xfrm>
              <a:custGeom>
                <a:avLst/>
                <a:gdLst/>
                <a:ahLst/>
                <a:cxnLst/>
                <a:rect l="l" t="t" r="r" b="b"/>
                <a:pathLst>
                  <a:path w="77" h="112" extrusionOk="0">
                    <a:moveTo>
                      <a:pt x="9" y="0"/>
                    </a:moveTo>
                    <a:cubicBezTo>
                      <a:pt x="5" y="0"/>
                      <a:pt x="0" y="4"/>
                      <a:pt x="0" y="9"/>
                    </a:cubicBezTo>
                    <a:cubicBezTo>
                      <a:pt x="0" y="18"/>
                      <a:pt x="5" y="27"/>
                      <a:pt x="9" y="36"/>
                    </a:cubicBezTo>
                    <a:cubicBezTo>
                      <a:pt x="14" y="43"/>
                      <a:pt x="18" y="51"/>
                      <a:pt x="23" y="58"/>
                    </a:cubicBezTo>
                    <a:cubicBezTo>
                      <a:pt x="33" y="74"/>
                      <a:pt x="42" y="89"/>
                      <a:pt x="51" y="106"/>
                    </a:cubicBezTo>
                    <a:cubicBezTo>
                      <a:pt x="53" y="109"/>
                      <a:pt x="57" y="111"/>
                      <a:pt x="60" y="111"/>
                    </a:cubicBezTo>
                    <a:cubicBezTo>
                      <a:pt x="68" y="111"/>
                      <a:pt x="77" y="103"/>
                      <a:pt x="72" y="94"/>
                    </a:cubicBezTo>
                    <a:cubicBezTo>
                      <a:pt x="63" y="77"/>
                      <a:pt x="54" y="63"/>
                      <a:pt x="45" y="46"/>
                    </a:cubicBezTo>
                    <a:cubicBezTo>
                      <a:pt x="40" y="39"/>
                      <a:pt x="36" y="31"/>
                      <a:pt x="31" y="22"/>
                    </a:cubicBezTo>
                    <a:cubicBezTo>
                      <a:pt x="27" y="15"/>
                      <a:pt x="21" y="7"/>
                      <a:pt x="12" y="1"/>
                    </a:cubicBezTo>
                    <a:cubicBezTo>
                      <a:pt x="11" y="1"/>
                      <a:pt x="10" y="0"/>
                      <a:pt x="9" y="0"/>
                    </a:cubicBezTo>
                    <a:close/>
                  </a:path>
                </a:pathLst>
              </a:custGeom>
              <a:solidFill>
                <a:srgbClr val="A48E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6" name="Google Shape;1325;p38">
                <a:extLst>
                  <a:ext uri="{FF2B5EF4-FFF2-40B4-BE49-F238E27FC236}">
                    <a16:creationId xmlns:a16="http://schemas.microsoft.com/office/drawing/2014/main" id="{8C19FE55-4004-ED33-B62E-4AE85AADD88B}"/>
                  </a:ext>
                </a:extLst>
              </p:cNvPr>
              <p:cNvSpPr/>
              <p:nvPr/>
            </p:nvSpPr>
            <p:spPr>
              <a:xfrm>
                <a:off x="6292242" y="1267622"/>
                <a:ext cx="23634" cy="95473"/>
              </a:xfrm>
              <a:custGeom>
                <a:avLst/>
                <a:gdLst/>
                <a:ahLst/>
                <a:cxnLst/>
                <a:rect l="l" t="t" r="r" b="b"/>
                <a:pathLst>
                  <a:path w="201" h="812" extrusionOk="0">
                    <a:moveTo>
                      <a:pt x="11" y="1"/>
                    </a:moveTo>
                    <a:cubicBezTo>
                      <a:pt x="6" y="1"/>
                      <a:pt x="0" y="7"/>
                      <a:pt x="3" y="13"/>
                    </a:cubicBezTo>
                    <a:cubicBezTo>
                      <a:pt x="132" y="190"/>
                      <a:pt x="181" y="412"/>
                      <a:pt x="139" y="627"/>
                    </a:cubicBezTo>
                    <a:cubicBezTo>
                      <a:pt x="133" y="657"/>
                      <a:pt x="126" y="685"/>
                      <a:pt x="117" y="714"/>
                    </a:cubicBezTo>
                    <a:cubicBezTo>
                      <a:pt x="106" y="743"/>
                      <a:pt x="96" y="772"/>
                      <a:pt x="88" y="802"/>
                    </a:cubicBezTo>
                    <a:cubicBezTo>
                      <a:pt x="86" y="807"/>
                      <a:pt x="91" y="811"/>
                      <a:pt x="95" y="811"/>
                    </a:cubicBezTo>
                    <a:cubicBezTo>
                      <a:pt x="98" y="811"/>
                      <a:pt x="100" y="810"/>
                      <a:pt x="102" y="807"/>
                    </a:cubicBezTo>
                    <a:cubicBezTo>
                      <a:pt x="132" y="761"/>
                      <a:pt x="154" y="708"/>
                      <a:pt x="163" y="652"/>
                    </a:cubicBezTo>
                    <a:cubicBezTo>
                      <a:pt x="200" y="488"/>
                      <a:pt x="184" y="317"/>
                      <a:pt x="117" y="163"/>
                    </a:cubicBezTo>
                    <a:cubicBezTo>
                      <a:pt x="91" y="105"/>
                      <a:pt x="57" y="51"/>
                      <a:pt x="17" y="4"/>
                    </a:cubicBezTo>
                    <a:cubicBezTo>
                      <a:pt x="15" y="2"/>
                      <a:pt x="13" y="1"/>
                      <a:pt x="11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7" name="Google Shape;1326;p38">
                <a:extLst>
                  <a:ext uri="{FF2B5EF4-FFF2-40B4-BE49-F238E27FC236}">
                    <a16:creationId xmlns:a16="http://schemas.microsoft.com/office/drawing/2014/main" id="{2BFCCAC9-848F-27FA-9DCB-4151174DF96D}"/>
                  </a:ext>
                </a:extLst>
              </p:cNvPr>
              <p:cNvSpPr/>
              <p:nvPr/>
            </p:nvSpPr>
            <p:spPr>
              <a:xfrm>
                <a:off x="6228629" y="1386028"/>
                <a:ext cx="85951" cy="174250"/>
              </a:xfrm>
              <a:custGeom>
                <a:avLst/>
                <a:gdLst/>
                <a:ahLst/>
                <a:cxnLst/>
                <a:rect l="l" t="t" r="r" b="b"/>
                <a:pathLst>
                  <a:path w="731" h="1482" extrusionOk="0">
                    <a:moveTo>
                      <a:pt x="558" y="0"/>
                    </a:moveTo>
                    <a:cubicBezTo>
                      <a:pt x="373" y="455"/>
                      <a:pt x="75" y="1083"/>
                      <a:pt x="75" y="1083"/>
                    </a:cubicBezTo>
                    <a:cubicBezTo>
                      <a:pt x="75" y="1083"/>
                      <a:pt x="45" y="1251"/>
                      <a:pt x="0" y="1481"/>
                    </a:cubicBezTo>
                    <a:cubicBezTo>
                      <a:pt x="24" y="1399"/>
                      <a:pt x="719" y="276"/>
                      <a:pt x="731" y="258"/>
                    </a:cubicBezTo>
                    <a:lnTo>
                      <a:pt x="731" y="258"/>
                    </a:lnTo>
                    <a:cubicBezTo>
                      <a:pt x="725" y="262"/>
                      <a:pt x="621" y="333"/>
                      <a:pt x="567" y="333"/>
                    </a:cubicBezTo>
                    <a:cubicBezTo>
                      <a:pt x="539" y="333"/>
                      <a:pt x="524" y="314"/>
                      <a:pt x="543" y="258"/>
                    </a:cubicBezTo>
                    <a:cubicBezTo>
                      <a:pt x="564" y="197"/>
                      <a:pt x="565" y="100"/>
                      <a:pt x="558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8" name="Google Shape;1327;p38">
                <a:extLst>
                  <a:ext uri="{FF2B5EF4-FFF2-40B4-BE49-F238E27FC236}">
                    <a16:creationId xmlns:a16="http://schemas.microsoft.com/office/drawing/2014/main" id="{4EC59FCB-36E1-1579-AF36-8FFE673C9C42}"/>
                  </a:ext>
                </a:extLst>
              </p:cNvPr>
              <p:cNvSpPr/>
              <p:nvPr/>
            </p:nvSpPr>
            <p:spPr>
              <a:xfrm>
                <a:off x="6162383" y="1680691"/>
                <a:ext cx="45503" cy="46913"/>
              </a:xfrm>
              <a:custGeom>
                <a:avLst/>
                <a:gdLst/>
                <a:ahLst/>
                <a:cxnLst/>
                <a:rect l="l" t="t" r="r" b="b"/>
                <a:pathLst>
                  <a:path w="387" h="399" extrusionOk="0">
                    <a:moveTo>
                      <a:pt x="0" y="1"/>
                    </a:moveTo>
                    <a:lnTo>
                      <a:pt x="0" y="1"/>
                    </a:lnTo>
                    <a:cubicBezTo>
                      <a:pt x="2" y="19"/>
                      <a:pt x="2" y="262"/>
                      <a:pt x="39" y="299"/>
                    </a:cubicBezTo>
                    <a:cubicBezTo>
                      <a:pt x="67" y="328"/>
                      <a:pt x="161" y="399"/>
                      <a:pt x="228" y="399"/>
                    </a:cubicBezTo>
                    <a:cubicBezTo>
                      <a:pt x="250" y="399"/>
                      <a:pt x="269" y="392"/>
                      <a:pt x="282" y="374"/>
                    </a:cubicBezTo>
                    <a:cubicBezTo>
                      <a:pt x="339" y="299"/>
                      <a:pt x="386" y="29"/>
                      <a:pt x="386" y="29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A48EF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79" name="Google Shape;1328;p38">
                <a:extLst>
                  <a:ext uri="{FF2B5EF4-FFF2-40B4-BE49-F238E27FC236}">
                    <a16:creationId xmlns:a16="http://schemas.microsoft.com/office/drawing/2014/main" id="{87C92C4B-5FC7-3D87-B012-37D57723061A}"/>
                  </a:ext>
                </a:extLst>
              </p:cNvPr>
              <p:cNvSpPr/>
              <p:nvPr/>
            </p:nvSpPr>
            <p:spPr>
              <a:xfrm>
                <a:off x="6270960" y="1172498"/>
                <a:ext cx="89949" cy="102175"/>
              </a:xfrm>
              <a:custGeom>
                <a:avLst/>
                <a:gdLst/>
                <a:ahLst/>
                <a:cxnLst/>
                <a:rect l="l" t="t" r="r" b="b"/>
                <a:pathLst>
                  <a:path w="765" h="869" extrusionOk="0">
                    <a:moveTo>
                      <a:pt x="54" y="1"/>
                    </a:moveTo>
                    <a:cubicBezTo>
                      <a:pt x="53" y="1"/>
                      <a:pt x="52" y="1"/>
                      <a:pt x="50" y="2"/>
                    </a:cubicBezTo>
                    <a:lnTo>
                      <a:pt x="46" y="3"/>
                    </a:lnTo>
                    <a:cubicBezTo>
                      <a:pt x="20" y="5"/>
                      <a:pt x="1" y="25"/>
                      <a:pt x="2" y="51"/>
                    </a:cubicBezTo>
                    <a:cubicBezTo>
                      <a:pt x="2" y="82"/>
                      <a:pt x="31" y="106"/>
                      <a:pt x="50" y="127"/>
                    </a:cubicBezTo>
                    <a:cubicBezTo>
                      <a:pt x="101" y="179"/>
                      <a:pt x="150" y="231"/>
                      <a:pt x="202" y="282"/>
                    </a:cubicBezTo>
                    <a:cubicBezTo>
                      <a:pt x="254" y="331"/>
                      <a:pt x="308" y="380"/>
                      <a:pt x="363" y="425"/>
                    </a:cubicBezTo>
                    <a:cubicBezTo>
                      <a:pt x="377" y="434"/>
                      <a:pt x="390" y="444"/>
                      <a:pt x="402" y="453"/>
                    </a:cubicBezTo>
                    <a:cubicBezTo>
                      <a:pt x="426" y="476"/>
                      <a:pt x="450" y="498"/>
                      <a:pt x="474" y="519"/>
                    </a:cubicBezTo>
                    <a:cubicBezTo>
                      <a:pt x="518" y="559"/>
                      <a:pt x="565" y="597"/>
                      <a:pt x="608" y="638"/>
                    </a:cubicBezTo>
                    <a:cubicBezTo>
                      <a:pt x="617" y="655"/>
                      <a:pt x="624" y="671"/>
                      <a:pt x="633" y="687"/>
                    </a:cubicBezTo>
                    <a:cubicBezTo>
                      <a:pt x="636" y="693"/>
                      <a:pt x="641" y="696"/>
                      <a:pt x="646" y="696"/>
                    </a:cubicBezTo>
                    <a:cubicBezTo>
                      <a:pt x="649" y="696"/>
                      <a:pt x="653" y="694"/>
                      <a:pt x="656" y="692"/>
                    </a:cubicBezTo>
                    <a:cubicBezTo>
                      <a:pt x="696" y="740"/>
                      <a:pt x="723" y="796"/>
                      <a:pt x="735" y="857"/>
                    </a:cubicBezTo>
                    <a:cubicBezTo>
                      <a:pt x="737" y="865"/>
                      <a:pt x="743" y="868"/>
                      <a:pt x="749" y="868"/>
                    </a:cubicBezTo>
                    <a:cubicBezTo>
                      <a:pt x="756" y="868"/>
                      <a:pt x="764" y="863"/>
                      <a:pt x="764" y="854"/>
                    </a:cubicBezTo>
                    <a:cubicBezTo>
                      <a:pt x="760" y="798"/>
                      <a:pt x="741" y="744"/>
                      <a:pt x="706" y="699"/>
                    </a:cubicBezTo>
                    <a:cubicBezTo>
                      <a:pt x="711" y="693"/>
                      <a:pt x="714" y="687"/>
                      <a:pt x="717" y="682"/>
                    </a:cubicBezTo>
                    <a:cubicBezTo>
                      <a:pt x="724" y="671"/>
                      <a:pt x="732" y="661"/>
                      <a:pt x="736" y="649"/>
                    </a:cubicBezTo>
                    <a:cubicBezTo>
                      <a:pt x="745" y="635"/>
                      <a:pt x="734" y="623"/>
                      <a:pt x="722" y="623"/>
                    </a:cubicBezTo>
                    <a:cubicBezTo>
                      <a:pt x="717" y="623"/>
                      <a:pt x="712" y="626"/>
                      <a:pt x="709" y="632"/>
                    </a:cubicBezTo>
                    <a:cubicBezTo>
                      <a:pt x="702" y="643"/>
                      <a:pt x="696" y="655"/>
                      <a:pt x="690" y="665"/>
                    </a:cubicBezTo>
                    <a:cubicBezTo>
                      <a:pt x="688" y="668"/>
                      <a:pt x="687" y="670"/>
                      <a:pt x="687" y="673"/>
                    </a:cubicBezTo>
                    <a:lnTo>
                      <a:pt x="684" y="670"/>
                    </a:lnTo>
                    <a:cubicBezTo>
                      <a:pt x="669" y="650"/>
                      <a:pt x="651" y="631"/>
                      <a:pt x="633" y="614"/>
                    </a:cubicBezTo>
                    <a:cubicBezTo>
                      <a:pt x="630" y="610"/>
                      <a:pt x="629" y="605"/>
                      <a:pt x="626" y="601"/>
                    </a:cubicBezTo>
                    <a:cubicBezTo>
                      <a:pt x="609" y="580"/>
                      <a:pt x="591" y="559"/>
                      <a:pt x="572" y="541"/>
                    </a:cubicBezTo>
                    <a:cubicBezTo>
                      <a:pt x="530" y="506"/>
                      <a:pt x="487" y="471"/>
                      <a:pt x="441" y="440"/>
                    </a:cubicBezTo>
                    <a:lnTo>
                      <a:pt x="436" y="435"/>
                    </a:lnTo>
                    <a:cubicBezTo>
                      <a:pt x="357" y="364"/>
                      <a:pt x="281" y="291"/>
                      <a:pt x="208" y="215"/>
                    </a:cubicBezTo>
                    <a:cubicBezTo>
                      <a:pt x="180" y="185"/>
                      <a:pt x="152" y="155"/>
                      <a:pt x="123" y="124"/>
                    </a:cubicBezTo>
                    <a:cubicBezTo>
                      <a:pt x="101" y="101"/>
                      <a:pt x="80" y="75"/>
                      <a:pt x="56" y="54"/>
                    </a:cubicBezTo>
                    <a:cubicBezTo>
                      <a:pt x="62" y="45"/>
                      <a:pt x="65" y="34"/>
                      <a:pt x="65" y="24"/>
                    </a:cubicBezTo>
                    <a:cubicBezTo>
                      <a:pt x="65" y="22"/>
                      <a:pt x="67" y="19"/>
                      <a:pt x="67" y="18"/>
                    </a:cubicBezTo>
                    <a:cubicBezTo>
                      <a:pt x="69" y="9"/>
                      <a:pt x="63" y="1"/>
                      <a:pt x="54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0" name="Google Shape;1329;p38">
                <a:extLst>
                  <a:ext uri="{FF2B5EF4-FFF2-40B4-BE49-F238E27FC236}">
                    <a16:creationId xmlns:a16="http://schemas.microsoft.com/office/drawing/2014/main" id="{9B74EEBD-DC06-C32F-EC81-75CD61F80CB4}"/>
                  </a:ext>
                </a:extLst>
              </p:cNvPr>
              <p:cNvSpPr/>
              <p:nvPr/>
            </p:nvSpPr>
            <p:spPr>
              <a:xfrm>
                <a:off x="6357972" y="1247633"/>
                <a:ext cx="4703" cy="5761"/>
              </a:xfrm>
              <a:custGeom>
                <a:avLst/>
                <a:gdLst/>
                <a:ahLst/>
                <a:cxnLst/>
                <a:rect l="l" t="t" r="r" b="b"/>
                <a:pathLst>
                  <a:path w="40" h="49" extrusionOk="0">
                    <a:moveTo>
                      <a:pt x="29" y="0"/>
                    </a:moveTo>
                    <a:cubicBezTo>
                      <a:pt x="28" y="0"/>
                      <a:pt x="27" y="0"/>
                      <a:pt x="26" y="1"/>
                    </a:cubicBezTo>
                    <a:cubicBezTo>
                      <a:pt x="17" y="2"/>
                      <a:pt x="10" y="8"/>
                      <a:pt x="7" y="16"/>
                    </a:cubicBezTo>
                    <a:cubicBezTo>
                      <a:pt x="2" y="23"/>
                      <a:pt x="1" y="31"/>
                      <a:pt x="2" y="40"/>
                    </a:cubicBezTo>
                    <a:cubicBezTo>
                      <a:pt x="2" y="41"/>
                      <a:pt x="4" y="44"/>
                      <a:pt x="5" y="45"/>
                    </a:cubicBezTo>
                    <a:cubicBezTo>
                      <a:pt x="7" y="48"/>
                      <a:pt x="10" y="48"/>
                      <a:pt x="12" y="48"/>
                    </a:cubicBezTo>
                    <a:cubicBezTo>
                      <a:pt x="18" y="48"/>
                      <a:pt x="23" y="44"/>
                      <a:pt x="23" y="40"/>
                    </a:cubicBezTo>
                    <a:cubicBezTo>
                      <a:pt x="23" y="38"/>
                      <a:pt x="23" y="37"/>
                      <a:pt x="23" y="35"/>
                    </a:cubicBezTo>
                    <a:cubicBezTo>
                      <a:pt x="23" y="34"/>
                      <a:pt x="23" y="32"/>
                      <a:pt x="24" y="31"/>
                    </a:cubicBezTo>
                    <a:cubicBezTo>
                      <a:pt x="24" y="29"/>
                      <a:pt x="26" y="28"/>
                      <a:pt x="26" y="26"/>
                    </a:cubicBezTo>
                    <a:cubicBezTo>
                      <a:pt x="29" y="25"/>
                      <a:pt x="30" y="22"/>
                      <a:pt x="33" y="20"/>
                    </a:cubicBezTo>
                    <a:lnTo>
                      <a:pt x="36" y="17"/>
                    </a:lnTo>
                    <a:lnTo>
                      <a:pt x="38" y="16"/>
                    </a:lnTo>
                    <a:cubicBezTo>
                      <a:pt x="38" y="14"/>
                      <a:pt x="39" y="13"/>
                      <a:pt x="39" y="11"/>
                    </a:cubicBezTo>
                    <a:cubicBezTo>
                      <a:pt x="39" y="10"/>
                      <a:pt x="38" y="7"/>
                      <a:pt x="38" y="5"/>
                    </a:cubicBezTo>
                    <a:cubicBezTo>
                      <a:pt x="36" y="2"/>
                      <a:pt x="33" y="0"/>
                      <a:pt x="29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1" name="Google Shape;1330;p38">
                <a:extLst>
                  <a:ext uri="{FF2B5EF4-FFF2-40B4-BE49-F238E27FC236}">
                    <a16:creationId xmlns:a16="http://schemas.microsoft.com/office/drawing/2014/main" id="{F6D35FB4-0E60-CAC1-99AA-BC8A09761212}"/>
                  </a:ext>
                </a:extLst>
              </p:cNvPr>
              <p:cNvSpPr/>
              <p:nvPr/>
            </p:nvSpPr>
            <p:spPr>
              <a:xfrm>
                <a:off x="6433579" y="1343816"/>
                <a:ext cx="17402" cy="154262"/>
              </a:xfrm>
              <a:custGeom>
                <a:avLst/>
                <a:gdLst/>
                <a:ahLst/>
                <a:cxnLst/>
                <a:rect l="l" t="t" r="r" b="b"/>
                <a:pathLst>
                  <a:path w="148" h="1312" extrusionOk="0">
                    <a:moveTo>
                      <a:pt x="68" y="1"/>
                    </a:moveTo>
                    <a:cubicBezTo>
                      <a:pt x="62" y="1"/>
                      <a:pt x="57" y="5"/>
                      <a:pt x="57" y="12"/>
                    </a:cubicBezTo>
                    <a:cubicBezTo>
                      <a:pt x="58" y="43"/>
                      <a:pt x="63" y="74"/>
                      <a:pt x="69" y="106"/>
                    </a:cubicBezTo>
                    <a:cubicBezTo>
                      <a:pt x="73" y="137"/>
                      <a:pt x="78" y="170"/>
                      <a:pt x="81" y="201"/>
                    </a:cubicBezTo>
                    <a:cubicBezTo>
                      <a:pt x="87" y="265"/>
                      <a:pt x="91" y="328"/>
                      <a:pt x="91" y="392"/>
                    </a:cubicBezTo>
                    <a:cubicBezTo>
                      <a:pt x="93" y="520"/>
                      <a:pt x="82" y="647"/>
                      <a:pt x="60" y="774"/>
                    </a:cubicBezTo>
                    <a:cubicBezTo>
                      <a:pt x="52" y="808"/>
                      <a:pt x="46" y="842"/>
                      <a:pt x="39" y="877"/>
                    </a:cubicBezTo>
                    <a:cubicBezTo>
                      <a:pt x="32" y="904"/>
                      <a:pt x="23" y="932"/>
                      <a:pt x="18" y="960"/>
                    </a:cubicBezTo>
                    <a:cubicBezTo>
                      <a:pt x="17" y="960"/>
                      <a:pt x="15" y="959"/>
                      <a:pt x="14" y="959"/>
                    </a:cubicBezTo>
                    <a:cubicBezTo>
                      <a:pt x="7" y="959"/>
                      <a:pt x="1" y="965"/>
                      <a:pt x="3" y="972"/>
                    </a:cubicBezTo>
                    <a:cubicBezTo>
                      <a:pt x="26" y="1027"/>
                      <a:pt x="51" y="1084"/>
                      <a:pt x="72" y="1141"/>
                    </a:cubicBezTo>
                    <a:cubicBezTo>
                      <a:pt x="81" y="1169"/>
                      <a:pt x="91" y="1199"/>
                      <a:pt x="100" y="1227"/>
                    </a:cubicBezTo>
                    <a:cubicBezTo>
                      <a:pt x="105" y="1241"/>
                      <a:pt x="109" y="1256"/>
                      <a:pt x="112" y="1269"/>
                    </a:cubicBezTo>
                    <a:cubicBezTo>
                      <a:pt x="115" y="1284"/>
                      <a:pt x="123" y="1297"/>
                      <a:pt x="131" y="1309"/>
                    </a:cubicBezTo>
                    <a:cubicBezTo>
                      <a:pt x="133" y="1311"/>
                      <a:pt x="135" y="1312"/>
                      <a:pt x="138" y="1312"/>
                    </a:cubicBezTo>
                    <a:cubicBezTo>
                      <a:pt x="141" y="1312"/>
                      <a:pt x="145" y="1310"/>
                      <a:pt x="146" y="1306"/>
                    </a:cubicBezTo>
                    <a:cubicBezTo>
                      <a:pt x="148" y="1291"/>
                      <a:pt x="146" y="1276"/>
                      <a:pt x="140" y="1263"/>
                    </a:cubicBezTo>
                    <a:cubicBezTo>
                      <a:pt x="136" y="1248"/>
                      <a:pt x="131" y="1233"/>
                      <a:pt x="127" y="1218"/>
                    </a:cubicBezTo>
                    <a:cubicBezTo>
                      <a:pt x="118" y="1190"/>
                      <a:pt x="108" y="1160"/>
                      <a:pt x="97" y="1132"/>
                    </a:cubicBezTo>
                    <a:cubicBezTo>
                      <a:pt x="78" y="1081"/>
                      <a:pt x="57" y="1032"/>
                      <a:pt x="33" y="984"/>
                    </a:cubicBezTo>
                    <a:cubicBezTo>
                      <a:pt x="45" y="956"/>
                      <a:pt x="55" y="924"/>
                      <a:pt x="61" y="893"/>
                    </a:cubicBezTo>
                    <a:cubicBezTo>
                      <a:pt x="69" y="862"/>
                      <a:pt x="76" y="831"/>
                      <a:pt x="82" y="801"/>
                    </a:cubicBezTo>
                    <a:cubicBezTo>
                      <a:pt x="96" y="737"/>
                      <a:pt x="105" y="672"/>
                      <a:pt x="111" y="608"/>
                    </a:cubicBezTo>
                    <a:cubicBezTo>
                      <a:pt x="124" y="480"/>
                      <a:pt x="124" y="352"/>
                      <a:pt x="114" y="224"/>
                    </a:cubicBezTo>
                    <a:cubicBezTo>
                      <a:pt x="109" y="188"/>
                      <a:pt x="106" y="152"/>
                      <a:pt x="100" y="115"/>
                    </a:cubicBezTo>
                    <a:cubicBezTo>
                      <a:pt x="97" y="79"/>
                      <a:pt x="90" y="43"/>
                      <a:pt x="78" y="9"/>
                    </a:cubicBezTo>
                    <a:cubicBezTo>
                      <a:pt x="76" y="3"/>
                      <a:pt x="72" y="1"/>
                      <a:pt x="68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2" name="Google Shape;1331;p38">
                <a:extLst>
                  <a:ext uri="{FF2B5EF4-FFF2-40B4-BE49-F238E27FC236}">
                    <a16:creationId xmlns:a16="http://schemas.microsoft.com/office/drawing/2014/main" id="{B71C1A8A-39D4-1A3B-FDEF-4365F77DD32C}"/>
                  </a:ext>
                </a:extLst>
              </p:cNvPr>
              <p:cNvSpPr/>
              <p:nvPr/>
            </p:nvSpPr>
            <p:spPr>
              <a:xfrm>
                <a:off x="6449688" y="1509020"/>
                <a:ext cx="23163" cy="102175"/>
              </a:xfrm>
              <a:custGeom>
                <a:avLst/>
                <a:gdLst/>
                <a:ahLst/>
                <a:cxnLst/>
                <a:rect l="l" t="t" r="r" b="b"/>
                <a:pathLst>
                  <a:path w="197" h="869" extrusionOk="0">
                    <a:moveTo>
                      <a:pt x="8" y="0"/>
                    </a:moveTo>
                    <a:cubicBezTo>
                      <a:pt x="4" y="0"/>
                      <a:pt x="0" y="3"/>
                      <a:pt x="2" y="9"/>
                    </a:cubicBezTo>
                    <a:cubicBezTo>
                      <a:pt x="17" y="65"/>
                      <a:pt x="29" y="120"/>
                      <a:pt x="44" y="176"/>
                    </a:cubicBezTo>
                    <a:cubicBezTo>
                      <a:pt x="57" y="229"/>
                      <a:pt x="71" y="283"/>
                      <a:pt x="82" y="338"/>
                    </a:cubicBezTo>
                    <a:cubicBezTo>
                      <a:pt x="108" y="448"/>
                      <a:pt x="129" y="560"/>
                      <a:pt x="147" y="672"/>
                    </a:cubicBezTo>
                    <a:cubicBezTo>
                      <a:pt x="153" y="703"/>
                      <a:pt x="157" y="735"/>
                      <a:pt x="161" y="765"/>
                    </a:cubicBezTo>
                    <a:cubicBezTo>
                      <a:pt x="163" y="781"/>
                      <a:pt x="166" y="796"/>
                      <a:pt x="167" y="812"/>
                    </a:cubicBezTo>
                    <a:cubicBezTo>
                      <a:pt x="170" y="829"/>
                      <a:pt x="173" y="845"/>
                      <a:pt x="178" y="860"/>
                    </a:cubicBezTo>
                    <a:cubicBezTo>
                      <a:pt x="179" y="866"/>
                      <a:pt x="182" y="869"/>
                      <a:pt x="186" y="869"/>
                    </a:cubicBezTo>
                    <a:cubicBezTo>
                      <a:pt x="191" y="869"/>
                      <a:pt x="197" y="865"/>
                      <a:pt x="196" y="857"/>
                    </a:cubicBezTo>
                    <a:cubicBezTo>
                      <a:pt x="196" y="829"/>
                      <a:pt x="194" y="800"/>
                      <a:pt x="188" y="774"/>
                    </a:cubicBezTo>
                    <a:cubicBezTo>
                      <a:pt x="185" y="745"/>
                      <a:pt x="181" y="717"/>
                      <a:pt x="176" y="689"/>
                    </a:cubicBezTo>
                    <a:cubicBezTo>
                      <a:pt x="169" y="633"/>
                      <a:pt x="159" y="577"/>
                      <a:pt x="148" y="520"/>
                    </a:cubicBezTo>
                    <a:cubicBezTo>
                      <a:pt x="127" y="410"/>
                      <a:pt x="103" y="299"/>
                      <a:pt x="74" y="190"/>
                    </a:cubicBezTo>
                    <a:cubicBezTo>
                      <a:pt x="57" y="128"/>
                      <a:pt x="36" y="67"/>
                      <a:pt x="15" y="6"/>
                    </a:cubicBezTo>
                    <a:cubicBezTo>
                      <a:pt x="14" y="2"/>
                      <a:pt x="11" y="0"/>
                      <a:pt x="8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3" name="Google Shape;1332;p38">
                <a:extLst>
                  <a:ext uri="{FF2B5EF4-FFF2-40B4-BE49-F238E27FC236}">
                    <a16:creationId xmlns:a16="http://schemas.microsoft.com/office/drawing/2014/main" id="{7F49B395-2DDD-9AFC-42D3-A18554C7FCE9}"/>
                  </a:ext>
                </a:extLst>
              </p:cNvPr>
              <p:cNvSpPr/>
              <p:nvPr/>
            </p:nvSpPr>
            <p:spPr>
              <a:xfrm>
                <a:off x="6177951" y="2501654"/>
                <a:ext cx="200474" cy="67254"/>
              </a:xfrm>
              <a:custGeom>
                <a:avLst/>
                <a:gdLst/>
                <a:ahLst/>
                <a:cxnLst/>
                <a:rect l="l" t="t" r="r" b="b"/>
                <a:pathLst>
                  <a:path w="1705" h="572" extrusionOk="0">
                    <a:moveTo>
                      <a:pt x="279" y="1"/>
                    </a:moveTo>
                    <a:cubicBezTo>
                      <a:pt x="279" y="1"/>
                      <a:pt x="0" y="399"/>
                      <a:pt x="75" y="456"/>
                    </a:cubicBezTo>
                    <a:cubicBezTo>
                      <a:pt x="147" y="509"/>
                      <a:pt x="336" y="511"/>
                      <a:pt x="355" y="511"/>
                    </a:cubicBezTo>
                    <a:cubicBezTo>
                      <a:pt x="356" y="511"/>
                      <a:pt x="357" y="511"/>
                      <a:pt x="357" y="511"/>
                    </a:cubicBezTo>
                    <a:cubicBezTo>
                      <a:pt x="357" y="511"/>
                      <a:pt x="910" y="572"/>
                      <a:pt x="1308" y="572"/>
                    </a:cubicBezTo>
                    <a:cubicBezTo>
                      <a:pt x="1531" y="572"/>
                      <a:pt x="1705" y="553"/>
                      <a:pt x="1705" y="493"/>
                    </a:cubicBezTo>
                    <a:lnTo>
                      <a:pt x="880" y="211"/>
                    </a:lnTo>
                    <a:lnTo>
                      <a:pt x="774" y="60"/>
                    </a:lnTo>
                    <a:lnTo>
                      <a:pt x="279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4" name="Google Shape;1333;p38">
                <a:extLst>
                  <a:ext uri="{FF2B5EF4-FFF2-40B4-BE49-F238E27FC236}">
                    <a16:creationId xmlns:a16="http://schemas.microsoft.com/office/drawing/2014/main" id="{D2470E55-7831-ECF9-5D73-4604BB224930}"/>
                  </a:ext>
                </a:extLst>
              </p:cNvPr>
              <p:cNvSpPr/>
              <p:nvPr/>
            </p:nvSpPr>
            <p:spPr>
              <a:xfrm>
                <a:off x="6267903" y="1762763"/>
                <a:ext cx="38449" cy="61258"/>
              </a:xfrm>
              <a:custGeom>
                <a:avLst/>
                <a:gdLst/>
                <a:ahLst/>
                <a:cxnLst/>
                <a:rect l="l" t="t" r="r" b="b"/>
                <a:pathLst>
                  <a:path w="327" h="521" extrusionOk="0">
                    <a:moveTo>
                      <a:pt x="313" y="0"/>
                    </a:moveTo>
                    <a:cubicBezTo>
                      <a:pt x="307" y="0"/>
                      <a:pt x="302" y="3"/>
                      <a:pt x="300" y="10"/>
                    </a:cubicBezTo>
                    <a:cubicBezTo>
                      <a:pt x="294" y="29"/>
                      <a:pt x="291" y="49"/>
                      <a:pt x="289" y="66"/>
                    </a:cubicBezTo>
                    <a:cubicBezTo>
                      <a:pt x="285" y="86"/>
                      <a:pt x="280" y="104"/>
                      <a:pt x="274" y="122"/>
                    </a:cubicBezTo>
                    <a:cubicBezTo>
                      <a:pt x="264" y="157"/>
                      <a:pt x="251" y="193"/>
                      <a:pt x="234" y="228"/>
                    </a:cubicBezTo>
                    <a:cubicBezTo>
                      <a:pt x="201" y="296"/>
                      <a:pt x="158" y="359"/>
                      <a:pt x="106" y="412"/>
                    </a:cubicBezTo>
                    <a:cubicBezTo>
                      <a:pt x="76" y="445"/>
                      <a:pt x="43" y="474"/>
                      <a:pt x="9" y="499"/>
                    </a:cubicBezTo>
                    <a:cubicBezTo>
                      <a:pt x="0" y="506"/>
                      <a:pt x="6" y="520"/>
                      <a:pt x="14" y="520"/>
                    </a:cubicBezTo>
                    <a:cubicBezTo>
                      <a:pt x="16" y="520"/>
                      <a:pt x="18" y="520"/>
                      <a:pt x="19" y="518"/>
                    </a:cubicBezTo>
                    <a:cubicBezTo>
                      <a:pt x="85" y="474"/>
                      <a:pt x="143" y="418"/>
                      <a:pt x="191" y="356"/>
                    </a:cubicBezTo>
                    <a:cubicBezTo>
                      <a:pt x="237" y="292"/>
                      <a:pt x="274" y="220"/>
                      <a:pt x="300" y="145"/>
                    </a:cubicBezTo>
                    <a:cubicBezTo>
                      <a:pt x="306" y="125"/>
                      <a:pt x="312" y="104"/>
                      <a:pt x="316" y="83"/>
                    </a:cubicBezTo>
                    <a:cubicBezTo>
                      <a:pt x="324" y="61"/>
                      <a:pt x="327" y="37"/>
                      <a:pt x="327" y="14"/>
                    </a:cubicBezTo>
                    <a:cubicBezTo>
                      <a:pt x="327" y="5"/>
                      <a:pt x="320" y="0"/>
                      <a:pt x="313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5" name="Google Shape;1334;p38">
                <a:extLst>
                  <a:ext uri="{FF2B5EF4-FFF2-40B4-BE49-F238E27FC236}">
                    <a16:creationId xmlns:a16="http://schemas.microsoft.com/office/drawing/2014/main" id="{9FA789FB-0687-F761-9F1A-98C010BADFB2}"/>
                  </a:ext>
                </a:extLst>
              </p:cNvPr>
              <p:cNvSpPr/>
              <p:nvPr/>
            </p:nvSpPr>
            <p:spPr>
              <a:xfrm>
                <a:off x="6366556" y="1848128"/>
                <a:ext cx="63023" cy="223868"/>
              </a:xfrm>
              <a:custGeom>
                <a:avLst/>
                <a:gdLst/>
                <a:ahLst/>
                <a:cxnLst/>
                <a:rect l="l" t="t" r="r" b="b"/>
                <a:pathLst>
                  <a:path w="536" h="1904" extrusionOk="0">
                    <a:moveTo>
                      <a:pt x="523" y="1"/>
                    </a:moveTo>
                    <a:cubicBezTo>
                      <a:pt x="522" y="1"/>
                      <a:pt x="522" y="1"/>
                      <a:pt x="521" y="1"/>
                    </a:cubicBezTo>
                    <a:cubicBezTo>
                      <a:pt x="505" y="6"/>
                      <a:pt x="490" y="14"/>
                      <a:pt x="478" y="25"/>
                    </a:cubicBezTo>
                    <a:cubicBezTo>
                      <a:pt x="463" y="34"/>
                      <a:pt x="448" y="43"/>
                      <a:pt x="433" y="50"/>
                    </a:cubicBezTo>
                    <a:cubicBezTo>
                      <a:pt x="403" y="67"/>
                      <a:pt x="373" y="82"/>
                      <a:pt x="342" y="92"/>
                    </a:cubicBezTo>
                    <a:cubicBezTo>
                      <a:pt x="317" y="101"/>
                      <a:pt x="291" y="108"/>
                      <a:pt x="268" y="114"/>
                    </a:cubicBezTo>
                    <a:cubicBezTo>
                      <a:pt x="265" y="107"/>
                      <a:pt x="259" y="104"/>
                      <a:pt x="252" y="104"/>
                    </a:cubicBezTo>
                    <a:cubicBezTo>
                      <a:pt x="246" y="104"/>
                      <a:pt x="239" y="108"/>
                      <a:pt x="238" y="116"/>
                    </a:cubicBezTo>
                    <a:cubicBezTo>
                      <a:pt x="238" y="117"/>
                      <a:pt x="238" y="119"/>
                      <a:pt x="238" y="120"/>
                    </a:cubicBezTo>
                    <a:cubicBezTo>
                      <a:pt x="206" y="126"/>
                      <a:pt x="175" y="129"/>
                      <a:pt x="144" y="131"/>
                    </a:cubicBezTo>
                    <a:cubicBezTo>
                      <a:pt x="130" y="132"/>
                      <a:pt x="130" y="152"/>
                      <a:pt x="144" y="153"/>
                    </a:cubicBezTo>
                    <a:cubicBezTo>
                      <a:pt x="152" y="154"/>
                      <a:pt x="160" y="154"/>
                      <a:pt x="167" y="154"/>
                    </a:cubicBezTo>
                    <a:cubicBezTo>
                      <a:pt x="189" y="154"/>
                      <a:pt x="210" y="152"/>
                      <a:pt x="232" y="150"/>
                    </a:cubicBezTo>
                    <a:lnTo>
                      <a:pt x="232" y="150"/>
                    </a:lnTo>
                    <a:cubicBezTo>
                      <a:pt x="223" y="196"/>
                      <a:pt x="218" y="243"/>
                      <a:pt x="212" y="290"/>
                    </a:cubicBezTo>
                    <a:lnTo>
                      <a:pt x="190" y="462"/>
                    </a:lnTo>
                    <a:lnTo>
                      <a:pt x="142" y="809"/>
                    </a:lnTo>
                    <a:cubicBezTo>
                      <a:pt x="111" y="1040"/>
                      <a:pt x="81" y="1272"/>
                      <a:pt x="50" y="1503"/>
                    </a:cubicBezTo>
                    <a:cubicBezTo>
                      <a:pt x="41" y="1567"/>
                      <a:pt x="33" y="1631"/>
                      <a:pt x="24" y="1695"/>
                    </a:cubicBezTo>
                    <a:cubicBezTo>
                      <a:pt x="17" y="1759"/>
                      <a:pt x="7" y="1825"/>
                      <a:pt x="2" y="1890"/>
                    </a:cubicBezTo>
                    <a:cubicBezTo>
                      <a:pt x="0" y="1899"/>
                      <a:pt x="6" y="1903"/>
                      <a:pt x="12" y="1903"/>
                    </a:cubicBezTo>
                    <a:cubicBezTo>
                      <a:pt x="17" y="1903"/>
                      <a:pt x="22" y="1900"/>
                      <a:pt x="23" y="1893"/>
                    </a:cubicBezTo>
                    <a:cubicBezTo>
                      <a:pt x="36" y="1837"/>
                      <a:pt x="42" y="1779"/>
                      <a:pt x="51" y="1720"/>
                    </a:cubicBezTo>
                    <a:cubicBezTo>
                      <a:pt x="60" y="1662"/>
                      <a:pt x="68" y="1606"/>
                      <a:pt x="75" y="1549"/>
                    </a:cubicBezTo>
                    <a:lnTo>
                      <a:pt x="123" y="1201"/>
                    </a:lnTo>
                    <a:cubicBezTo>
                      <a:pt x="154" y="972"/>
                      <a:pt x="186" y="741"/>
                      <a:pt x="217" y="510"/>
                    </a:cubicBezTo>
                    <a:cubicBezTo>
                      <a:pt x="226" y="445"/>
                      <a:pt x="235" y="381"/>
                      <a:pt x="244" y="317"/>
                    </a:cubicBezTo>
                    <a:cubicBezTo>
                      <a:pt x="251" y="261"/>
                      <a:pt x="262" y="202"/>
                      <a:pt x="266" y="146"/>
                    </a:cubicBezTo>
                    <a:cubicBezTo>
                      <a:pt x="296" y="141"/>
                      <a:pt x="324" y="134"/>
                      <a:pt x="353" y="123"/>
                    </a:cubicBezTo>
                    <a:cubicBezTo>
                      <a:pt x="385" y="111"/>
                      <a:pt x="418" y="98"/>
                      <a:pt x="449" y="80"/>
                    </a:cubicBezTo>
                    <a:cubicBezTo>
                      <a:pt x="464" y="73"/>
                      <a:pt x="479" y="62"/>
                      <a:pt x="493" y="53"/>
                    </a:cubicBezTo>
                    <a:cubicBezTo>
                      <a:pt x="509" y="43"/>
                      <a:pt x="523" y="31"/>
                      <a:pt x="531" y="16"/>
                    </a:cubicBezTo>
                    <a:cubicBezTo>
                      <a:pt x="536" y="9"/>
                      <a:pt x="530" y="1"/>
                      <a:pt x="523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6" name="Google Shape;1335;p38">
                <a:extLst>
                  <a:ext uri="{FF2B5EF4-FFF2-40B4-BE49-F238E27FC236}">
                    <a16:creationId xmlns:a16="http://schemas.microsoft.com/office/drawing/2014/main" id="{1B285E9F-155E-D81F-4D83-6DEA2F5F8B5B}"/>
                  </a:ext>
                </a:extLst>
              </p:cNvPr>
              <p:cNvSpPr/>
              <p:nvPr/>
            </p:nvSpPr>
            <p:spPr>
              <a:xfrm>
                <a:off x="6316112" y="2125741"/>
                <a:ext cx="44680" cy="200234"/>
              </a:xfrm>
              <a:custGeom>
                <a:avLst/>
                <a:gdLst/>
                <a:ahLst/>
                <a:cxnLst/>
                <a:rect l="l" t="t" r="r" b="b"/>
                <a:pathLst>
                  <a:path w="380" h="1703" extrusionOk="0">
                    <a:moveTo>
                      <a:pt x="366" y="0"/>
                    </a:moveTo>
                    <a:cubicBezTo>
                      <a:pt x="361" y="0"/>
                      <a:pt x="355" y="4"/>
                      <a:pt x="354" y="11"/>
                    </a:cubicBezTo>
                    <a:cubicBezTo>
                      <a:pt x="342" y="65"/>
                      <a:pt x="334" y="120"/>
                      <a:pt x="328" y="175"/>
                    </a:cubicBezTo>
                    <a:cubicBezTo>
                      <a:pt x="321" y="232"/>
                      <a:pt x="313" y="285"/>
                      <a:pt x="304" y="341"/>
                    </a:cubicBezTo>
                    <a:cubicBezTo>
                      <a:pt x="286" y="452"/>
                      <a:pt x="269" y="563"/>
                      <a:pt x="248" y="673"/>
                    </a:cubicBezTo>
                    <a:cubicBezTo>
                      <a:pt x="206" y="892"/>
                      <a:pt x="157" y="1109"/>
                      <a:pt x="100" y="1325"/>
                    </a:cubicBezTo>
                    <a:cubicBezTo>
                      <a:pt x="84" y="1386"/>
                      <a:pt x="67" y="1446"/>
                      <a:pt x="51" y="1507"/>
                    </a:cubicBezTo>
                    <a:cubicBezTo>
                      <a:pt x="42" y="1537"/>
                      <a:pt x="34" y="1568"/>
                      <a:pt x="26" y="1598"/>
                    </a:cubicBezTo>
                    <a:cubicBezTo>
                      <a:pt x="17" y="1627"/>
                      <a:pt x="8" y="1659"/>
                      <a:pt x="2" y="1690"/>
                    </a:cubicBezTo>
                    <a:cubicBezTo>
                      <a:pt x="1" y="1696"/>
                      <a:pt x="7" y="1702"/>
                      <a:pt x="13" y="1702"/>
                    </a:cubicBezTo>
                    <a:cubicBezTo>
                      <a:pt x="16" y="1702"/>
                      <a:pt x="19" y="1701"/>
                      <a:pt x="21" y="1698"/>
                    </a:cubicBezTo>
                    <a:cubicBezTo>
                      <a:pt x="42" y="1645"/>
                      <a:pt x="60" y="1592"/>
                      <a:pt x="73" y="1538"/>
                    </a:cubicBezTo>
                    <a:cubicBezTo>
                      <a:pt x="90" y="1484"/>
                      <a:pt x="105" y="1429"/>
                      <a:pt x="119" y="1375"/>
                    </a:cubicBezTo>
                    <a:cubicBezTo>
                      <a:pt x="149" y="1267"/>
                      <a:pt x="176" y="1159"/>
                      <a:pt x="201" y="1050"/>
                    </a:cubicBezTo>
                    <a:cubicBezTo>
                      <a:pt x="252" y="831"/>
                      <a:pt x="295" y="612"/>
                      <a:pt x="330" y="390"/>
                    </a:cubicBezTo>
                    <a:cubicBezTo>
                      <a:pt x="340" y="327"/>
                      <a:pt x="349" y="265"/>
                      <a:pt x="358" y="202"/>
                    </a:cubicBezTo>
                    <a:cubicBezTo>
                      <a:pt x="363" y="171"/>
                      <a:pt x="367" y="139"/>
                      <a:pt x="370" y="108"/>
                    </a:cubicBezTo>
                    <a:cubicBezTo>
                      <a:pt x="376" y="77"/>
                      <a:pt x="377" y="45"/>
                      <a:pt x="377" y="14"/>
                    </a:cubicBezTo>
                    <a:cubicBezTo>
                      <a:pt x="379" y="5"/>
                      <a:pt x="373" y="0"/>
                      <a:pt x="366" y="0"/>
                    </a:cubicBezTo>
                    <a:close/>
                  </a:path>
                </a:pathLst>
              </a:custGeom>
              <a:solidFill>
                <a:srgbClr val="382B2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7" name="Google Shape;1336;p38">
                <a:extLst>
                  <a:ext uri="{FF2B5EF4-FFF2-40B4-BE49-F238E27FC236}">
                    <a16:creationId xmlns:a16="http://schemas.microsoft.com/office/drawing/2014/main" id="{4ABFE892-6606-635E-54C2-D2594281958A}"/>
                  </a:ext>
                </a:extLst>
              </p:cNvPr>
              <p:cNvSpPr/>
              <p:nvPr/>
            </p:nvSpPr>
            <p:spPr>
              <a:xfrm>
                <a:off x="6240270" y="2106693"/>
                <a:ext cx="24692" cy="14932"/>
              </a:xfrm>
              <a:custGeom>
                <a:avLst/>
                <a:gdLst/>
                <a:ahLst/>
                <a:cxnLst/>
                <a:rect l="l" t="t" r="r" b="b"/>
                <a:pathLst>
                  <a:path w="210" h="127" extrusionOk="0">
                    <a:moveTo>
                      <a:pt x="21" y="0"/>
                    </a:moveTo>
                    <a:cubicBezTo>
                      <a:pt x="19" y="0"/>
                      <a:pt x="17" y="1"/>
                      <a:pt x="16" y="2"/>
                    </a:cubicBezTo>
                    <a:cubicBezTo>
                      <a:pt x="14" y="2"/>
                      <a:pt x="13" y="3"/>
                      <a:pt x="13" y="3"/>
                    </a:cubicBezTo>
                    <a:lnTo>
                      <a:pt x="11" y="3"/>
                    </a:lnTo>
                    <a:cubicBezTo>
                      <a:pt x="5" y="22"/>
                      <a:pt x="1" y="43"/>
                      <a:pt x="1" y="63"/>
                    </a:cubicBezTo>
                    <a:cubicBezTo>
                      <a:pt x="2" y="64"/>
                      <a:pt x="5" y="66"/>
                      <a:pt x="7" y="66"/>
                    </a:cubicBezTo>
                    <a:cubicBezTo>
                      <a:pt x="35" y="82"/>
                      <a:pt x="67" y="95"/>
                      <a:pt x="98" y="104"/>
                    </a:cubicBezTo>
                    <a:cubicBezTo>
                      <a:pt x="116" y="110"/>
                      <a:pt x="132" y="116"/>
                      <a:pt x="150" y="121"/>
                    </a:cubicBezTo>
                    <a:cubicBezTo>
                      <a:pt x="161" y="125"/>
                      <a:pt x="173" y="127"/>
                      <a:pt x="184" y="127"/>
                    </a:cubicBezTo>
                    <a:cubicBezTo>
                      <a:pt x="190" y="127"/>
                      <a:pt x="196" y="126"/>
                      <a:pt x="202" y="125"/>
                    </a:cubicBezTo>
                    <a:cubicBezTo>
                      <a:pt x="210" y="122"/>
                      <a:pt x="210" y="112"/>
                      <a:pt x="204" y="107"/>
                    </a:cubicBezTo>
                    <a:cubicBezTo>
                      <a:pt x="189" y="100"/>
                      <a:pt x="174" y="94"/>
                      <a:pt x="158" y="93"/>
                    </a:cubicBezTo>
                    <a:cubicBezTo>
                      <a:pt x="141" y="87"/>
                      <a:pt x="125" y="82"/>
                      <a:pt x="108" y="76"/>
                    </a:cubicBezTo>
                    <a:cubicBezTo>
                      <a:pt x="76" y="66"/>
                      <a:pt x="46" y="51"/>
                      <a:pt x="14" y="37"/>
                    </a:cubicBezTo>
                    <a:cubicBezTo>
                      <a:pt x="13" y="36"/>
                      <a:pt x="10" y="36"/>
                      <a:pt x="8" y="36"/>
                    </a:cubicBezTo>
                    <a:lnTo>
                      <a:pt x="8" y="33"/>
                    </a:lnTo>
                    <a:cubicBezTo>
                      <a:pt x="10" y="33"/>
                      <a:pt x="11" y="33"/>
                      <a:pt x="13" y="31"/>
                    </a:cubicBezTo>
                    <a:cubicBezTo>
                      <a:pt x="14" y="30"/>
                      <a:pt x="16" y="28"/>
                      <a:pt x="19" y="27"/>
                    </a:cubicBezTo>
                    <a:cubicBezTo>
                      <a:pt x="35" y="36"/>
                      <a:pt x="52" y="43"/>
                      <a:pt x="70" y="48"/>
                    </a:cubicBezTo>
                    <a:cubicBezTo>
                      <a:pt x="80" y="51"/>
                      <a:pt x="89" y="54"/>
                      <a:pt x="98" y="55"/>
                    </a:cubicBezTo>
                    <a:cubicBezTo>
                      <a:pt x="104" y="57"/>
                      <a:pt x="110" y="59"/>
                      <a:pt x="116" y="59"/>
                    </a:cubicBezTo>
                    <a:cubicBezTo>
                      <a:pt x="121" y="59"/>
                      <a:pt x="127" y="57"/>
                      <a:pt x="132" y="55"/>
                    </a:cubicBezTo>
                    <a:cubicBezTo>
                      <a:pt x="141" y="52"/>
                      <a:pt x="138" y="39"/>
                      <a:pt x="132" y="34"/>
                    </a:cubicBezTo>
                    <a:cubicBezTo>
                      <a:pt x="123" y="30"/>
                      <a:pt x="114" y="28"/>
                      <a:pt x="104" y="28"/>
                    </a:cubicBezTo>
                    <a:cubicBezTo>
                      <a:pt x="95" y="25"/>
                      <a:pt x="86" y="24"/>
                      <a:pt x="77" y="21"/>
                    </a:cubicBezTo>
                    <a:cubicBezTo>
                      <a:pt x="61" y="15"/>
                      <a:pt x="43" y="9"/>
                      <a:pt x="26" y="2"/>
                    </a:cubicBezTo>
                    <a:cubicBezTo>
                      <a:pt x="25" y="1"/>
                      <a:pt x="23" y="0"/>
                      <a:pt x="21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89" name="Google Shape;1337;p38">
                <a:extLst>
                  <a:ext uri="{FF2B5EF4-FFF2-40B4-BE49-F238E27FC236}">
                    <a16:creationId xmlns:a16="http://schemas.microsoft.com/office/drawing/2014/main" id="{DF19BF3F-34ED-7A95-E540-6C97924A0E9E}"/>
                  </a:ext>
                </a:extLst>
              </p:cNvPr>
              <p:cNvSpPr/>
              <p:nvPr/>
            </p:nvSpPr>
            <p:spPr>
              <a:xfrm>
                <a:off x="6212285" y="2472611"/>
                <a:ext cx="68667" cy="25985"/>
              </a:xfrm>
              <a:custGeom>
                <a:avLst/>
                <a:gdLst/>
                <a:ahLst/>
                <a:cxnLst/>
                <a:rect l="l" t="t" r="r" b="b"/>
                <a:pathLst>
                  <a:path w="584" h="221" extrusionOk="0">
                    <a:moveTo>
                      <a:pt x="24" y="1"/>
                    </a:moveTo>
                    <a:cubicBezTo>
                      <a:pt x="20" y="1"/>
                      <a:pt x="15" y="3"/>
                      <a:pt x="14" y="8"/>
                    </a:cubicBezTo>
                    <a:cubicBezTo>
                      <a:pt x="14" y="11"/>
                      <a:pt x="12" y="12"/>
                      <a:pt x="12" y="14"/>
                    </a:cubicBezTo>
                    <a:cubicBezTo>
                      <a:pt x="8" y="18"/>
                      <a:pt x="6" y="26"/>
                      <a:pt x="9" y="31"/>
                    </a:cubicBezTo>
                    <a:cubicBezTo>
                      <a:pt x="2" y="69"/>
                      <a:pt x="0" y="111"/>
                      <a:pt x="23" y="143"/>
                    </a:cubicBezTo>
                    <a:cubicBezTo>
                      <a:pt x="54" y="187"/>
                      <a:pt x="112" y="191"/>
                      <a:pt x="160" y="197"/>
                    </a:cubicBezTo>
                    <a:cubicBezTo>
                      <a:pt x="221" y="206"/>
                      <a:pt x="281" y="212"/>
                      <a:pt x="342" y="216"/>
                    </a:cubicBezTo>
                    <a:cubicBezTo>
                      <a:pt x="372" y="218"/>
                      <a:pt x="402" y="219"/>
                      <a:pt x="431" y="219"/>
                    </a:cubicBezTo>
                    <a:cubicBezTo>
                      <a:pt x="437" y="220"/>
                      <a:pt x="442" y="220"/>
                      <a:pt x="448" y="220"/>
                    </a:cubicBezTo>
                    <a:cubicBezTo>
                      <a:pt x="467" y="220"/>
                      <a:pt x="487" y="216"/>
                      <a:pt x="506" y="210"/>
                    </a:cubicBezTo>
                    <a:cubicBezTo>
                      <a:pt x="560" y="188"/>
                      <a:pt x="574" y="133"/>
                      <a:pt x="583" y="82"/>
                    </a:cubicBezTo>
                    <a:cubicBezTo>
                      <a:pt x="583" y="72"/>
                      <a:pt x="579" y="60"/>
                      <a:pt x="569" y="60"/>
                    </a:cubicBezTo>
                    <a:cubicBezTo>
                      <a:pt x="568" y="60"/>
                      <a:pt x="568" y="60"/>
                      <a:pt x="567" y="60"/>
                    </a:cubicBezTo>
                    <a:cubicBezTo>
                      <a:pt x="512" y="67"/>
                      <a:pt x="457" y="71"/>
                      <a:pt x="402" y="71"/>
                    </a:cubicBezTo>
                    <a:cubicBezTo>
                      <a:pt x="366" y="71"/>
                      <a:pt x="330" y="69"/>
                      <a:pt x="294" y="66"/>
                    </a:cubicBezTo>
                    <a:cubicBezTo>
                      <a:pt x="249" y="61"/>
                      <a:pt x="205" y="54"/>
                      <a:pt x="161" y="45"/>
                    </a:cubicBezTo>
                    <a:cubicBezTo>
                      <a:pt x="138" y="40"/>
                      <a:pt x="115" y="34"/>
                      <a:pt x="93" y="28"/>
                    </a:cubicBezTo>
                    <a:cubicBezTo>
                      <a:pt x="72" y="21"/>
                      <a:pt x="54" y="17"/>
                      <a:pt x="35" y="11"/>
                    </a:cubicBezTo>
                    <a:cubicBezTo>
                      <a:pt x="36" y="4"/>
                      <a:pt x="30" y="1"/>
                      <a:pt x="24" y="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0" name="Google Shape;1338;p38">
                <a:extLst>
                  <a:ext uri="{FF2B5EF4-FFF2-40B4-BE49-F238E27FC236}">
                    <a16:creationId xmlns:a16="http://schemas.microsoft.com/office/drawing/2014/main" id="{D5D27BA1-4956-F8E1-6582-45E9612583F3}"/>
                  </a:ext>
                </a:extLst>
              </p:cNvPr>
              <p:cNvSpPr/>
              <p:nvPr/>
            </p:nvSpPr>
            <p:spPr>
              <a:xfrm>
                <a:off x="6285775" y="2374194"/>
                <a:ext cx="69725" cy="91123"/>
              </a:xfrm>
              <a:custGeom>
                <a:avLst/>
                <a:gdLst/>
                <a:ahLst/>
                <a:cxnLst/>
                <a:rect l="l" t="t" r="r" b="b"/>
                <a:pathLst>
                  <a:path w="593" h="775" extrusionOk="0">
                    <a:moveTo>
                      <a:pt x="166" y="0"/>
                    </a:moveTo>
                    <a:cubicBezTo>
                      <a:pt x="162" y="0"/>
                      <a:pt x="157" y="2"/>
                      <a:pt x="155" y="7"/>
                    </a:cubicBezTo>
                    <a:cubicBezTo>
                      <a:pt x="142" y="45"/>
                      <a:pt x="131" y="84"/>
                      <a:pt x="124" y="124"/>
                    </a:cubicBezTo>
                    <a:cubicBezTo>
                      <a:pt x="115" y="163"/>
                      <a:pt x="106" y="203"/>
                      <a:pt x="97" y="242"/>
                    </a:cubicBezTo>
                    <a:cubicBezTo>
                      <a:pt x="78" y="321"/>
                      <a:pt x="61" y="399"/>
                      <a:pt x="43" y="478"/>
                    </a:cubicBezTo>
                    <a:cubicBezTo>
                      <a:pt x="39" y="499"/>
                      <a:pt x="33" y="521"/>
                      <a:pt x="29" y="543"/>
                    </a:cubicBezTo>
                    <a:cubicBezTo>
                      <a:pt x="23" y="566"/>
                      <a:pt x="18" y="588"/>
                      <a:pt x="15" y="611"/>
                    </a:cubicBezTo>
                    <a:cubicBezTo>
                      <a:pt x="15" y="611"/>
                      <a:pt x="15" y="611"/>
                      <a:pt x="15" y="612"/>
                    </a:cubicBezTo>
                    <a:cubicBezTo>
                      <a:pt x="5" y="624"/>
                      <a:pt x="0" y="640"/>
                      <a:pt x="5" y="657"/>
                    </a:cubicBezTo>
                    <a:cubicBezTo>
                      <a:pt x="9" y="679"/>
                      <a:pt x="24" y="697"/>
                      <a:pt x="43" y="707"/>
                    </a:cubicBezTo>
                    <a:cubicBezTo>
                      <a:pt x="67" y="718"/>
                      <a:pt x="91" y="727"/>
                      <a:pt x="117" y="731"/>
                    </a:cubicBezTo>
                    <a:cubicBezTo>
                      <a:pt x="146" y="739"/>
                      <a:pt x="176" y="746"/>
                      <a:pt x="204" y="752"/>
                    </a:cubicBezTo>
                    <a:cubicBezTo>
                      <a:pt x="264" y="766"/>
                      <a:pt x="324" y="773"/>
                      <a:pt x="383" y="775"/>
                    </a:cubicBezTo>
                    <a:cubicBezTo>
                      <a:pt x="434" y="775"/>
                      <a:pt x="489" y="769"/>
                      <a:pt x="531" y="737"/>
                    </a:cubicBezTo>
                    <a:cubicBezTo>
                      <a:pt x="576" y="706"/>
                      <a:pt x="592" y="649"/>
                      <a:pt x="573" y="600"/>
                    </a:cubicBezTo>
                    <a:cubicBezTo>
                      <a:pt x="571" y="595"/>
                      <a:pt x="566" y="591"/>
                      <a:pt x="561" y="591"/>
                    </a:cubicBezTo>
                    <a:cubicBezTo>
                      <a:pt x="559" y="591"/>
                      <a:pt x="557" y="592"/>
                      <a:pt x="555" y="593"/>
                    </a:cubicBezTo>
                    <a:cubicBezTo>
                      <a:pt x="470" y="621"/>
                      <a:pt x="380" y="640"/>
                      <a:pt x="291" y="648"/>
                    </a:cubicBezTo>
                    <a:cubicBezTo>
                      <a:pt x="263" y="650"/>
                      <a:pt x="236" y="651"/>
                      <a:pt x="208" y="651"/>
                    </a:cubicBezTo>
                    <a:cubicBezTo>
                      <a:pt x="191" y="651"/>
                      <a:pt x="174" y="650"/>
                      <a:pt x="157" y="649"/>
                    </a:cubicBezTo>
                    <a:cubicBezTo>
                      <a:pt x="125" y="648"/>
                      <a:pt x="61" y="651"/>
                      <a:pt x="58" y="608"/>
                    </a:cubicBezTo>
                    <a:cubicBezTo>
                      <a:pt x="58" y="600"/>
                      <a:pt x="53" y="593"/>
                      <a:pt x="45" y="593"/>
                    </a:cubicBezTo>
                    <a:cubicBezTo>
                      <a:pt x="44" y="593"/>
                      <a:pt x="42" y="594"/>
                      <a:pt x="40" y="594"/>
                    </a:cubicBezTo>
                    <a:cubicBezTo>
                      <a:pt x="51" y="561"/>
                      <a:pt x="57" y="527"/>
                      <a:pt x="64" y="496"/>
                    </a:cubicBezTo>
                    <a:cubicBezTo>
                      <a:pt x="75" y="455"/>
                      <a:pt x="84" y="417"/>
                      <a:pt x="93" y="376"/>
                    </a:cubicBezTo>
                    <a:cubicBezTo>
                      <a:pt x="112" y="299"/>
                      <a:pt x="130" y="221"/>
                      <a:pt x="148" y="142"/>
                    </a:cubicBezTo>
                    <a:cubicBezTo>
                      <a:pt x="160" y="99"/>
                      <a:pt x="169" y="54"/>
                      <a:pt x="175" y="10"/>
                    </a:cubicBezTo>
                    <a:cubicBezTo>
                      <a:pt x="175" y="3"/>
                      <a:pt x="170" y="0"/>
                      <a:pt x="166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1" name="Google Shape;1339;p38">
                <a:extLst>
                  <a:ext uri="{FF2B5EF4-FFF2-40B4-BE49-F238E27FC236}">
                    <a16:creationId xmlns:a16="http://schemas.microsoft.com/office/drawing/2014/main" id="{C3B08960-FDCD-BBCD-6492-5936B694F436}"/>
                  </a:ext>
                </a:extLst>
              </p:cNvPr>
              <p:cNvSpPr/>
              <p:nvPr/>
            </p:nvSpPr>
            <p:spPr>
              <a:xfrm>
                <a:off x="6306117" y="2349031"/>
                <a:ext cx="5526" cy="16814"/>
              </a:xfrm>
              <a:custGeom>
                <a:avLst/>
                <a:gdLst/>
                <a:ahLst/>
                <a:cxnLst/>
                <a:rect l="l" t="t" r="r" b="b"/>
                <a:pathLst>
                  <a:path w="47" h="143" extrusionOk="0">
                    <a:moveTo>
                      <a:pt x="37" y="0"/>
                    </a:moveTo>
                    <a:cubicBezTo>
                      <a:pt x="35" y="0"/>
                      <a:pt x="34" y="1"/>
                      <a:pt x="33" y="1"/>
                    </a:cubicBezTo>
                    <a:cubicBezTo>
                      <a:pt x="23" y="7"/>
                      <a:pt x="23" y="22"/>
                      <a:pt x="20" y="31"/>
                    </a:cubicBezTo>
                    <a:cubicBezTo>
                      <a:pt x="18" y="42"/>
                      <a:pt x="15" y="54"/>
                      <a:pt x="14" y="64"/>
                    </a:cubicBezTo>
                    <a:cubicBezTo>
                      <a:pt x="9" y="88"/>
                      <a:pt x="6" y="110"/>
                      <a:pt x="2" y="133"/>
                    </a:cubicBezTo>
                    <a:cubicBezTo>
                      <a:pt x="1" y="139"/>
                      <a:pt x="6" y="142"/>
                      <a:pt x="10" y="142"/>
                    </a:cubicBezTo>
                    <a:cubicBezTo>
                      <a:pt x="13" y="142"/>
                      <a:pt x="16" y="141"/>
                      <a:pt x="17" y="137"/>
                    </a:cubicBezTo>
                    <a:cubicBezTo>
                      <a:pt x="23" y="115"/>
                      <a:pt x="28" y="92"/>
                      <a:pt x="34" y="70"/>
                    </a:cubicBezTo>
                    <a:cubicBezTo>
                      <a:pt x="36" y="60"/>
                      <a:pt x="39" y="48"/>
                      <a:pt x="40" y="37"/>
                    </a:cubicBezTo>
                    <a:cubicBezTo>
                      <a:pt x="42" y="31"/>
                      <a:pt x="43" y="25"/>
                      <a:pt x="45" y="19"/>
                    </a:cubicBezTo>
                    <a:cubicBezTo>
                      <a:pt x="46" y="15"/>
                      <a:pt x="45" y="9"/>
                      <a:pt x="42" y="4"/>
                    </a:cubicBezTo>
                    <a:cubicBezTo>
                      <a:pt x="41" y="2"/>
                      <a:pt x="39" y="0"/>
                      <a:pt x="37" y="0"/>
                    </a:cubicBezTo>
                    <a:close/>
                  </a:path>
                </a:pathLst>
              </a:custGeom>
              <a:solidFill>
                <a:srgbClr val="382B2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3" name="Google Shape;1341;p38">
                <a:extLst>
                  <a:ext uri="{FF2B5EF4-FFF2-40B4-BE49-F238E27FC236}">
                    <a16:creationId xmlns:a16="http://schemas.microsoft.com/office/drawing/2014/main" id="{13277E9E-6479-B93D-8E23-3C501CDDD5BD}"/>
                  </a:ext>
                </a:extLst>
              </p:cNvPr>
              <p:cNvSpPr/>
              <p:nvPr/>
            </p:nvSpPr>
            <p:spPr>
              <a:xfrm>
                <a:off x="5993931" y="1006588"/>
                <a:ext cx="98532" cy="84421"/>
              </a:xfrm>
              <a:custGeom>
                <a:avLst/>
                <a:gdLst/>
                <a:ahLst/>
                <a:cxnLst/>
                <a:rect l="l" t="t" r="r" b="b"/>
                <a:pathLst>
                  <a:path w="838" h="718" extrusionOk="0">
                    <a:moveTo>
                      <a:pt x="506" y="1"/>
                    </a:moveTo>
                    <a:cubicBezTo>
                      <a:pt x="482" y="1"/>
                      <a:pt x="458" y="3"/>
                      <a:pt x="433" y="8"/>
                    </a:cubicBezTo>
                    <a:cubicBezTo>
                      <a:pt x="362" y="20"/>
                      <a:pt x="292" y="50"/>
                      <a:pt x="232" y="91"/>
                    </a:cubicBezTo>
                    <a:cubicBezTo>
                      <a:pt x="232" y="86"/>
                      <a:pt x="226" y="82"/>
                      <a:pt x="221" y="82"/>
                    </a:cubicBezTo>
                    <a:cubicBezTo>
                      <a:pt x="220" y="82"/>
                      <a:pt x="219" y="82"/>
                      <a:pt x="219" y="82"/>
                    </a:cubicBezTo>
                    <a:cubicBezTo>
                      <a:pt x="81" y="126"/>
                      <a:pt x="1" y="270"/>
                      <a:pt x="14" y="409"/>
                    </a:cubicBezTo>
                    <a:cubicBezTo>
                      <a:pt x="14" y="410"/>
                      <a:pt x="14" y="412"/>
                      <a:pt x="13" y="415"/>
                    </a:cubicBezTo>
                    <a:cubicBezTo>
                      <a:pt x="11" y="418"/>
                      <a:pt x="13" y="422"/>
                      <a:pt x="16" y="425"/>
                    </a:cubicBezTo>
                    <a:cubicBezTo>
                      <a:pt x="19" y="449"/>
                      <a:pt x="26" y="473"/>
                      <a:pt x="35" y="495"/>
                    </a:cubicBezTo>
                    <a:cubicBezTo>
                      <a:pt x="71" y="579"/>
                      <a:pt x="140" y="646"/>
                      <a:pt x="223" y="683"/>
                    </a:cubicBezTo>
                    <a:cubicBezTo>
                      <a:pt x="273" y="706"/>
                      <a:pt x="327" y="717"/>
                      <a:pt x="382" y="717"/>
                    </a:cubicBezTo>
                    <a:cubicBezTo>
                      <a:pt x="421" y="717"/>
                      <a:pt x="460" y="712"/>
                      <a:pt x="497" y="700"/>
                    </a:cubicBezTo>
                    <a:cubicBezTo>
                      <a:pt x="590" y="671"/>
                      <a:pt x="672" y="615"/>
                      <a:pt x="732" y="540"/>
                    </a:cubicBezTo>
                    <a:cubicBezTo>
                      <a:pt x="796" y="461"/>
                      <a:pt x="837" y="360"/>
                      <a:pt x="828" y="260"/>
                    </a:cubicBezTo>
                    <a:cubicBezTo>
                      <a:pt x="821" y="167"/>
                      <a:pt x="769" y="85"/>
                      <a:pt x="687" y="44"/>
                    </a:cubicBezTo>
                    <a:cubicBezTo>
                      <a:pt x="630" y="16"/>
                      <a:pt x="569" y="1"/>
                      <a:pt x="506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4" name="Google Shape;1342;p38">
                <a:extLst>
                  <a:ext uri="{FF2B5EF4-FFF2-40B4-BE49-F238E27FC236}">
                    <a16:creationId xmlns:a16="http://schemas.microsoft.com/office/drawing/2014/main" id="{9BCC11B2-E555-B154-3A67-541E0E9A2AB9}"/>
                  </a:ext>
                </a:extLst>
              </p:cNvPr>
              <p:cNvSpPr/>
              <p:nvPr/>
            </p:nvSpPr>
            <p:spPr>
              <a:xfrm>
                <a:off x="6117747" y="1083840"/>
                <a:ext cx="53734" cy="54556"/>
              </a:xfrm>
              <a:custGeom>
                <a:avLst/>
                <a:gdLst/>
                <a:ahLst/>
                <a:cxnLst/>
                <a:rect l="l" t="t" r="r" b="b"/>
                <a:pathLst>
                  <a:path w="457" h="464" extrusionOk="0">
                    <a:moveTo>
                      <a:pt x="213" y="0"/>
                    </a:moveTo>
                    <a:cubicBezTo>
                      <a:pt x="212" y="0"/>
                      <a:pt x="211" y="1"/>
                      <a:pt x="209" y="1"/>
                    </a:cubicBezTo>
                    <a:cubicBezTo>
                      <a:pt x="101" y="34"/>
                      <a:pt x="1" y="141"/>
                      <a:pt x="14" y="262"/>
                    </a:cubicBezTo>
                    <a:cubicBezTo>
                      <a:pt x="26" y="371"/>
                      <a:pt x="126" y="456"/>
                      <a:pt x="232" y="463"/>
                    </a:cubicBezTo>
                    <a:cubicBezTo>
                      <a:pt x="235" y="463"/>
                      <a:pt x="239" y="464"/>
                      <a:pt x="243" y="464"/>
                    </a:cubicBezTo>
                    <a:cubicBezTo>
                      <a:pt x="344" y="464"/>
                      <a:pt x="425" y="385"/>
                      <a:pt x="445" y="287"/>
                    </a:cubicBezTo>
                    <a:cubicBezTo>
                      <a:pt x="457" y="238"/>
                      <a:pt x="451" y="187"/>
                      <a:pt x="430" y="141"/>
                    </a:cubicBezTo>
                    <a:cubicBezTo>
                      <a:pt x="409" y="96"/>
                      <a:pt x="370" y="61"/>
                      <a:pt x="324" y="44"/>
                    </a:cubicBezTo>
                    <a:cubicBezTo>
                      <a:pt x="297" y="34"/>
                      <a:pt x="268" y="29"/>
                      <a:pt x="240" y="29"/>
                    </a:cubicBezTo>
                    <a:cubicBezTo>
                      <a:pt x="221" y="29"/>
                      <a:pt x="201" y="31"/>
                      <a:pt x="183" y="35"/>
                    </a:cubicBezTo>
                    <a:cubicBezTo>
                      <a:pt x="193" y="29"/>
                      <a:pt x="203" y="25"/>
                      <a:pt x="215" y="20"/>
                    </a:cubicBezTo>
                    <a:cubicBezTo>
                      <a:pt x="226" y="16"/>
                      <a:pt x="224" y="0"/>
                      <a:pt x="21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5" name="Google Shape;1343;p38">
                <a:extLst>
                  <a:ext uri="{FF2B5EF4-FFF2-40B4-BE49-F238E27FC236}">
                    <a16:creationId xmlns:a16="http://schemas.microsoft.com/office/drawing/2014/main" id="{D087887F-AEE0-F0FA-DD8F-BD98CADB548F}"/>
                  </a:ext>
                </a:extLst>
              </p:cNvPr>
              <p:cNvSpPr/>
              <p:nvPr/>
            </p:nvSpPr>
            <p:spPr>
              <a:xfrm>
                <a:off x="6175481" y="1148864"/>
                <a:ext cx="50912" cy="52910"/>
              </a:xfrm>
              <a:custGeom>
                <a:avLst/>
                <a:gdLst/>
                <a:ahLst/>
                <a:cxnLst/>
                <a:rect l="l" t="t" r="r" b="b"/>
                <a:pathLst>
                  <a:path w="433" h="450" extrusionOk="0">
                    <a:moveTo>
                      <a:pt x="229" y="0"/>
                    </a:moveTo>
                    <a:cubicBezTo>
                      <a:pt x="183" y="0"/>
                      <a:pt x="138" y="18"/>
                      <a:pt x="105" y="50"/>
                    </a:cubicBezTo>
                    <a:cubicBezTo>
                      <a:pt x="76" y="79"/>
                      <a:pt x="57" y="115"/>
                      <a:pt x="52" y="155"/>
                    </a:cubicBezTo>
                    <a:cubicBezTo>
                      <a:pt x="15" y="197"/>
                      <a:pt x="0" y="252"/>
                      <a:pt x="12" y="307"/>
                    </a:cubicBezTo>
                    <a:cubicBezTo>
                      <a:pt x="26" y="355"/>
                      <a:pt x="57" y="396"/>
                      <a:pt x="100" y="422"/>
                    </a:cubicBezTo>
                    <a:cubicBezTo>
                      <a:pt x="130" y="440"/>
                      <a:pt x="166" y="450"/>
                      <a:pt x="202" y="450"/>
                    </a:cubicBezTo>
                    <a:cubicBezTo>
                      <a:pt x="216" y="450"/>
                      <a:pt x="230" y="448"/>
                      <a:pt x="243" y="446"/>
                    </a:cubicBezTo>
                    <a:cubicBezTo>
                      <a:pt x="351" y="422"/>
                      <a:pt x="428" y="328"/>
                      <a:pt x="431" y="219"/>
                    </a:cubicBezTo>
                    <a:cubicBezTo>
                      <a:pt x="433" y="165"/>
                      <a:pt x="416" y="113"/>
                      <a:pt x="382" y="71"/>
                    </a:cubicBezTo>
                    <a:cubicBezTo>
                      <a:pt x="349" y="34"/>
                      <a:pt x="304" y="10"/>
                      <a:pt x="257" y="3"/>
                    </a:cubicBezTo>
                    <a:cubicBezTo>
                      <a:pt x="247" y="1"/>
                      <a:pt x="238" y="0"/>
                      <a:pt x="229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6" name="Google Shape;1344;p38">
                <a:extLst>
                  <a:ext uri="{FF2B5EF4-FFF2-40B4-BE49-F238E27FC236}">
                    <a16:creationId xmlns:a16="http://schemas.microsoft.com/office/drawing/2014/main" id="{EAD69945-BC51-1CE8-6DDA-AC5E2ED53DE7}"/>
                  </a:ext>
                </a:extLst>
              </p:cNvPr>
              <p:cNvSpPr/>
              <p:nvPr/>
            </p:nvSpPr>
            <p:spPr>
              <a:xfrm>
                <a:off x="7261725" y="2478020"/>
                <a:ext cx="878793" cy="97119"/>
              </a:xfrm>
              <a:custGeom>
                <a:avLst/>
                <a:gdLst/>
                <a:ahLst/>
                <a:cxnLst/>
                <a:rect l="l" t="t" r="r" b="b"/>
                <a:pathLst>
                  <a:path w="7474" h="826" extrusionOk="0">
                    <a:moveTo>
                      <a:pt x="0" y="0"/>
                    </a:moveTo>
                    <a:lnTo>
                      <a:pt x="0" y="825"/>
                    </a:lnTo>
                    <a:lnTo>
                      <a:pt x="7474" y="825"/>
                    </a:lnTo>
                    <a:lnTo>
                      <a:pt x="7474" y="0"/>
                    </a:lnTo>
                    <a:close/>
                  </a:path>
                </a:pathLst>
              </a:custGeom>
              <a:solidFill>
                <a:srgbClr val="A48EFD">
                  <a:alpha val="65359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7" name="Google Shape;1345;p38">
                <a:extLst>
                  <a:ext uri="{FF2B5EF4-FFF2-40B4-BE49-F238E27FC236}">
                    <a16:creationId xmlns:a16="http://schemas.microsoft.com/office/drawing/2014/main" id="{F40E8BF2-9986-D399-55FA-F74085D15C78}"/>
                  </a:ext>
                </a:extLst>
              </p:cNvPr>
              <p:cNvSpPr/>
              <p:nvPr/>
            </p:nvSpPr>
            <p:spPr>
              <a:xfrm>
                <a:off x="7261725" y="2575025"/>
                <a:ext cx="878793" cy="2024097"/>
              </a:xfrm>
              <a:custGeom>
                <a:avLst/>
                <a:gdLst/>
                <a:ahLst/>
                <a:cxnLst/>
                <a:rect l="l" t="t" r="r" b="b"/>
                <a:pathLst>
                  <a:path w="7474" h="17215" extrusionOk="0">
                    <a:moveTo>
                      <a:pt x="0" y="0"/>
                    </a:moveTo>
                    <a:lnTo>
                      <a:pt x="0" y="17214"/>
                    </a:lnTo>
                    <a:lnTo>
                      <a:pt x="7474" y="17214"/>
                    </a:lnTo>
                    <a:lnTo>
                      <a:pt x="7474" y="0"/>
                    </a:ln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8" name="Google Shape;1346;p38">
                <a:extLst>
                  <a:ext uri="{FF2B5EF4-FFF2-40B4-BE49-F238E27FC236}">
                    <a16:creationId xmlns:a16="http://schemas.microsoft.com/office/drawing/2014/main" id="{83E5ED0F-4881-1976-05CB-DC9617830749}"/>
                  </a:ext>
                </a:extLst>
              </p:cNvPr>
              <p:cNvSpPr/>
              <p:nvPr/>
            </p:nvSpPr>
            <p:spPr>
              <a:xfrm>
                <a:off x="7550982" y="2643459"/>
                <a:ext cx="69255" cy="279482"/>
              </a:xfrm>
              <a:custGeom>
                <a:avLst/>
                <a:gdLst/>
                <a:ahLst/>
                <a:cxnLst/>
                <a:rect l="l" t="t" r="r" b="b"/>
                <a:pathLst>
                  <a:path w="589" h="2377" extrusionOk="0">
                    <a:moveTo>
                      <a:pt x="383" y="0"/>
                    </a:moveTo>
                    <a:cubicBezTo>
                      <a:pt x="346" y="0"/>
                      <a:pt x="309" y="4"/>
                      <a:pt x="282" y="4"/>
                    </a:cubicBezTo>
                    <a:cubicBezTo>
                      <a:pt x="218" y="4"/>
                      <a:pt x="1" y="1963"/>
                      <a:pt x="1" y="1963"/>
                    </a:cubicBezTo>
                    <a:lnTo>
                      <a:pt x="370" y="2377"/>
                    </a:lnTo>
                    <a:cubicBezTo>
                      <a:pt x="588" y="1963"/>
                      <a:pt x="523" y="113"/>
                      <a:pt x="500" y="47"/>
                    </a:cubicBezTo>
                    <a:cubicBezTo>
                      <a:pt x="488" y="8"/>
                      <a:pt x="436" y="0"/>
                      <a:pt x="383" y="0"/>
                    </a:cubicBezTo>
                    <a:close/>
                  </a:path>
                </a:pathLst>
              </a:custGeom>
              <a:solidFill>
                <a:srgbClr val="84290A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99" name="Google Shape;1347;p38">
                <a:extLst>
                  <a:ext uri="{FF2B5EF4-FFF2-40B4-BE49-F238E27FC236}">
                    <a16:creationId xmlns:a16="http://schemas.microsoft.com/office/drawing/2014/main" id="{5FE804DC-B141-41BB-F9D9-84593AB38B83}"/>
                  </a:ext>
                </a:extLst>
              </p:cNvPr>
              <p:cNvSpPr/>
              <p:nvPr/>
            </p:nvSpPr>
            <p:spPr>
              <a:xfrm>
                <a:off x="7177181" y="2717418"/>
                <a:ext cx="168962" cy="241504"/>
              </a:xfrm>
              <a:custGeom>
                <a:avLst/>
                <a:gdLst/>
                <a:ahLst/>
                <a:cxnLst/>
                <a:rect l="l" t="t" r="r" b="b"/>
                <a:pathLst>
                  <a:path w="1437" h="2054" extrusionOk="0">
                    <a:moveTo>
                      <a:pt x="704" y="1"/>
                    </a:moveTo>
                    <a:cubicBezTo>
                      <a:pt x="662" y="1"/>
                      <a:pt x="530" y="43"/>
                      <a:pt x="457" y="115"/>
                    </a:cubicBezTo>
                    <a:cubicBezTo>
                      <a:pt x="370" y="203"/>
                      <a:pt x="610" y="420"/>
                      <a:pt x="610" y="441"/>
                    </a:cubicBezTo>
                    <a:cubicBezTo>
                      <a:pt x="610" y="464"/>
                      <a:pt x="0" y="1487"/>
                      <a:pt x="152" y="1682"/>
                    </a:cubicBezTo>
                    <a:cubicBezTo>
                      <a:pt x="305" y="1879"/>
                      <a:pt x="1393" y="2053"/>
                      <a:pt x="1393" y="2053"/>
                    </a:cubicBezTo>
                    <a:lnTo>
                      <a:pt x="1436" y="1487"/>
                    </a:lnTo>
                    <a:lnTo>
                      <a:pt x="849" y="1412"/>
                    </a:lnTo>
                    <a:lnTo>
                      <a:pt x="588" y="1378"/>
                    </a:lnTo>
                    <a:lnTo>
                      <a:pt x="703" y="853"/>
                    </a:lnTo>
                    <a:lnTo>
                      <a:pt x="783" y="484"/>
                    </a:lnTo>
                    <a:cubicBezTo>
                      <a:pt x="783" y="484"/>
                      <a:pt x="849" y="464"/>
                      <a:pt x="849" y="420"/>
                    </a:cubicBezTo>
                    <a:cubicBezTo>
                      <a:pt x="849" y="376"/>
                      <a:pt x="718" y="49"/>
                      <a:pt x="718" y="49"/>
                    </a:cubicBezTo>
                    <a:lnTo>
                      <a:pt x="718" y="6"/>
                    </a:lnTo>
                    <a:cubicBezTo>
                      <a:pt x="718" y="2"/>
                      <a:pt x="713" y="1"/>
                      <a:pt x="704" y="1"/>
                    </a:cubicBezTo>
                    <a:close/>
                  </a:path>
                </a:pathLst>
              </a:custGeom>
              <a:solidFill>
                <a:srgbClr val="84290A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0" name="Google Shape;1348;p38">
                <a:extLst>
                  <a:ext uri="{FF2B5EF4-FFF2-40B4-BE49-F238E27FC236}">
                    <a16:creationId xmlns:a16="http://schemas.microsoft.com/office/drawing/2014/main" id="{BF0539F7-F1C6-F12A-155D-A3A1CD261A8C}"/>
                  </a:ext>
                </a:extLst>
              </p:cNvPr>
              <p:cNvSpPr/>
              <p:nvPr/>
            </p:nvSpPr>
            <p:spPr>
              <a:xfrm>
                <a:off x="7604600" y="3471241"/>
                <a:ext cx="133806" cy="73839"/>
              </a:xfrm>
              <a:custGeom>
                <a:avLst/>
                <a:gdLst/>
                <a:ahLst/>
                <a:cxnLst/>
                <a:rect l="l" t="t" r="r" b="b"/>
                <a:pathLst>
                  <a:path w="1138" h="628" extrusionOk="0">
                    <a:moveTo>
                      <a:pt x="192" y="1"/>
                    </a:moveTo>
                    <a:cubicBezTo>
                      <a:pt x="198" y="22"/>
                      <a:pt x="1" y="150"/>
                      <a:pt x="89" y="254"/>
                    </a:cubicBezTo>
                    <a:cubicBezTo>
                      <a:pt x="175" y="359"/>
                      <a:pt x="632" y="410"/>
                      <a:pt x="654" y="436"/>
                    </a:cubicBezTo>
                    <a:cubicBezTo>
                      <a:pt x="672" y="457"/>
                      <a:pt x="983" y="628"/>
                      <a:pt x="1094" y="628"/>
                    </a:cubicBezTo>
                    <a:cubicBezTo>
                      <a:pt x="1122" y="628"/>
                      <a:pt x="1137" y="617"/>
                      <a:pt x="1133" y="591"/>
                    </a:cubicBezTo>
                    <a:cubicBezTo>
                      <a:pt x="1112" y="462"/>
                      <a:pt x="599" y="7"/>
                      <a:pt x="496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1" name="Google Shape;1349;p38">
                <a:extLst>
                  <a:ext uri="{FF2B5EF4-FFF2-40B4-BE49-F238E27FC236}">
                    <a16:creationId xmlns:a16="http://schemas.microsoft.com/office/drawing/2014/main" id="{65AE7462-5595-9081-8517-13BE5C828F35}"/>
                  </a:ext>
                </a:extLst>
              </p:cNvPr>
              <p:cNvSpPr/>
              <p:nvPr/>
            </p:nvSpPr>
            <p:spPr>
              <a:xfrm>
                <a:off x="7624825" y="3442316"/>
                <a:ext cx="47620" cy="42445"/>
              </a:xfrm>
              <a:custGeom>
                <a:avLst/>
                <a:gdLst/>
                <a:ahLst/>
                <a:cxnLst/>
                <a:rect l="l" t="t" r="r" b="b"/>
                <a:pathLst>
                  <a:path w="405" h="361" extrusionOk="0">
                    <a:moveTo>
                      <a:pt x="100" y="1"/>
                    </a:moveTo>
                    <a:cubicBezTo>
                      <a:pt x="75" y="19"/>
                      <a:pt x="0" y="293"/>
                      <a:pt x="41" y="323"/>
                    </a:cubicBezTo>
                    <a:cubicBezTo>
                      <a:pt x="64" y="340"/>
                      <a:pt x="143" y="360"/>
                      <a:pt x="210" y="360"/>
                    </a:cubicBezTo>
                    <a:cubicBezTo>
                      <a:pt x="254" y="360"/>
                      <a:pt x="292" y="352"/>
                      <a:pt x="305" y="327"/>
                    </a:cubicBezTo>
                    <a:cubicBezTo>
                      <a:pt x="339" y="268"/>
                      <a:pt x="404" y="37"/>
                      <a:pt x="404" y="37"/>
                    </a:cubicBezTo>
                    <a:lnTo>
                      <a:pt x="100" y="1"/>
                    </a:lnTo>
                    <a:close/>
                  </a:path>
                </a:pathLst>
              </a:custGeom>
              <a:solidFill>
                <a:srgbClr val="84290A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2" name="Google Shape;1350;p38">
                <a:extLst>
                  <a:ext uri="{FF2B5EF4-FFF2-40B4-BE49-F238E27FC236}">
                    <a16:creationId xmlns:a16="http://schemas.microsoft.com/office/drawing/2014/main" id="{EA732E32-52CD-472E-16C0-96D1C97953E3}"/>
                  </a:ext>
                </a:extLst>
              </p:cNvPr>
              <p:cNvSpPr/>
              <p:nvPr/>
            </p:nvSpPr>
            <p:spPr>
              <a:xfrm>
                <a:off x="7161778" y="3839981"/>
                <a:ext cx="140861" cy="90770"/>
              </a:xfrm>
              <a:custGeom>
                <a:avLst/>
                <a:gdLst/>
                <a:ahLst/>
                <a:cxnLst/>
                <a:rect l="l" t="t" r="r" b="b"/>
                <a:pathLst>
                  <a:path w="1198" h="772" extrusionOk="0">
                    <a:moveTo>
                      <a:pt x="1148" y="1"/>
                    </a:moveTo>
                    <a:lnTo>
                      <a:pt x="691" y="67"/>
                    </a:lnTo>
                    <a:cubicBezTo>
                      <a:pt x="691" y="66"/>
                      <a:pt x="691" y="66"/>
                      <a:pt x="691" y="66"/>
                    </a:cubicBezTo>
                    <a:lnTo>
                      <a:pt x="691" y="66"/>
                    </a:lnTo>
                    <a:cubicBezTo>
                      <a:pt x="690" y="66"/>
                      <a:pt x="1" y="671"/>
                      <a:pt x="152" y="757"/>
                    </a:cubicBezTo>
                    <a:cubicBezTo>
                      <a:pt x="169" y="767"/>
                      <a:pt x="192" y="771"/>
                      <a:pt x="219" y="771"/>
                    </a:cubicBezTo>
                    <a:cubicBezTo>
                      <a:pt x="435" y="771"/>
                      <a:pt x="917" y="496"/>
                      <a:pt x="937" y="496"/>
                    </a:cubicBezTo>
                    <a:cubicBezTo>
                      <a:pt x="959" y="496"/>
                      <a:pt x="1198" y="453"/>
                      <a:pt x="1198" y="301"/>
                    </a:cubicBezTo>
                    <a:cubicBezTo>
                      <a:pt x="1196" y="199"/>
                      <a:pt x="1180" y="98"/>
                      <a:pt x="1148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3" name="Google Shape;1351;p38">
                <a:extLst>
                  <a:ext uri="{FF2B5EF4-FFF2-40B4-BE49-F238E27FC236}">
                    <a16:creationId xmlns:a16="http://schemas.microsoft.com/office/drawing/2014/main" id="{4328C403-177C-A74F-E76B-D90C56B42FE3}"/>
                  </a:ext>
                </a:extLst>
              </p:cNvPr>
              <p:cNvSpPr/>
              <p:nvPr/>
            </p:nvSpPr>
            <p:spPr>
              <a:xfrm>
                <a:off x="7225744" y="3754851"/>
                <a:ext cx="94769" cy="120517"/>
              </a:xfrm>
              <a:custGeom>
                <a:avLst/>
                <a:gdLst/>
                <a:ahLst/>
                <a:cxnLst/>
                <a:rect l="l" t="t" r="r" b="b"/>
                <a:pathLst>
                  <a:path w="806" h="1025" extrusionOk="0">
                    <a:moveTo>
                      <a:pt x="806" y="0"/>
                    </a:moveTo>
                    <a:lnTo>
                      <a:pt x="306" y="240"/>
                    </a:lnTo>
                    <a:cubicBezTo>
                      <a:pt x="306" y="263"/>
                      <a:pt x="197" y="741"/>
                      <a:pt x="197" y="741"/>
                    </a:cubicBezTo>
                    <a:cubicBezTo>
                      <a:pt x="197" y="741"/>
                      <a:pt x="0" y="893"/>
                      <a:pt x="132" y="1002"/>
                    </a:cubicBezTo>
                    <a:cubicBezTo>
                      <a:pt x="150" y="1018"/>
                      <a:pt x="173" y="1024"/>
                      <a:pt x="198" y="1024"/>
                    </a:cubicBezTo>
                    <a:cubicBezTo>
                      <a:pt x="348" y="1024"/>
                      <a:pt x="588" y="785"/>
                      <a:pt x="588" y="785"/>
                    </a:cubicBezTo>
                    <a:lnTo>
                      <a:pt x="806" y="0"/>
                    </a:lnTo>
                    <a:close/>
                  </a:path>
                </a:pathLst>
              </a:custGeom>
              <a:solidFill>
                <a:srgbClr val="84290A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4" name="Google Shape;1352;p38">
                <a:extLst>
                  <a:ext uri="{FF2B5EF4-FFF2-40B4-BE49-F238E27FC236}">
                    <a16:creationId xmlns:a16="http://schemas.microsoft.com/office/drawing/2014/main" id="{EC87E4D6-B8ED-139B-BDE5-F54FC35C63A6}"/>
                  </a:ext>
                </a:extLst>
              </p:cNvPr>
              <p:cNvSpPr/>
              <p:nvPr/>
            </p:nvSpPr>
            <p:spPr>
              <a:xfrm>
                <a:off x="7248320" y="3154121"/>
                <a:ext cx="531462" cy="650321"/>
              </a:xfrm>
              <a:custGeom>
                <a:avLst/>
                <a:gdLst/>
                <a:ahLst/>
                <a:cxnLst/>
                <a:rect l="l" t="t" r="r" b="b"/>
                <a:pathLst>
                  <a:path w="4520" h="5531" extrusionOk="0">
                    <a:moveTo>
                      <a:pt x="3879" y="1"/>
                    </a:moveTo>
                    <a:cubicBezTo>
                      <a:pt x="3758" y="1"/>
                      <a:pt x="3606" y="19"/>
                      <a:pt x="3442" y="48"/>
                    </a:cubicBezTo>
                    <a:cubicBezTo>
                      <a:pt x="2924" y="141"/>
                      <a:pt x="2282" y="346"/>
                      <a:pt x="2117" y="428"/>
                    </a:cubicBezTo>
                    <a:cubicBezTo>
                      <a:pt x="2029" y="475"/>
                      <a:pt x="1947" y="533"/>
                      <a:pt x="1875" y="601"/>
                    </a:cubicBezTo>
                    <a:cubicBezTo>
                      <a:pt x="1854" y="519"/>
                      <a:pt x="1832" y="458"/>
                      <a:pt x="1811" y="428"/>
                    </a:cubicBezTo>
                    <a:lnTo>
                      <a:pt x="788" y="995"/>
                    </a:lnTo>
                    <a:lnTo>
                      <a:pt x="727" y="1329"/>
                    </a:lnTo>
                    <a:cubicBezTo>
                      <a:pt x="542" y="2353"/>
                      <a:pt x="1" y="5382"/>
                      <a:pt x="92" y="5437"/>
                    </a:cubicBezTo>
                    <a:cubicBezTo>
                      <a:pt x="157" y="5476"/>
                      <a:pt x="293" y="5530"/>
                      <a:pt x="405" y="5530"/>
                    </a:cubicBezTo>
                    <a:cubicBezTo>
                      <a:pt x="480" y="5530"/>
                      <a:pt x="544" y="5506"/>
                      <a:pt x="570" y="5437"/>
                    </a:cubicBezTo>
                    <a:cubicBezTo>
                      <a:pt x="630" y="5279"/>
                      <a:pt x="1798" y="2315"/>
                      <a:pt x="2017" y="1758"/>
                    </a:cubicBezTo>
                    <a:lnTo>
                      <a:pt x="2203" y="1691"/>
                    </a:lnTo>
                    <a:cubicBezTo>
                      <a:pt x="2203" y="1691"/>
                      <a:pt x="2734" y="1380"/>
                      <a:pt x="3243" y="1019"/>
                    </a:cubicBezTo>
                    <a:cubicBezTo>
                      <a:pt x="3298" y="980"/>
                      <a:pt x="3353" y="941"/>
                      <a:pt x="3407" y="901"/>
                    </a:cubicBezTo>
                    <a:lnTo>
                      <a:pt x="3407" y="901"/>
                    </a:lnTo>
                    <a:cubicBezTo>
                      <a:pt x="3366" y="1128"/>
                      <a:pt x="3322" y="1410"/>
                      <a:pt x="3287" y="1678"/>
                    </a:cubicBezTo>
                    <a:cubicBezTo>
                      <a:pt x="3224" y="2174"/>
                      <a:pt x="3192" y="2629"/>
                      <a:pt x="3283" y="2629"/>
                    </a:cubicBezTo>
                    <a:cubicBezTo>
                      <a:pt x="3286" y="2629"/>
                      <a:pt x="3289" y="2629"/>
                      <a:pt x="3292" y="2628"/>
                    </a:cubicBezTo>
                    <a:cubicBezTo>
                      <a:pt x="3510" y="2562"/>
                      <a:pt x="3532" y="2605"/>
                      <a:pt x="3575" y="2562"/>
                    </a:cubicBezTo>
                    <a:cubicBezTo>
                      <a:pt x="3618" y="2519"/>
                      <a:pt x="4519" y="141"/>
                      <a:pt x="4134" y="66"/>
                    </a:cubicBezTo>
                    <a:cubicBezTo>
                      <a:pt x="4095" y="20"/>
                      <a:pt x="4003" y="1"/>
                      <a:pt x="3879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5" name="Google Shape;1353;p38">
                <a:extLst>
                  <a:ext uri="{FF2B5EF4-FFF2-40B4-BE49-F238E27FC236}">
                    <a16:creationId xmlns:a16="http://schemas.microsoft.com/office/drawing/2014/main" id="{90E441DC-10DF-D36D-701C-CB24D4DEB0FB}"/>
                  </a:ext>
                </a:extLst>
              </p:cNvPr>
              <p:cNvSpPr/>
              <p:nvPr/>
            </p:nvSpPr>
            <p:spPr>
              <a:xfrm>
                <a:off x="7333921" y="3159765"/>
                <a:ext cx="319230" cy="150852"/>
              </a:xfrm>
              <a:custGeom>
                <a:avLst/>
                <a:gdLst/>
                <a:ahLst/>
                <a:cxnLst/>
                <a:rect l="l" t="t" r="r" b="b"/>
                <a:pathLst>
                  <a:path w="2715" h="1283" extrusionOk="0">
                    <a:moveTo>
                      <a:pt x="2714" y="0"/>
                    </a:moveTo>
                    <a:lnTo>
                      <a:pt x="2714" y="0"/>
                    </a:lnTo>
                    <a:cubicBezTo>
                      <a:pt x="2196" y="93"/>
                      <a:pt x="1554" y="298"/>
                      <a:pt x="1389" y="382"/>
                    </a:cubicBezTo>
                    <a:cubicBezTo>
                      <a:pt x="1301" y="428"/>
                      <a:pt x="1220" y="486"/>
                      <a:pt x="1147" y="553"/>
                    </a:cubicBezTo>
                    <a:cubicBezTo>
                      <a:pt x="1126" y="471"/>
                      <a:pt x="1105" y="410"/>
                      <a:pt x="1085" y="382"/>
                    </a:cubicBezTo>
                    <a:lnTo>
                      <a:pt x="62" y="947"/>
                    </a:lnTo>
                    <a:lnTo>
                      <a:pt x="1" y="1283"/>
                    </a:lnTo>
                    <a:cubicBezTo>
                      <a:pt x="108" y="1201"/>
                      <a:pt x="303" y="1081"/>
                      <a:pt x="627" y="969"/>
                    </a:cubicBezTo>
                    <a:cubicBezTo>
                      <a:pt x="1182" y="777"/>
                      <a:pt x="2655" y="188"/>
                      <a:pt x="2714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6" name="Google Shape;1354;p38">
                <a:extLst>
                  <a:ext uri="{FF2B5EF4-FFF2-40B4-BE49-F238E27FC236}">
                    <a16:creationId xmlns:a16="http://schemas.microsoft.com/office/drawing/2014/main" id="{F4ED7520-4827-548B-F953-F0412CD354D1}"/>
                  </a:ext>
                </a:extLst>
              </p:cNvPr>
              <p:cNvSpPr/>
              <p:nvPr/>
            </p:nvSpPr>
            <p:spPr>
              <a:xfrm>
                <a:off x="7330747" y="2862163"/>
                <a:ext cx="275255" cy="414108"/>
              </a:xfrm>
              <a:custGeom>
                <a:avLst/>
                <a:gdLst/>
                <a:ahLst/>
                <a:cxnLst/>
                <a:rect l="l" t="t" r="r" b="b"/>
                <a:pathLst>
                  <a:path w="2341" h="3522" extrusionOk="0">
                    <a:moveTo>
                      <a:pt x="2065" y="0"/>
                    </a:moveTo>
                    <a:cubicBezTo>
                      <a:pt x="2016" y="0"/>
                      <a:pt x="1960" y="18"/>
                      <a:pt x="1894" y="59"/>
                    </a:cubicBezTo>
                    <a:lnTo>
                      <a:pt x="1089" y="387"/>
                    </a:lnTo>
                    <a:cubicBezTo>
                      <a:pt x="1089" y="387"/>
                      <a:pt x="593" y="181"/>
                      <a:pt x="284" y="181"/>
                    </a:cubicBezTo>
                    <a:cubicBezTo>
                      <a:pt x="154" y="181"/>
                      <a:pt x="57" y="218"/>
                      <a:pt x="44" y="321"/>
                    </a:cubicBezTo>
                    <a:cubicBezTo>
                      <a:pt x="1" y="669"/>
                      <a:pt x="218" y="1584"/>
                      <a:pt x="218" y="1693"/>
                    </a:cubicBezTo>
                    <a:cubicBezTo>
                      <a:pt x="218" y="1802"/>
                      <a:pt x="44" y="3500"/>
                      <a:pt x="130" y="3521"/>
                    </a:cubicBezTo>
                    <a:cubicBezTo>
                      <a:pt x="132" y="3522"/>
                      <a:pt x="135" y="3522"/>
                      <a:pt x="138" y="3522"/>
                    </a:cubicBezTo>
                    <a:cubicBezTo>
                      <a:pt x="291" y="3522"/>
                      <a:pt x="1982" y="3016"/>
                      <a:pt x="1960" y="2825"/>
                    </a:cubicBezTo>
                    <a:cubicBezTo>
                      <a:pt x="1938" y="2628"/>
                      <a:pt x="2221" y="931"/>
                      <a:pt x="2287" y="604"/>
                    </a:cubicBezTo>
                    <a:cubicBezTo>
                      <a:pt x="2340" y="339"/>
                      <a:pt x="2278" y="0"/>
                      <a:pt x="2065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7" name="Google Shape;1355;p38">
                <a:extLst>
                  <a:ext uri="{FF2B5EF4-FFF2-40B4-BE49-F238E27FC236}">
                    <a16:creationId xmlns:a16="http://schemas.microsoft.com/office/drawing/2014/main" id="{8F0C0BAA-0489-9500-8FC6-195A7BC42C17}"/>
                  </a:ext>
                </a:extLst>
              </p:cNvPr>
              <p:cNvSpPr/>
              <p:nvPr/>
            </p:nvSpPr>
            <p:spPr>
              <a:xfrm>
                <a:off x="7405295" y="2729882"/>
                <a:ext cx="184365" cy="372721"/>
              </a:xfrm>
              <a:custGeom>
                <a:avLst/>
                <a:gdLst/>
                <a:ahLst/>
                <a:cxnLst/>
                <a:rect l="l" t="t" r="r" b="b"/>
                <a:pathLst>
                  <a:path w="1568" h="3170" extrusionOk="0">
                    <a:moveTo>
                      <a:pt x="1329" y="875"/>
                    </a:moveTo>
                    <a:cubicBezTo>
                      <a:pt x="1329" y="988"/>
                      <a:pt x="1323" y="1103"/>
                      <a:pt x="1308" y="1215"/>
                    </a:cubicBezTo>
                    <a:cubicBezTo>
                      <a:pt x="1290" y="1339"/>
                      <a:pt x="1265" y="1461"/>
                      <a:pt x="1229" y="1580"/>
                    </a:cubicBezTo>
                    <a:cubicBezTo>
                      <a:pt x="1199" y="1680"/>
                      <a:pt x="1164" y="1780"/>
                      <a:pt x="1143" y="1883"/>
                    </a:cubicBezTo>
                    <a:cubicBezTo>
                      <a:pt x="1137" y="1862"/>
                      <a:pt x="1132" y="1840"/>
                      <a:pt x="1131" y="1817"/>
                    </a:cubicBezTo>
                    <a:cubicBezTo>
                      <a:pt x="1152" y="1606"/>
                      <a:pt x="1208" y="1400"/>
                      <a:pt x="1260" y="1194"/>
                    </a:cubicBezTo>
                    <a:cubicBezTo>
                      <a:pt x="1287" y="1090"/>
                      <a:pt x="1311" y="982"/>
                      <a:pt x="1329" y="875"/>
                    </a:cubicBezTo>
                    <a:close/>
                    <a:moveTo>
                      <a:pt x="761" y="1"/>
                    </a:moveTo>
                    <a:cubicBezTo>
                      <a:pt x="668" y="1"/>
                      <a:pt x="576" y="15"/>
                      <a:pt x="487" y="44"/>
                    </a:cubicBezTo>
                    <a:cubicBezTo>
                      <a:pt x="379" y="76"/>
                      <a:pt x="281" y="131"/>
                      <a:pt x="197" y="206"/>
                    </a:cubicBezTo>
                    <a:cubicBezTo>
                      <a:pt x="115" y="279"/>
                      <a:pt x="56" y="374"/>
                      <a:pt x="29" y="480"/>
                    </a:cubicBezTo>
                    <a:cubicBezTo>
                      <a:pt x="0" y="584"/>
                      <a:pt x="8" y="696"/>
                      <a:pt x="51" y="796"/>
                    </a:cubicBezTo>
                    <a:cubicBezTo>
                      <a:pt x="62" y="818"/>
                      <a:pt x="75" y="841"/>
                      <a:pt x="90" y="862"/>
                    </a:cubicBezTo>
                    <a:cubicBezTo>
                      <a:pt x="91" y="863"/>
                      <a:pt x="93" y="865"/>
                      <a:pt x="94" y="866"/>
                    </a:cubicBezTo>
                    <a:cubicBezTo>
                      <a:pt x="84" y="950"/>
                      <a:pt x="82" y="1033"/>
                      <a:pt x="91" y="1118"/>
                    </a:cubicBezTo>
                    <a:cubicBezTo>
                      <a:pt x="96" y="1158"/>
                      <a:pt x="105" y="1199"/>
                      <a:pt x="120" y="1237"/>
                    </a:cubicBezTo>
                    <a:cubicBezTo>
                      <a:pt x="133" y="1275"/>
                      <a:pt x="151" y="1310"/>
                      <a:pt x="170" y="1346"/>
                    </a:cubicBezTo>
                    <a:cubicBezTo>
                      <a:pt x="190" y="1382"/>
                      <a:pt x="211" y="1418"/>
                      <a:pt x="227" y="1455"/>
                    </a:cubicBezTo>
                    <a:cubicBezTo>
                      <a:pt x="243" y="1491"/>
                      <a:pt x="257" y="1528"/>
                      <a:pt x="266" y="1567"/>
                    </a:cubicBezTo>
                    <a:cubicBezTo>
                      <a:pt x="284" y="1644"/>
                      <a:pt x="293" y="1725"/>
                      <a:pt x="290" y="1806"/>
                    </a:cubicBezTo>
                    <a:cubicBezTo>
                      <a:pt x="288" y="1967"/>
                      <a:pt x="258" y="2125"/>
                      <a:pt x="248" y="2284"/>
                    </a:cubicBezTo>
                    <a:cubicBezTo>
                      <a:pt x="236" y="2435"/>
                      <a:pt x="240" y="2591"/>
                      <a:pt x="297" y="2733"/>
                    </a:cubicBezTo>
                    <a:cubicBezTo>
                      <a:pt x="349" y="2864"/>
                      <a:pt x="446" y="2975"/>
                      <a:pt x="570" y="3045"/>
                    </a:cubicBezTo>
                    <a:cubicBezTo>
                      <a:pt x="695" y="3115"/>
                      <a:pt x="835" y="3158"/>
                      <a:pt x="980" y="3167"/>
                    </a:cubicBezTo>
                    <a:cubicBezTo>
                      <a:pt x="1002" y="3169"/>
                      <a:pt x="1025" y="3170"/>
                      <a:pt x="1047" y="3170"/>
                    </a:cubicBezTo>
                    <a:cubicBezTo>
                      <a:pt x="1182" y="3170"/>
                      <a:pt x="1317" y="3137"/>
                      <a:pt x="1422" y="3049"/>
                    </a:cubicBezTo>
                    <a:cubicBezTo>
                      <a:pt x="1477" y="3004"/>
                      <a:pt x="1517" y="2945"/>
                      <a:pt x="1541" y="2878"/>
                    </a:cubicBezTo>
                    <a:cubicBezTo>
                      <a:pt x="1563" y="2805"/>
                      <a:pt x="1568" y="2727"/>
                      <a:pt x="1551" y="2653"/>
                    </a:cubicBezTo>
                    <a:cubicBezTo>
                      <a:pt x="1520" y="2493"/>
                      <a:pt x="1423" y="2360"/>
                      <a:pt x="1331" y="2231"/>
                    </a:cubicBezTo>
                    <a:cubicBezTo>
                      <a:pt x="1268" y="2146"/>
                      <a:pt x="1205" y="2055"/>
                      <a:pt x="1167" y="1956"/>
                    </a:cubicBezTo>
                    <a:cubicBezTo>
                      <a:pt x="1183" y="1837"/>
                      <a:pt x="1225" y="1722"/>
                      <a:pt x="1259" y="1607"/>
                    </a:cubicBezTo>
                    <a:cubicBezTo>
                      <a:pt x="1331" y="1370"/>
                      <a:pt x="1363" y="1124"/>
                      <a:pt x="1360" y="877"/>
                    </a:cubicBezTo>
                    <a:cubicBezTo>
                      <a:pt x="1359" y="811"/>
                      <a:pt x="1354" y="745"/>
                      <a:pt x="1348" y="680"/>
                    </a:cubicBezTo>
                    <a:cubicBezTo>
                      <a:pt x="1351" y="602"/>
                      <a:pt x="1347" y="525"/>
                      <a:pt x="1335" y="449"/>
                    </a:cubicBezTo>
                    <a:cubicBezTo>
                      <a:pt x="1316" y="332"/>
                      <a:pt x="1266" y="220"/>
                      <a:pt x="1177" y="141"/>
                    </a:cubicBezTo>
                    <a:cubicBezTo>
                      <a:pt x="1086" y="64"/>
                      <a:pt x="974" y="16"/>
                      <a:pt x="855" y="6"/>
                    </a:cubicBezTo>
                    <a:cubicBezTo>
                      <a:pt x="824" y="2"/>
                      <a:pt x="792" y="1"/>
                      <a:pt x="761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8" name="Google Shape;1356;p38">
                <a:extLst>
                  <a:ext uri="{FF2B5EF4-FFF2-40B4-BE49-F238E27FC236}">
                    <a16:creationId xmlns:a16="http://schemas.microsoft.com/office/drawing/2014/main" id="{A984006B-6C46-8803-63CF-62EBA0E327AB}"/>
                  </a:ext>
                </a:extLst>
              </p:cNvPr>
              <p:cNvSpPr/>
              <p:nvPr/>
            </p:nvSpPr>
            <p:spPr>
              <a:xfrm>
                <a:off x="7340036" y="2975160"/>
                <a:ext cx="25985" cy="212227"/>
              </a:xfrm>
              <a:custGeom>
                <a:avLst/>
                <a:gdLst/>
                <a:ahLst/>
                <a:cxnLst/>
                <a:rect l="l" t="t" r="r" b="b"/>
                <a:pathLst>
                  <a:path w="221" h="1805" extrusionOk="0">
                    <a:moveTo>
                      <a:pt x="11" y="1"/>
                    </a:moveTo>
                    <a:cubicBezTo>
                      <a:pt x="6" y="1"/>
                      <a:pt x="1" y="5"/>
                      <a:pt x="1" y="12"/>
                    </a:cubicBezTo>
                    <a:cubicBezTo>
                      <a:pt x="2" y="37"/>
                      <a:pt x="7" y="63"/>
                      <a:pt x="14" y="88"/>
                    </a:cubicBezTo>
                    <a:cubicBezTo>
                      <a:pt x="20" y="113"/>
                      <a:pt x="26" y="140"/>
                      <a:pt x="32" y="167"/>
                    </a:cubicBezTo>
                    <a:cubicBezTo>
                      <a:pt x="44" y="219"/>
                      <a:pt x="54" y="273"/>
                      <a:pt x="65" y="325"/>
                    </a:cubicBezTo>
                    <a:cubicBezTo>
                      <a:pt x="83" y="431"/>
                      <a:pt x="99" y="535"/>
                      <a:pt x="114" y="641"/>
                    </a:cubicBezTo>
                    <a:cubicBezTo>
                      <a:pt x="118" y="672"/>
                      <a:pt x="123" y="702"/>
                      <a:pt x="126" y="732"/>
                    </a:cubicBezTo>
                    <a:cubicBezTo>
                      <a:pt x="129" y="754"/>
                      <a:pt x="132" y="775"/>
                      <a:pt x="136" y="798"/>
                    </a:cubicBezTo>
                    <a:cubicBezTo>
                      <a:pt x="127" y="825"/>
                      <a:pt x="123" y="853"/>
                      <a:pt x="121" y="881"/>
                    </a:cubicBezTo>
                    <a:cubicBezTo>
                      <a:pt x="116" y="956"/>
                      <a:pt x="110" y="1029"/>
                      <a:pt x="104" y="1103"/>
                    </a:cubicBezTo>
                    <a:cubicBezTo>
                      <a:pt x="92" y="1251"/>
                      <a:pt x="80" y="1399"/>
                      <a:pt x="69" y="1546"/>
                    </a:cubicBezTo>
                    <a:cubicBezTo>
                      <a:pt x="66" y="1588"/>
                      <a:pt x="63" y="1630"/>
                      <a:pt x="60" y="1672"/>
                    </a:cubicBezTo>
                    <a:cubicBezTo>
                      <a:pt x="59" y="1691"/>
                      <a:pt x="57" y="1712"/>
                      <a:pt x="56" y="1731"/>
                    </a:cubicBezTo>
                    <a:cubicBezTo>
                      <a:pt x="53" y="1752"/>
                      <a:pt x="53" y="1774"/>
                      <a:pt x="53" y="1795"/>
                    </a:cubicBezTo>
                    <a:cubicBezTo>
                      <a:pt x="54" y="1801"/>
                      <a:pt x="58" y="1804"/>
                      <a:pt x="62" y="1804"/>
                    </a:cubicBezTo>
                    <a:cubicBezTo>
                      <a:pt x="65" y="1804"/>
                      <a:pt x="69" y="1802"/>
                      <a:pt x="71" y="1798"/>
                    </a:cubicBezTo>
                    <a:cubicBezTo>
                      <a:pt x="77" y="1764"/>
                      <a:pt x="80" y="1728"/>
                      <a:pt x="81" y="1692"/>
                    </a:cubicBezTo>
                    <a:cubicBezTo>
                      <a:pt x="84" y="1658"/>
                      <a:pt x="87" y="1622"/>
                      <a:pt x="90" y="1588"/>
                    </a:cubicBezTo>
                    <a:cubicBezTo>
                      <a:pt x="98" y="1516"/>
                      <a:pt x="104" y="1445"/>
                      <a:pt x="110" y="1373"/>
                    </a:cubicBezTo>
                    <a:cubicBezTo>
                      <a:pt x="121" y="1232"/>
                      <a:pt x="133" y="1090"/>
                      <a:pt x="144" y="948"/>
                    </a:cubicBezTo>
                    <a:cubicBezTo>
                      <a:pt x="145" y="911"/>
                      <a:pt x="150" y="872"/>
                      <a:pt x="156" y="835"/>
                    </a:cubicBezTo>
                    <a:cubicBezTo>
                      <a:pt x="159" y="802"/>
                      <a:pt x="178" y="774"/>
                      <a:pt x="208" y="760"/>
                    </a:cubicBezTo>
                    <a:cubicBezTo>
                      <a:pt x="221" y="753"/>
                      <a:pt x="212" y="735"/>
                      <a:pt x="199" y="735"/>
                    </a:cubicBezTo>
                    <a:cubicBezTo>
                      <a:pt x="199" y="735"/>
                      <a:pt x="198" y="735"/>
                      <a:pt x="198" y="735"/>
                    </a:cubicBezTo>
                    <a:cubicBezTo>
                      <a:pt x="178" y="740"/>
                      <a:pt x="163" y="750"/>
                      <a:pt x="153" y="765"/>
                    </a:cubicBezTo>
                    <a:cubicBezTo>
                      <a:pt x="153" y="756"/>
                      <a:pt x="153" y="745"/>
                      <a:pt x="151" y="737"/>
                    </a:cubicBezTo>
                    <a:cubicBezTo>
                      <a:pt x="148" y="711"/>
                      <a:pt x="145" y="684"/>
                      <a:pt x="142" y="658"/>
                    </a:cubicBezTo>
                    <a:cubicBezTo>
                      <a:pt x="138" y="605"/>
                      <a:pt x="130" y="552"/>
                      <a:pt x="123" y="499"/>
                    </a:cubicBezTo>
                    <a:cubicBezTo>
                      <a:pt x="108" y="394"/>
                      <a:pt x="89" y="288"/>
                      <a:pt x="66" y="183"/>
                    </a:cubicBezTo>
                    <a:cubicBezTo>
                      <a:pt x="60" y="152"/>
                      <a:pt x="53" y="122"/>
                      <a:pt x="47" y="92"/>
                    </a:cubicBezTo>
                    <a:cubicBezTo>
                      <a:pt x="41" y="63"/>
                      <a:pt x="32" y="34"/>
                      <a:pt x="20" y="6"/>
                    </a:cubicBezTo>
                    <a:cubicBezTo>
                      <a:pt x="18" y="2"/>
                      <a:pt x="15" y="1"/>
                      <a:pt x="11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09" name="Google Shape;1357;p38">
                <a:extLst>
                  <a:ext uri="{FF2B5EF4-FFF2-40B4-BE49-F238E27FC236}">
                    <a16:creationId xmlns:a16="http://schemas.microsoft.com/office/drawing/2014/main" id="{16535B36-4BF4-9DB3-607A-CF8A13CDD655}"/>
                  </a:ext>
                </a:extLst>
              </p:cNvPr>
              <p:cNvSpPr/>
              <p:nvPr/>
            </p:nvSpPr>
            <p:spPr>
              <a:xfrm>
                <a:off x="7548042" y="2859223"/>
                <a:ext cx="36920" cy="14932"/>
              </a:xfrm>
              <a:custGeom>
                <a:avLst/>
                <a:gdLst/>
                <a:ahLst/>
                <a:cxnLst/>
                <a:rect l="l" t="t" r="r" b="b"/>
                <a:pathLst>
                  <a:path w="314" h="127" extrusionOk="0">
                    <a:moveTo>
                      <a:pt x="196" y="1"/>
                    </a:moveTo>
                    <a:cubicBezTo>
                      <a:pt x="187" y="1"/>
                      <a:pt x="178" y="1"/>
                      <a:pt x="169" y="3"/>
                    </a:cubicBezTo>
                    <a:cubicBezTo>
                      <a:pt x="102" y="15"/>
                      <a:pt x="52" y="61"/>
                      <a:pt x="8" y="111"/>
                    </a:cubicBezTo>
                    <a:cubicBezTo>
                      <a:pt x="1" y="117"/>
                      <a:pt x="7" y="127"/>
                      <a:pt x="14" y="127"/>
                    </a:cubicBezTo>
                    <a:cubicBezTo>
                      <a:pt x="17" y="127"/>
                      <a:pt x="19" y="126"/>
                      <a:pt x="21" y="124"/>
                    </a:cubicBezTo>
                    <a:cubicBezTo>
                      <a:pt x="63" y="88"/>
                      <a:pt x="109" y="49"/>
                      <a:pt x="164" y="37"/>
                    </a:cubicBezTo>
                    <a:cubicBezTo>
                      <a:pt x="174" y="35"/>
                      <a:pt x="184" y="34"/>
                      <a:pt x="194" y="34"/>
                    </a:cubicBezTo>
                    <a:cubicBezTo>
                      <a:pt x="209" y="34"/>
                      <a:pt x="225" y="37"/>
                      <a:pt x="239" y="42"/>
                    </a:cubicBezTo>
                    <a:cubicBezTo>
                      <a:pt x="249" y="46"/>
                      <a:pt x="260" y="52"/>
                      <a:pt x="267" y="60"/>
                    </a:cubicBezTo>
                    <a:cubicBezTo>
                      <a:pt x="276" y="69"/>
                      <a:pt x="282" y="79"/>
                      <a:pt x="294" y="84"/>
                    </a:cubicBezTo>
                    <a:cubicBezTo>
                      <a:pt x="295" y="84"/>
                      <a:pt x="296" y="84"/>
                      <a:pt x="296" y="84"/>
                    </a:cubicBezTo>
                    <a:cubicBezTo>
                      <a:pt x="302" y="84"/>
                      <a:pt x="308" y="80"/>
                      <a:pt x="310" y="75"/>
                    </a:cubicBezTo>
                    <a:cubicBezTo>
                      <a:pt x="313" y="46"/>
                      <a:pt x="279" y="24"/>
                      <a:pt x="257" y="14"/>
                    </a:cubicBezTo>
                    <a:cubicBezTo>
                      <a:pt x="238" y="5"/>
                      <a:pt x="217" y="1"/>
                      <a:pt x="196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0" name="Google Shape;1358;p38">
                <a:extLst>
                  <a:ext uri="{FF2B5EF4-FFF2-40B4-BE49-F238E27FC236}">
                    <a16:creationId xmlns:a16="http://schemas.microsoft.com/office/drawing/2014/main" id="{0BDE8089-BC16-EBD8-ABFD-0A1BF0F4A71C}"/>
                  </a:ext>
                </a:extLst>
              </p:cNvPr>
              <p:cNvSpPr/>
              <p:nvPr/>
            </p:nvSpPr>
            <p:spPr>
              <a:xfrm>
                <a:off x="7341329" y="2879918"/>
                <a:ext cx="90772" cy="17401"/>
              </a:xfrm>
              <a:custGeom>
                <a:avLst/>
                <a:gdLst/>
                <a:ahLst/>
                <a:cxnLst/>
                <a:rect l="l" t="t" r="r" b="b"/>
                <a:pathLst>
                  <a:path w="772" h="148" extrusionOk="0">
                    <a:moveTo>
                      <a:pt x="220" y="1"/>
                    </a:moveTo>
                    <a:cubicBezTo>
                      <a:pt x="198" y="1"/>
                      <a:pt x="177" y="2"/>
                      <a:pt x="155" y="5"/>
                    </a:cubicBezTo>
                    <a:cubicBezTo>
                      <a:pt x="103" y="12"/>
                      <a:pt x="45" y="24"/>
                      <a:pt x="6" y="60"/>
                    </a:cubicBezTo>
                    <a:cubicBezTo>
                      <a:pt x="1" y="65"/>
                      <a:pt x="5" y="75"/>
                      <a:pt x="13" y="75"/>
                    </a:cubicBezTo>
                    <a:cubicBezTo>
                      <a:pt x="14" y="75"/>
                      <a:pt x="14" y="75"/>
                      <a:pt x="15" y="75"/>
                    </a:cubicBezTo>
                    <a:cubicBezTo>
                      <a:pt x="58" y="60"/>
                      <a:pt x="103" y="46"/>
                      <a:pt x="148" y="37"/>
                    </a:cubicBezTo>
                    <a:cubicBezTo>
                      <a:pt x="172" y="34"/>
                      <a:pt x="197" y="33"/>
                      <a:pt x="221" y="33"/>
                    </a:cubicBezTo>
                    <a:cubicBezTo>
                      <a:pt x="245" y="33"/>
                      <a:pt x="269" y="34"/>
                      <a:pt x="292" y="37"/>
                    </a:cubicBezTo>
                    <a:cubicBezTo>
                      <a:pt x="395" y="48"/>
                      <a:pt x="492" y="82"/>
                      <a:pt x="589" y="112"/>
                    </a:cubicBezTo>
                    <a:cubicBezTo>
                      <a:pt x="644" y="128"/>
                      <a:pt x="700" y="148"/>
                      <a:pt x="758" y="148"/>
                    </a:cubicBezTo>
                    <a:cubicBezTo>
                      <a:pt x="760" y="148"/>
                      <a:pt x="762" y="148"/>
                      <a:pt x="764" y="148"/>
                    </a:cubicBezTo>
                    <a:cubicBezTo>
                      <a:pt x="768" y="146"/>
                      <a:pt x="771" y="140"/>
                      <a:pt x="767" y="137"/>
                    </a:cubicBezTo>
                    <a:cubicBezTo>
                      <a:pt x="716" y="118"/>
                      <a:pt x="664" y="102"/>
                      <a:pt x="612" y="88"/>
                    </a:cubicBezTo>
                    <a:cubicBezTo>
                      <a:pt x="559" y="72"/>
                      <a:pt x="507" y="54"/>
                      <a:pt x="453" y="39"/>
                    </a:cubicBezTo>
                    <a:cubicBezTo>
                      <a:pt x="377" y="17"/>
                      <a:pt x="299" y="1"/>
                      <a:pt x="220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1" name="Google Shape;1359;p38">
                <a:extLst>
                  <a:ext uri="{FF2B5EF4-FFF2-40B4-BE49-F238E27FC236}">
                    <a16:creationId xmlns:a16="http://schemas.microsoft.com/office/drawing/2014/main" id="{80F9A571-F89B-4823-70B8-2FE1C8794143}"/>
                  </a:ext>
                </a:extLst>
              </p:cNvPr>
              <p:cNvSpPr/>
              <p:nvPr/>
            </p:nvSpPr>
            <p:spPr>
              <a:xfrm>
                <a:off x="7340036" y="3167055"/>
                <a:ext cx="225401" cy="111934"/>
              </a:xfrm>
              <a:custGeom>
                <a:avLst/>
                <a:gdLst/>
                <a:ahLst/>
                <a:cxnLst/>
                <a:rect l="l" t="t" r="r" b="b"/>
                <a:pathLst>
                  <a:path w="1917" h="952" extrusionOk="0">
                    <a:moveTo>
                      <a:pt x="1900" y="1"/>
                    </a:moveTo>
                    <a:cubicBezTo>
                      <a:pt x="1885" y="1"/>
                      <a:pt x="1882" y="22"/>
                      <a:pt x="1880" y="32"/>
                    </a:cubicBezTo>
                    <a:cubicBezTo>
                      <a:pt x="1877" y="47"/>
                      <a:pt x="1874" y="62"/>
                      <a:pt x="1872" y="75"/>
                    </a:cubicBezTo>
                    <a:cubicBezTo>
                      <a:pt x="1868" y="102"/>
                      <a:pt x="1866" y="127"/>
                      <a:pt x="1868" y="154"/>
                    </a:cubicBezTo>
                    <a:cubicBezTo>
                      <a:pt x="1844" y="159"/>
                      <a:pt x="1820" y="163"/>
                      <a:pt x="1796" y="168"/>
                    </a:cubicBezTo>
                    <a:cubicBezTo>
                      <a:pt x="1780" y="172"/>
                      <a:pt x="1783" y="199"/>
                      <a:pt x="1799" y="199"/>
                    </a:cubicBezTo>
                    <a:cubicBezTo>
                      <a:pt x="1800" y="199"/>
                      <a:pt x="1800" y="199"/>
                      <a:pt x="1801" y="199"/>
                    </a:cubicBezTo>
                    <a:cubicBezTo>
                      <a:pt x="1823" y="196"/>
                      <a:pt x="1845" y="193"/>
                      <a:pt x="1868" y="190"/>
                    </a:cubicBezTo>
                    <a:lnTo>
                      <a:pt x="1868" y="190"/>
                    </a:lnTo>
                    <a:cubicBezTo>
                      <a:pt x="1865" y="244"/>
                      <a:pt x="1820" y="286"/>
                      <a:pt x="1777" y="312"/>
                    </a:cubicBezTo>
                    <a:cubicBezTo>
                      <a:pt x="1717" y="342"/>
                      <a:pt x="1657" y="371"/>
                      <a:pt x="1596" y="394"/>
                    </a:cubicBezTo>
                    <a:cubicBezTo>
                      <a:pt x="1470" y="448"/>
                      <a:pt x="1341" y="500"/>
                      <a:pt x="1213" y="549"/>
                    </a:cubicBezTo>
                    <a:cubicBezTo>
                      <a:pt x="955" y="649"/>
                      <a:pt x="693" y="740"/>
                      <a:pt x="429" y="824"/>
                    </a:cubicBezTo>
                    <a:cubicBezTo>
                      <a:pt x="354" y="846"/>
                      <a:pt x="281" y="870"/>
                      <a:pt x="206" y="891"/>
                    </a:cubicBezTo>
                    <a:cubicBezTo>
                      <a:pt x="172" y="901"/>
                      <a:pt x="133" y="918"/>
                      <a:pt x="98" y="918"/>
                    </a:cubicBezTo>
                    <a:cubicBezTo>
                      <a:pt x="68" y="918"/>
                      <a:pt x="31" y="897"/>
                      <a:pt x="38" y="863"/>
                    </a:cubicBezTo>
                    <a:lnTo>
                      <a:pt x="47" y="855"/>
                    </a:lnTo>
                    <a:cubicBezTo>
                      <a:pt x="53" y="851"/>
                      <a:pt x="60" y="846"/>
                      <a:pt x="66" y="843"/>
                    </a:cubicBezTo>
                    <a:cubicBezTo>
                      <a:pt x="69" y="842"/>
                      <a:pt x="74" y="840"/>
                      <a:pt x="77" y="839"/>
                    </a:cubicBezTo>
                    <a:lnTo>
                      <a:pt x="81" y="836"/>
                    </a:lnTo>
                    <a:lnTo>
                      <a:pt x="84" y="836"/>
                    </a:lnTo>
                    <a:cubicBezTo>
                      <a:pt x="89" y="834"/>
                      <a:pt x="93" y="834"/>
                      <a:pt x="96" y="833"/>
                    </a:cubicBezTo>
                    <a:cubicBezTo>
                      <a:pt x="101" y="830"/>
                      <a:pt x="105" y="827"/>
                      <a:pt x="108" y="824"/>
                    </a:cubicBezTo>
                    <a:cubicBezTo>
                      <a:pt x="113" y="819"/>
                      <a:pt x="111" y="810"/>
                      <a:pt x="104" y="809"/>
                    </a:cubicBezTo>
                    <a:cubicBezTo>
                      <a:pt x="100" y="808"/>
                      <a:pt x="97" y="807"/>
                      <a:pt x="94" y="807"/>
                    </a:cubicBezTo>
                    <a:cubicBezTo>
                      <a:pt x="93" y="807"/>
                      <a:pt x="91" y="807"/>
                      <a:pt x="90" y="807"/>
                    </a:cubicBezTo>
                    <a:cubicBezTo>
                      <a:pt x="86" y="807"/>
                      <a:pt x="81" y="809"/>
                      <a:pt x="77" y="810"/>
                    </a:cubicBezTo>
                    <a:cubicBezTo>
                      <a:pt x="60" y="815"/>
                      <a:pt x="45" y="824"/>
                      <a:pt x="33" y="834"/>
                    </a:cubicBezTo>
                    <a:lnTo>
                      <a:pt x="31" y="834"/>
                    </a:lnTo>
                    <a:cubicBezTo>
                      <a:pt x="31" y="782"/>
                      <a:pt x="29" y="728"/>
                      <a:pt x="29" y="676"/>
                    </a:cubicBezTo>
                    <a:cubicBezTo>
                      <a:pt x="29" y="645"/>
                      <a:pt x="31" y="615"/>
                      <a:pt x="32" y="584"/>
                    </a:cubicBezTo>
                    <a:cubicBezTo>
                      <a:pt x="32" y="569"/>
                      <a:pt x="33" y="554"/>
                      <a:pt x="33" y="538"/>
                    </a:cubicBezTo>
                    <a:cubicBezTo>
                      <a:pt x="36" y="523"/>
                      <a:pt x="35" y="508"/>
                      <a:pt x="32" y="493"/>
                    </a:cubicBezTo>
                    <a:cubicBezTo>
                      <a:pt x="30" y="489"/>
                      <a:pt x="27" y="488"/>
                      <a:pt x="23" y="488"/>
                    </a:cubicBezTo>
                    <a:cubicBezTo>
                      <a:pt x="21" y="488"/>
                      <a:pt x="18" y="489"/>
                      <a:pt x="17" y="491"/>
                    </a:cubicBezTo>
                    <a:cubicBezTo>
                      <a:pt x="11" y="503"/>
                      <a:pt x="8" y="517"/>
                      <a:pt x="8" y="530"/>
                    </a:cubicBezTo>
                    <a:cubicBezTo>
                      <a:pt x="5" y="547"/>
                      <a:pt x="5" y="563"/>
                      <a:pt x="4" y="579"/>
                    </a:cubicBezTo>
                    <a:cubicBezTo>
                      <a:pt x="2" y="611"/>
                      <a:pt x="2" y="642"/>
                      <a:pt x="2" y="673"/>
                    </a:cubicBezTo>
                    <a:cubicBezTo>
                      <a:pt x="1" y="736"/>
                      <a:pt x="4" y="799"/>
                      <a:pt x="11" y="863"/>
                    </a:cubicBezTo>
                    <a:cubicBezTo>
                      <a:pt x="11" y="864"/>
                      <a:pt x="11" y="866"/>
                      <a:pt x="14" y="869"/>
                    </a:cubicBezTo>
                    <a:cubicBezTo>
                      <a:pt x="10" y="889"/>
                      <a:pt x="19" y="912"/>
                      <a:pt x="35" y="927"/>
                    </a:cubicBezTo>
                    <a:cubicBezTo>
                      <a:pt x="54" y="943"/>
                      <a:pt x="77" y="951"/>
                      <a:pt x="101" y="951"/>
                    </a:cubicBezTo>
                    <a:cubicBezTo>
                      <a:pt x="108" y="951"/>
                      <a:pt x="115" y="950"/>
                      <a:pt x="121" y="949"/>
                    </a:cubicBezTo>
                    <a:cubicBezTo>
                      <a:pt x="156" y="943"/>
                      <a:pt x="192" y="934"/>
                      <a:pt x="224" y="924"/>
                    </a:cubicBezTo>
                    <a:lnTo>
                      <a:pt x="333" y="891"/>
                    </a:lnTo>
                    <a:cubicBezTo>
                      <a:pt x="475" y="849"/>
                      <a:pt x="617" y="804"/>
                      <a:pt x="757" y="757"/>
                    </a:cubicBezTo>
                    <a:cubicBezTo>
                      <a:pt x="1037" y="661"/>
                      <a:pt x="1313" y="555"/>
                      <a:pt x="1586" y="441"/>
                    </a:cubicBezTo>
                    <a:cubicBezTo>
                      <a:pt x="1623" y="424"/>
                      <a:pt x="1662" y="408"/>
                      <a:pt x="1701" y="391"/>
                    </a:cubicBezTo>
                    <a:cubicBezTo>
                      <a:pt x="1735" y="377"/>
                      <a:pt x="1769" y="360"/>
                      <a:pt x="1802" y="341"/>
                    </a:cubicBezTo>
                    <a:cubicBezTo>
                      <a:pt x="1863" y="303"/>
                      <a:pt x="1911" y="241"/>
                      <a:pt x="1900" y="166"/>
                    </a:cubicBezTo>
                    <a:cubicBezTo>
                      <a:pt x="1900" y="160"/>
                      <a:pt x="1896" y="156"/>
                      <a:pt x="1890" y="154"/>
                    </a:cubicBezTo>
                    <a:cubicBezTo>
                      <a:pt x="1893" y="130"/>
                      <a:pt x="1896" y="107"/>
                      <a:pt x="1899" y="83"/>
                    </a:cubicBezTo>
                    <a:cubicBezTo>
                      <a:pt x="1902" y="66"/>
                      <a:pt x="1905" y="51"/>
                      <a:pt x="1908" y="37"/>
                    </a:cubicBezTo>
                    <a:cubicBezTo>
                      <a:pt x="1911" y="28"/>
                      <a:pt x="1917" y="4"/>
                      <a:pt x="1902" y="1"/>
                    </a:cubicBezTo>
                    <a:cubicBezTo>
                      <a:pt x="1901" y="1"/>
                      <a:pt x="1901" y="1"/>
                      <a:pt x="1900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2" name="Google Shape;1360;p38">
                <a:extLst>
                  <a:ext uri="{FF2B5EF4-FFF2-40B4-BE49-F238E27FC236}">
                    <a16:creationId xmlns:a16="http://schemas.microsoft.com/office/drawing/2014/main" id="{A5D29991-6D20-A534-59ED-E18B12FCCA9F}"/>
                  </a:ext>
                </a:extLst>
              </p:cNvPr>
              <p:cNvSpPr/>
              <p:nvPr/>
            </p:nvSpPr>
            <p:spPr>
              <a:xfrm>
                <a:off x="7393537" y="3321559"/>
                <a:ext cx="162966" cy="264314"/>
              </a:xfrm>
              <a:custGeom>
                <a:avLst/>
                <a:gdLst/>
                <a:ahLst/>
                <a:cxnLst/>
                <a:rect l="l" t="t" r="r" b="b"/>
                <a:pathLst>
                  <a:path w="1386" h="2248" extrusionOk="0">
                    <a:moveTo>
                      <a:pt x="1364" y="0"/>
                    </a:moveTo>
                    <a:cubicBezTo>
                      <a:pt x="1363" y="0"/>
                      <a:pt x="1363" y="0"/>
                      <a:pt x="1362" y="0"/>
                    </a:cubicBezTo>
                    <a:cubicBezTo>
                      <a:pt x="1341" y="8"/>
                      <a:pt x="1320" y="18"/>
                      <a:pt x="1302" y="32"/>
                    </a:cubicBezTo>
                    <a:cubicBezTo>
                      <a:pt x="1283" y="44"/>
                      <a:pt x="1264" y="56"/>
                      <a:pt x="1243" y="66"/>
                    </a:cubicBezTo>
                    <a:cubicBezTo>
                      <a:pt x="1204" y="90"/>
                      <a:pt x="1164" y="112"/>
                      <a:pt x="1123" y="133"/>
                    </a:cubicBezTo>
                    <a:cubicBezTo>
                      <a:pt x="1043" y="176"/>
                      <a:pt x="961" y="217"/>
                      <a:pt x="879" y="255"/>
                    </a:cubicBezTo>
                    <a:lnTo>
                      <a:pt x="809" y="288"/>
                    </a:lnTo>
                    <a:cubicBezTo>
                      <a:pt x="795" y="294"/>
                      <a:pt x="782" y="300"/>
                      <a:pt x="768" y="306"/>
                    </a:cubicBezTo>
                    <a:cubicBezTo>
                      <a:pt x="764" y="301"/>
                      <a:pt x="759" y="299"/>
                      <a:pt x="754" y="299"/>
                    </a:cubicBezTo>
                    <a:cubicBezTo>
                      <a:pt x="746" y="299"/>
                      <a:pt x="738" y="304"/>
                      <a:pt x="736" y="312"/>
                    </a:cubicBezTo>
                    <a:cubicBezTo>
                      <a:pt x="660" y="569"/>
                      <a:pt x="576" y="822"/>
                      <a:pt x="485" y="1074"/>
                    </a:cubicBezTo>
                    <a:cubicBezTo>
                      <a:pt x="393" y="1325"/>
                      <a:pt x="294" y="1572"/>
                      <a:pt x="187" y="1818"/>
                    </a:cubicBezTo>
                    <a:cubicBezTo>
                      <a:pt x="157" y="1885"/>
                      <a:pt x="127" y="1954"/>
                      <a:pt x="97" y="2021"/>
                    </a:cubicBezTo>
                    <a:cubicBezTo>
                      <a:pt x="66" y="2090"/>
                      <a:pt x="36" y="2161"/>
                      <a:pt x="5" y="2230"/>
                    </a:cubicBezTo>
                    <a:cubicBezTo>
                      <a:pt x="1" y="2239"/>
                      <a:pt x="9" y="2248"/>
                      <a:pt x="16" y="2248"/>
                    </a:cubicBezTo>
                    <a:cubicBezTo>
                      <a:pt x="19" y="2248"/>
                      <a:pt x="23" y="2246"/>
                      <a:pt x="24" y="2242"/>
                    </a:cubicBezTo>
                    <a:cubicBezTo>
                      <a:pt x="54" y="2182"/>
                      <a:pt x="86" y="2122"/>
                      <a:pt x="114" y="2061"/>
                    </a:cubicBezTo>
                    <a:cubicBezTo>
                      <a:pt x="142" y="2000"/>
                      <a:pt x="170" y="1939"/>
                      <a:pt x="197" y="1878"/>
                    </a:cubicBezTo>
                    <a:cubicBezTo>
                      <a:pt x="253" y="1756"/>
                      <a:pt x="305" y="1632"/>
                      <a:pt x="355" y="1508"/>
                    </a:cubicBezTo>
                    <a:cubicBezTo>
                      <a:pt x="455" y="1259"/>
                      <a:pt x="549" y="1007"/>
                      <a:pt x="634" y="754"/>
                    </a:cubicBezTo>
                    <a:cubicBezTo>
                      <a:pt x="680" y="616"/>
                      <a:pt x="724" y="479"/>
                      <a:pt x="765" y="342"/>
                    </a:cubicBezTo>
                    <a:cubicBezTo>
                      <a:pt x="780" y="336"/>
                      <a:pt x="797" y="330"/>
                      <a:pt x="812" y="323"/>
                    </a:cubicBezTo>
                    <a:cubicBezTo>
                      <a:pt x="834" y="314"/>
                      <a:pt x="856" y="305"/>
                      <a:pt x="877" y="294"/>
                    </a:cubicBezTo>
                    <a:cubicBezTo>
                      <a:pt x="919" y="276"/>
                      <a:pt x="961" y="255"/>
                      <a:pt x="1001" y="236"/>
                    </a:cubicBezTo>
                    <a:cubicBezTo>
                      <a:pt x="1085" y="194"/>
                      <a:pt x="1167" y="151"/>
                      <a:pt x="1247" y="105"/>
                    </a:cubicBezTo>
                    <a:lnTo>
                      <a:pt x="1313" y="66"/>
                    </a:lnTo>
                    <a:cubicBezTo>
                      <a:pt x="1337" y="56"/>
                      <a:pt x="1359" y="39"/>
                      <a:pt x="1377" y="20"/>
                    </a:cubicBezTo>
                    <a:cubicBezTo>
                      <a:pt x="1385" y="11"/>
                      <a:pt x="1374" y="0"/>
                      <a:pt x="1364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3" name="Google Shape;1361;p38">
                <a:extLst>
                  <a:ext uri="{FF2B5EF4-FFF2-40B4-BE49-F238E27FC236}">
                    <a16:creationId xmlns:a16="http://schemas.microsoft.com/office/drawing/2014/main" id="{4CB7D5B0-708A-FF1A-B3FA-AC69C01EB765}"/>
                  </a:ext>
                </a:extLst>
              </p:cNvPr>
              <p:cNvSpPr/>
              <p:nvPr/>
            </p:nvSpPr>
            <p:spPr>
              <a:xfrm>
                <a:off x="7484899" y="3228080"/>
                <a:ext cx="66198" cy="49618"/>
              </a:xfrm>
              <a:custGeom>
                <a:avLst/>
                <a:gdLst/>
                <a:ahLst/>
                <a:cxnLst/>
                <a:rect l="l" t="t" r="r" b="b"/>
                <a:pathLst>
                  <a:path w="563" h="422" extrusionOk="0">
                    <a:moveTo>
                      <a:pt x="516" y="0"/>
                    </a:moveTo>
                    <a:cubicBezTo>
                      <a:pt x="509" y="0"/>
                      <a:pt x="502" y="5"/>
                      <a:pt x="503" y="14"/>
                    </a:cubicBezTo>
                    <a:cubicBezTo>
                      <a:pt x="506" y="39"/>
                      <a:pt x="512" y="65"/>
                      <a:pt x="519" y="90"/>
                    </a:cubicBezTo>
                    <a:cubicBezTo>
                      <a:pt x="525" y="114"/>
                      <a:pt x="527" y="139"/>
                      <a:pt x="524" y="163"/>
                    </a:cubicBezTo>
                    <a:cubicBezTo>
                      <a:pt x="516" y="217"/>
                      <a:pt x="476" y="245"/>
                      <a:pt x="430" y="268"/>
                    </a:cubicBezTo>
                    <a:cubicBezTo>
                      <a:pt x="375" y="293"/>
                      <a:pt x="318" y="318"/>
                      <a:pt x="261" y="344"/>
                    </a:cubicBezTo>
                    <a:cubicBezTo>
                      <a:pt x="233" y="356"/>
                      <a:pt x="206" y="369"/>
                      <a:pt x="178" y="379"/>
                    </a:cubicBezTo>
                    <a:cubicBezTo>
                      <a:pt x="162" y="387"/>
                      <a:pt x="145" y="390"/>
                      <a:pt x="128" y="390"/>
                    </a:cubicBezTo>
                    <a:cubicBezTo>
                      <a:pt x="116" y="390"/>
                      <a:pt x="105" y="388"/>
                      <a:pt x="94" y="385"/>
                    </a:cubicBezTo>
                    <a:cubicBezTo>
                      <a:pt x="33" y="363"/>
                      <a:pt x="27" y="282"/>
                      <a:pt x="23" y="229"/>
                    </a:cubicBezTo>
                    <a:cubicBezTo>
                      <a:pt x="22" y="221"/>
                      <a:pt x="17" y="218"/>
                      <a:pt x="12" y="218"/>
                    </a:cubicBezTo>
                    <a:cubicBezTo>
                      <a:pt x="6" y="218"/>
                      <a:pt x="1" y="221"/>
                      <a:pt x="0" y="229"/>
                    </a:cubicBezTo>
                    <a:cubicBezTo>
                      <a:pt x="0" y="288"/>
                      <a:pt x="3" y="356"/>
                      <a:pt x="53" y="397"/>
                    </a:cubicBezTo>
                    <a:cubicBezTo>
                      <a:pt x="74" y="415"/>
                      <a:pt x="99" y="422"/>
                      <a:pt x="125" y="422"/>
                    </a:cubicBezTo>
                    <a:cubicBezTo>
                      <a:pt x="159" y="422"/>
                      <a:pt x="195" y="410"/>
                      <a:pt x="227" y="396"/>
                    </a:cubicBezTo>
                    <a:cubicBezTo>
                      <a:pt x="294" y="366"/>
                      <a:pt x="361" y="335"/>
                      <a:pt x="428" y="305"/>
                    </a:cubicBezTo>
                    <a:cubicBezTo>
                      <a:pt x="481" y="282"/>
                      <a:pt x="530" y="254"/>
                      <a:pt x="551" y="198"/>
                    </a:cubicBezTo>
                    <a:cubicBezTo>
                      <a:pt x="560" y="166"/>
                      <a:pt x="563" y="133"/>
                      <a:pt x="557" y="102"/>
                    </a:cubicBezTo>
                    <a:cubicBezTo>
                      <a:pt x="554" y="69"/>
                      <a:pt x="545" y="36"/>
                      <a:pt x="528" y="7"/>
                    </a:cubicBezTo>
                    <a:cubicBezTo>
                      <a:pt x="526" y="2"/>
                      <a:pt x="521" y="0"/>
                      <a:pt x="516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4" name="Google Shape;1362;p38">
                <a:extLst>
                  <a:ext uri="{FF2B5EF4-FFF2-40B4-BE49-F238E27FC236}">
                    <a16:creationId xmlns:a16="http://schemas.microsoft.com/office/drawing/2014/main" id="{2D712A42-AEE2-5D8F-844F-518ED7C186A8}"/>
                  </a:ext>
                </a:extLst>
              </p:cNvPr>
              <p:cNvSpPr/>
              <p:nvPr/>
            </p:nvSpPr>
            <p:spPr>
              <a:xfrm>
                <a:off x="7360143" y="3273702"/>
                <a:ext cx="74311" cy="59141"/>
              </a:xfrm>
              <a:custGeom>
                <a:avLst/>
                <a:gdLst/>
                <a:ahLst/>
                <a:cxnLst/>
                <a:rect l="l" t="t" r="r" b="b"/>
                <a:pathLst>
                  <a:path w="632" h="503" extrusionOk="0">
                    <a:moveTo>
                      <a:pt x="581" y="0"/>
                    </a:moveTo>
                    <a:cubicBezTo>
                      <a:pt x="576" y="0"/>
                      <a:pt x="571" y="4"/>
                      <a:pt x="569" y="9"/>
                    </a:cubicBezTo>
                    <a:cubicBezTo>
                      <a:pt x="566" y="27"/>
                      <a:pt x="568" y="47"/>
                      <a:pt x="571" y="66"/>
                    </a:cubicBezTo>
                    <a:cubicBezTo>
                      <a:pt x="572" y="87"/>
                      <a:pt x="575" y="108"/>
                      <a:pt x="578" y="130"/>
                    </a:cubicBezTo>
                    <a:cubicBezTo>
                      <a:pt x="583" y="169"/>
                      <a:pt x="587" y="208"/>
                      <a:pt x="592" y="248"/>
                    </a:cubicBezTo>
                    <a:cubicBezTo>
                      <a:pt x="596" y="279"/>
                      <a:pt x="601" y="318"/>
                      <a:pt x="580" y="345"/>
                    </a:cubicBezTo>
                    <a:cubicBezTo>
                      <a:pt x="557" y="366"/>
                      <a:pt x="531" y="381"/>
                      <a:pt x="501" y="388"/>
                    </a:cubicBezTo>
                    <a:cubicBezTo>
                      <a:pt x="428" y="413"/>
                      <a:pt x="353" y="434"/>
                      <a:pt x="277" y="452"/>
                    </a:cubicBezTo>
                    <a:cubicBezTo>
                      <a:pt x="247" y="459"/>
                      <a:pt x="210" y="470"/>
                      <a:pt x="176" y="470"/>
                    </a:cubicBezTo>
                    <a:cubicBezTo>
                      <a:pt x="145" y="470"/>
                      <a:pt x="116" y="461"/>
                      <a:pt x="97" y="431"/>
                    </a:cubicBezTo>
                    <a:cubicBezTo>
                      <a:pt x="55" y="372"/>
                      <a:pt x="68" y="290"/>
                      <a:pt x="28" y="229"/>
                    </a:cubicBezTo>
                    <a:cubicBezTo>
                      <a:pt x="25" y="224"/>
                      <a:pt x="21" y="223"/>
                      <a:pt x="18" y="223"/>
                    </a:cubicBezTo>
                    <a:cubicBezTo>
                      <a:pt x="9" y="223"/>
                      <a:pt x="0" y="232"/>
                      <a:pt x="6" y="242"/>
                    </a:cubicBezTo>
                    <a:cubicBezTo>
                      <a:pt x="43" y="303"/>
                      <a:pt x="28" y="379"/>
                      <a:pt x="64" y="442"/>
                    </a:cubicBezTo>
                    <a:cubicBezTo>
                      <a:pt x="80" y="472"/>
                      <a:pt x="109" y="492"/>
                      <a:pt x="141" y="500"/>
                    </a:cubicBezTo>
                    <a:cubicBezTo>
                      <a:pt x="154" y="502"/>
                      <a:pt x="167" y="503"/>
                      <a:pt x="180" y="503"/>
                    </a:cubicBezTo>
                    <a:cubicBezTo>
                      <a:pt x="204" y="503"/>
                      <a:pt x="228" y="499"/>
                      <a:pt x="252" y="492"/>
                    </a:cubicBezTo>
                    <a:cubicBezTo>
                      <a:pt x="334" y="476"/>
                      <a:pt x="416" y="454"/>
                      <a:pt x="496" y="427"/>
                    </a:cubicBezTo>
                    <a:cubicBezTo>
                      <a:pt x="529" y="418"/>
                      <a:pt x="560" y="403"/>
                      <a:pt x="589" y="384"/>
                    </a:cubicBezTo>
                    <a:cubicBezTo>
                      <a:pt x="617" y="361"/>
                      <a:pt x="632" y="325"/>
                      <a:pt x="630" y="290"/>
                    </a:cubicBezTo>
                    <a:cubicBezTo>
                      <a:pt x="627" y="243"/>
                      <a:pt x="623" y="197"/>
                      <a:pt x="616" y="151"/>
                    </a:cubicBezTo>
                    <a:cubicBezTo>
                      <a:pt x="613" y="126"/>
                      <a:pt x="610" y="100"/>
                      <a:pt x="605" y="76"/>
                    </a:cubicBezTo>
                    <a:cubicBezTo>
                      <a:pt x="604" y="53"/>
                      <a:pt x="599" y="29"/>
                      <a:pt x="592" y="6"/>
                    </a:cubicBezTo>
                    <a:cubicBezTo>
                      <a:pt x="589" y="2"/>
                      <a:pt x="585" y="0"/>
                      <a:pt x="581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5" name="Google Shape;1363;p38">
                <a:extLst>
                  <a:ext uri="{FF2B5EF4-FFF2-40B4-BE49-F238E27FC236}">
                    <a16:creationId xmlns:a16="http://schemas.microsoft.com/office/drawing/2014/main" id="{03888F65-8DCF-BF90-9386-6BADBD3CB603}"/>
                  </a:ext>
                </a:extLst>
              </p:cNvPr>
              <p:cNvSpPr/>
              <p:nvPr/>
            </p:nvSpPr>
            <p:spPr>
              <a:xfrm>
                <a:off x="7568855" y="2568323"/>
                <a:ext cx="66785" cy="84773"/>
              </a:xfrm>
              <a:custGeom>
                <a:avLst/>
                <a:gdLst/>
                <a:ahLst/>
                <a:cxnLst/>
                <a:rect l="l" t="t" r="r" b="b"/>
                <a:pathLst>
                  <a:path w="568" h="721" extrusionOk="0">
                    <a:moveTo>
                      <a:pt x="309" y="1"/>
                    </a:moveTo>
                    <a:cubicBezTo>
                      <a:pt x="269" y="1"/>
                      <a:pt x="239" y="10"/>
                      <a:pt x="239" y="33"/>
                    </a:cubicBezTo>
                    <a:cubicBezTo>
                      <a:pt x="239" y="99"/>
                      <a:pt x="87" y="251"/>
                      <a:pt x="87" y="273"/>
                    </a:cubicBezTo>
                    <a:cubicBezTo>
                      <a:pt x="87" y="275"/>
                      <a:pt x="87" y="276"/>
                      <a:pt x="86" y="276"/>
                    </a:cubicBezTo>
                    <a:cubicBezTo>
                      <a:pt x="80" y="276"/>
                      <a:pt x="44" y="185"/>
                      <a:pt x="44" y="185"/>
                    </a:cubicBezTo>
                    <a:cubicBezTo>
                      <a:pt x="19" y="224"/>
                      <a:pt x="4" y="269"/>
                      <a:pt x="1" y="316"/>
                    </a:cubicBezTo>
                    <a:cubicBezTo>
                      <a:pt x="1" y="381"/>
                      <a:pt x="130" y="686"/>
                      <a:pt x="130" y="686"/>
                    </a:cubicBezTo>
                    <a:lnTo>
                      <a:pt x="354" y="721"/>
                    </a:lnTo>
                    <a:cubicBezTo>
                      <a:pt x="354" y="721"/>
                      <a:pt x="567" y="142"/>
                      <a:pt x="523" y="76"/>
                    </a:cubicBezTo>
                    <a:cubicBezTo>
                      <a:pt x="494" y="34"/>
                      <a:pt x="383" y="1"/>
                      <a:pt x="309" y="1"/>
                    </a:cubicBezTo>
                    <a:close/>
                  </a:path>
                </a:pathLst>
              </a:custGeom>
              <a:solidFill>
                <a:srgbClr val="84290A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6" name="Google Shape;1364;p38">
                <a:extLst>
                  <a:ext uri="{FF2B5EF4-FFF2-40B4-BE49-F238E27FC236}">
                    <a16:creationId xmlns:a16="http://schemas.microsoft.com/office/drawing/2014/main" id="{F2F93EDF-F0AB-1B12-9AD5-BE0866EC4ED7}"/>
                  </a:ext>
                </a:extLst>
              </p:cNvPr>
              <p:cNvSpPr/>
              <p:nvPr/>
            </p:nvSpPr>
            <p:spPr>
              <a:xfrm>
                <a:off x="7259961" y="3768726"/>
                <a:ext cx="44445" cy="11405"/>
              </a:xfrm>
              <a:custGeom>
                <a:avLst/>
                <a:gdLst/>
                <a:ahLst/>
                <a:cxnLst/>
                <a:rect l="l" t="t" r="r" b="b"/>
                <a:pathLst>
                  <a:path w="378" h="97" extrusionOk="0">
                    <a:moveTo>
                      <a:pt x="9" y="1"/>
                    </a:moveTo>
                    <a:cubicBezTo>
                      <a:pt x="7" y="1"/>
                      <a:pt x="4" y="2"/>
                      <a:pt x="2" y="4"/>
                    </a:cubicBezTo>
                    <a:cubicBezTo>
                      <a:pt x="0" y="9"/>
                      <a:pt x="0" y="13"/>
                      <a:pt x="5" y="16"/>
                    </a:cubicBezTo>
                    <a:cubicBezTo>
                      <a:pt x="94" y="55"/>
                      <a:pt x="188" y="81"/>
                      <a:pt x="285" y="92"/>
                    </a:cubicBezTo>
                    <a:cubicBezTo>
                      <a:pt x="313" y="95"/>
                      <a:pt x="340" y="97"/>
                      <a:pt x="367" y="97"/>
                    </a:cubicBezTo>
                    <a:cubicBezTo>
                      <a:pt x="377" y="97"/>
                      <a:pt x="377" y="82"/>
                      <a:pt x="367" y="82"/>
                    </a:cubicBezTo>
                    <a:cubicBezTo>
                      <a:pt x="319" y="81"/>
                      <a:pt x="273" y="76"/>
                      <a:pt x="225" y="67"/>
                    </a:cubicBezTo>
                    <a:cubicBezTo>
                      <a:pt x="179" y="58"/>
                      <a:pt x="133" y="46"/>
                      <a:pt x="87" y="31"/>
                    </a:cubicBezTo>
                    <a:cubicBezTo>
                      <a:pt x="61" y="22"/>
                      <a:pt x="38" y="12"/>
                      <a:pt x="12" y="1"/>
                    </a:cubicBezTo>
                    <a:cubicBezTo>
                      <a:pt x="11" y="1"/>
                      <a:pt x="10" y="1"/>
                      <a:pt x="9" y="1"/>
                    </a:cubicBezTo>
                    <a:close/>
                  </a:path>
                </a:pathLst>
              </a:custGeom>
              <a:solidFill>
                <a:srgbClr val="FAE2CD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7" name="Google Shape;1365;p38">
                <a:extLst>
                  <a:ext uri="{FF2B5EF4-FFF2-40B4-BE49-F238E27FC236}">
                    <a16:creationId xmlns:a16="http://schemas.microsoft.com/office/drawing/2014/main" id="{D381E41A-9665-4BDA-B735-926B38B98A91}"/>
                  </a:ext>
                </a:extLst>
              </p:cNvPr>
              <p:cNvSpPr/>
              <p:nvPr/>
            </p:nvSpPr>
            <p:spPr>
              <a:xfrm>
                <a:off x="7648106" y="3219262"/>
                <a:ext cx="45386" cy="41035"/>
              </a:xfrm>
              <a:custGeom>
                <a:avLst/>
                <a:gdLst/>
                <a:ahLst/>
                <a:cxnLst/>
                <a:rect l="l" t="t" r="r" b="b"/>
                <a:pathLst>
                  <a:path w="386" h="349" extrusionOk="0">
                    <a:moveTo>
                      <a:pt x="373" y="0"/>
                    </a:moveTo>
                    <a:cubicBezTo>
                      <a:pt x="371" y="0"/>
                      <a:pt x="369" y="1"/>
                      <a:pt x="368" y="4"/>
                    </a:cubicBezTo>
                    <a:cubicBezTo>
                      <a:pt x="333" y="59"/>
                      <a:pt x="293" y="110"/>
                      <a:pt x="248" y="156"/>
                    </a:cubicBezTo>
                    <a:cubicBezTo>
                      <a:pt x="177" y="228"/>
                      <a:pt x="96" y="289"/>
                      <a:pt x="5" y="334"/>
                    </a:cubicBezTo>
                    <a:cubicBezTo>
                      <a:pt x="2" y="337"/>
                      <a:pt x="1" y="341"/>
                      <a:pt x="2" y="346"/>
                    </a:cubicBezTo>
                    <a:cubicBezTo>
                      <a:pt x="4" y="347"/>
                      <a:pt x="6" y="349"/>
                      <a:pt x="9" y="349"/>
                    </a:cubicBezTo>
                    <a:cubicBezTo>
                      <a:pt x="11" y="349"/>
                      <a:pt x="12" y="348"/>
                      <a:pt x="14" y="347"/>
                    </a:cubicBezTo>
                    <a:lnTo>
                      <a:pt x="14" y="349"/>
                    </a:lnTo>
                    <a:cubicBezTo>
                      <a:pt x="163" y="271"/>
                      <a:pt x="290" y="155"/>
                      <a:pt x="381" y="13"/>
                    </a:cubicBezTo>
                    <a:cubicBezTo>
                      <a:pt x="385" y="7"/>
                      <a:pt x="379" y="0"/>
                      <a:pt x="373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8" name="Google Shape;1366;p38">
                <a:extLst>
                  <a:ext uri="{FF2B5EF4-FFF2-40B4-BE49-F238E27FC236}">
                    <a16:creationId xmlns:a16="http://schemas.microsoft.com/office/drawing/2014/main" id="{21612625-B1A7-B041-9F52-6370EE5872F3}"/>
                  </a:ext>
                </a:extLst>
              </p:cNvPr>
              <p:cNvSpPr/>
              <p:nvPr/>
            </p:nvSpPr>
            <p:spPr>
              <a:xfrm>
                <a:off x="7648930" y="3248304"/>
                <a:ext cx="29513" cy="19048"/>
              </a:xfrm>
              <a:custGeom>
                <a:avLst/>
                <a:gdLst/>
                <a:ahLst/>
                <a:cxnLst/>
                <a:rect l="l" t="t" r="r" b="b"/>
                <a:pathLst>
                  <a:path w="251" h="162" extrusionOk="0">
                    <a:moveTo>
                      <a:pt x="239" y="1"/>
                    </a:moveTo>
                    <a:cubicBezTo>
                      <a:pt x="237" y="1"/>
                      <a:pt x="234" y="2"/>
                      <a:pt x="232" y="5"/>
                    </a:cubicBezTo>
                    <a:cubicBezTo>
                      <a:pt x="213" y="34"/>
                      <a:pt x="189" y="61"/>
                      <a:pt x="162" y="82"/>
                    </a:cubicBezTo>
                    <a:cubicBezTo>
                      <a:pt x="134" y="105"/>
                      <a:pt x="103" y="121"/>
                      <a:pt x="68" y="133"/>
                    </a:cubicBezTo>
                    <a:cubicBezTo>
                      <a:pt x="49" y="139"/>
                      <a:pt x="29" y="143"/>
                      <a:pt x="10" y="146"/>
                    </a:cubicBezTo>
                    <a:cubicBezTo>
                      <a:pt x="1" y="149"/>
                      <a:pt x="3" y="162"/>
                      <a:pt x="11" y="162"/>
                    </a:cubicBezTo>
                    <a:cubicBezTo>
                      <a:pt x="12" y="162"/>
                      <a:pt x="12" y="161"/>
                      <a:pt x="13" y="161"/>
                    </a:cubicBezTo>
                    <a:lnTo>
                      <a:pt x="15" y="161"/>
                    </a:lnTo>
                    <a:cubicBezTo>
                      <a:pt x="50" y="157"/>
                      <a:pt x="86" y="145"/>
                      <a:pt x="119" y="128"/>
                    </a:cubicBezTo>
                    <a:cubicBezTo>
                      <a:pt x="152" y="110"/>
                      <a:pt x="182" y="88"/>
                      <a:pt x="207" y="61"/>
                    </a:cubicBezTo>
                    <a:cubicBezTo>
                      <a:pt x="222" y="46"/>
                      <a:pt x="235" y="30"/>
                      <a:pt x="247" y="12"/>
                    </a:cubicBezTo>
                    <a:cubicBezTo>
                      <a:pt x="250" y="6"/>
                      <a:pt x="245" y="1"/>
                      <a:pt x="239" y="1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19" name="Google Shape;1367;p38">
                <a:extLst>
                  <a:ext uri="{FF2B5EF4-FFF2-40B4-BE49-F238E27FC236}">
                    <a16:creationId xmlns:a16="http://schemas.microsoft.com/office/drawing/2014/main" id="{E31666F6-D11F-AB9E-8DA9-FFEC79F038D3}"/>
                  </a:ext>
                </a:extLst>
              </p:cNvPr>
              <p:cNvSpPr/>
              <p:nvPr/>
            </p:nvSpPr>
            <p:spPr>
              <a:xfrm>
                <a:off x="7218336" y="2817599"/>
                <a:ext cx="58672" cy="71370"/>
              </a:xfrm>
              <a:custGeom>
                <a:avLst/>
                <a:gdLst/>
                <a:ahLst/>
                <a:cxnLst/>
                <a:rect l="l" t="t" r="r" b="b"/>
                <a:pathLst>
                  <a:path w="499" h="607" extrusionOk="0">
                    <a:moveTo>
                      <a:pt x="353" y="1"/>
                    </a:moveTo>
                    <a:cubicBezTo>
                      <a:pt x="243" y="188"/>
                      <a:pt x="0" y="607"/>
                      <a:pt x="47" y="607"/>
                    </a:cubicBezTo>
                    <a:cubicBezTo>
                      <a:pt x="48" y="607"/>
                      <a:pt x="49" y="606"/>
                      <a:pt x="50" y="606"/>
                    </a:cubicBezTo>
                    <a:cubicBezTo>
                      <a:pt x="117" y="589"/>
                      <a:pt x="303" y="559"/>
                      <a:pt x="448" y="559"/>
                    </a:cubicBezTo>
                    <a:cubicBezTo>
                      <a:pt x="466" y="559"/>
                      <a:pt x="483" y="559"/>
                      <a:pt x="499" y="560"/>
                    </a:cubicBezTo>
                    <a:lnTo>
                      <a:pt x="238" y="526"/>
                    </a:lnTo>
                    <a:lnTo>
                      <a:pt x="353" y="1"/>
                    </a:ln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0" name="Google Shape;1368;p38">
                <a:extLst>
                  <a:ext uri="{FF2B5EF4-FFF2-40B4-BE49-F238E27FC236}">
                    <a16:creationId xmlns:a16="http://schemas.microsoft.com/office/drawing/2014/main" id="{84498911-1138-D423-4FB7-F02926728F52}"/>
                  </a:ext>
                </a:extLst>
              </p:cNvPr>
              <p:cNvSpPr/>
              <p:nvPr/>
            </p:nvSpPr>
            <p:spPr>
              <a:xfrm>
                <a:off x="7567796" y="2567735"/>
                <a:ext cx="58908" cy="77836"/>
              </a:xfrm>
              <a:custGeom>
                <a:avLst/>
                <a:gdLst/>
                <a:ahLst/>
                <a:cxnLst/>
                <a:rect l="l" t="t" r="r" b="b"/>
                <a:pathLst>
                  <a:path w="501" h="662" extrusionOk="0">
                    <a:moveTo>
                      <a:pt x="327" y="1"/>
                    </a:moveTo>
                    <a:cubicBezTo>
                      <a:pt x="300" y="1"/>
                      <a:pt x="273" y="5"/>
                      <a:pt x="248" y="14"/>
                    </a:cubicBezTo>
                    <a:cubicBezTo>
                      <a:pt x="244" y="17"/>
                      <a:pt x="241" y="22"/>
                      <a:pt x="242" y="26"/>
                    </a:cubicBezTo>
                    <a:cubicBezTo>
                      <a:pt x="242" y="28"/>
                      <a:pt x="242" y="31"/>
                      <a:pt x="242" y="32"/>
                    </a:cubicBezTo>
                    <a:cubicBezTo>
                      <a:pt x="248" y="55"/>
                      <a:pt x="242" y="77"/>
                      <a:pt x="227" y="95"/>
                    </a:cubicBezTo>
                    <a:cubicBezTo>
                      <a:pt x="212" y="114"/>
                      <a:pt x="196" y="134"/>
                      <a:pt x="180" y="151"/>
                    </a:cubicBezTo>
                    <a:cubicBezTo>
                      <a:pt x="151" y="187"/>
                      <a:pt x="120" y="222"/>
                      <a:pt x="93" y="259"/>
                    </a:cubicBezTo>
                    <a:cubicBezTo>
                      <a:pt x="89" y="242"/>
                      <a:pt x="81" y="226"/>
                      <a:pt x="71" y="213"/>
                    </a:cubicBezTo>
                    <a:cubicBezTo>
                      <a:pt x="65" y="205"/>
                      <a:pt x="56" y="200"/>
                      <a:pt x="47" y="200"/>
                    </a:cubicBezTo>
                    <a:cubicBezTo>
                      <a:pt x="41" y="200"/>
                      <a:pt x="35" y="202"/>
                      <a:pt x="29" y="207"/>
                    </a:cubicBezTo>
                    <a:cubicBezTo>
                      <a:pt x="16" y="219"/>
                      <a:pt x="8" y="235"/>
                      <a:pt x="7" y="251"/>
                    </a:cubicBezTo>
                    <a:cubicBezTo>
                      <a:pt x="1" y="296"/>
                      <a:pt x="5" y="341"/>
                      <a:pt x="19" y="383"/>
                    </a:cubicBezTo>
                    <a:cubicBezTo>
                      <a:pt x="31" y="426"/>
                      <a:pt x="45" y="469"/>
                      <a:pt x="60" y="512"/>
                    </a:cubicBezTo>
                    <a:cubicBezTo>
                      <a:pt x="68" y="538"/>
                      <a:pt x="78" y="563"/>
                      <a:pt x="87" y="588"/>
                    </a:cubicBezTo>
                    <a:cubicBezTo>
                      <a:pt x="90" y="600"/>
                      <a:pt x="95" y="612"/>
                      <a:pt x="101" y="624"/>
                    </a:cubicBezTo>
                    <a:cubicBezTo>
                      <a:pt x="107" y="636"/>
                      <a:pt x="114" y="648"/>
                      <a:pt x="120" y="660"/>
                    </a:cubicBezTo>
                    <a:cubicBezTo>
                      <a:pt x="120" y="661"/>
                      <a:pt x="121" y="661"/>
                      <a:pt x="122" y="661"/>
                    </a:cubicBezTo>
                    <a:cubicBezTo>
                      <a:pt x="124" y="661"/>
                      <a:pt x="127" y="659"/>
                      <a:pt x="126" y="657"/>
                    </a:cubicBezTo>
                    <a:cubicBezTo>
                      <a:pt x="125" y="648"/>
                      <a:pt x="125" y="638"/>
                      <a:pt x="123" y="630"/>
                    </a:cubicBezTo>
                    <a:cubicBezTo>
                      <a:pt x="120" y="621"/>
                      <a:pt x="119" y="609"/>
                      <a:pt x="114" y="599"/>
                    </a:cubicBezTo>
                    <a:cubicBezTo>
                      <a:pt x="108" y="579"/>
                      <a:pt x="102" y="562"/>
                      <a:pt x="96" y="544"/>
                    </a:cubicBezTo>
                    <a:cubicBezTo>
                      <a:pt x="84" y="506"/>
                      <a:pt x="71" y="469"/>
                      <a:pt x="59" y="432"/>
                    </a:cubicBezTo>
                    <a:cubicBezTo>
                      <a:pt x="47" y="396"/>
                      <a:pt x="38" y="359"/>
                      <a:pt x="31" y="321"/>
                    </a:cubicBezTo>
                    <a:cubicBezTo>
                      <a:pt x="28" y="304"/>
                      <a:pt x="28" y="286"/>
                      <a:pt x="29" y="268"/>
                    </a:cubicBezTo>
                    <a:cubicBezTo>
                      <a:pt x="29" y="259"/>
                      <a:pt x="32" y="226"/>
                      <a:pt x="45" y="225"/>
                    </a:cubicBezTo>
                    <a:cubicBezTo>
                      <a:pt x="46" y="224"/>
                      <a:pt x="46" y="224"/>
                      <a:pt x="47" y="224"/>
                    </a:cubicBezTo>
                    <a:cubicBezTo>
                      <a:pt x="58" y="224"/>
                      <a:pt x="66" y="262"/>
                      <a:pt x="69" y="269"/>
                    </a:cubicBezTo>
                    <a:cubicBezTo>
                      <a:pt x="74" y="290"/>
                      <a:pt x="80" y="311"/>
                      <a:pt x="87" y="330"/>
                    </a:cubicBezTo>
                    <a:cubicBezTo>
                      <a:pt x="89" y="333"/>
                      <a:pt x="92" y="335"/>
                      <a:pt x="95" y="335"/>
                    </a:cubicBezTo>
                    <a:cubicBezTo>
                      <a:pt x="99" y="335"/>
                      <a:pt x="102" y="332"/>
                      <a:pt x="104" y="327"/>
                    </a:cubicBezTo>
                    <a:cubicBezTo>
                      <a:pt x="105" y="313"/>
                      <a:pt x="104" y="298"/>
                      <a:pt x="99" y="283"/>
                    </a:cubicBezTo>
                    <a:cubicBezTo>
                      <a:pt x="101" y="281"/>
                      <a:pt x="101" y="281"/>
                      <a:pt x="101" y="280"/>
                    </a:cubicBezTo>
                    <a:cubicBezTo>
                      <a:pt x="120" y="260"/>
                      <a:pt x="138" y="238"/>
                      <a:pt x="156" y="217"/>
                    </a:cubicBezTo>
                    <a:cubicBezTo>
                      <a:pt x="172" y="195"/>
                      <a:pt x="193" y="172"/>
                      <a:pt x="211" y="150"/>
                    </a:cubicBezTo>
                    <a:cubicBezTo>
                      <a:pt x="238" y="119"/>
                      <a:pt x="280" y="75"/>
                      <a:pt x="266" y="32"/>
                    </a:cubicBezTo>
                    <a:cubicBezTo>
                      <a:pt x="283" y="29"/>
                      <a:pt x="299" y="28"/>
                      <a:pt x="315" y="26"/>
                    </a:cubicBezTo>
                    <a:cubicBezTo>
                      <a:pt x="336" y="26"/>
                      <a:pt x="357" y="28"/>
                      <a:pt x="378" y="31"/>
                    </a:cubicBezTo>
                    <a:cubicBezTo>
                      <a:pt x="397" y="35"/>
                      <a:pt x="417" y="41"/>
                      <a:pt x="436" y="49"/>
                    </a:cubicBezTo>
                    <a:cubicBezTo>
                      <a:pt x="447" y="53"/>
                      <a:pt x="456" y="58"/>
                      <a:pt x="466" y="62"/>
                    </a:cubicBezTo>
                    <a:cubicBezTo>
                      <a:pt x="473" y="66"/>
                      <a:pt x="484" y="71"/>
                      <a:pt x="493" y="72"/>
                    </a:cubicBezTo>
                    <a:cubicBezTo>
                      <a:pt x="497" y="71"/>
                      <a:pt x="500" y="66"/>
                      <a:pt x="497" y="62"/>
                    </a:cubicBezTo>
                    <a:cubicBezTo>
                      <a:pt x="490" y="43"/>
                      <a:pt x="462" y="32"/>
                      <a:pt x="445" y="25"/>
                    </a:cubicBezTo>
                    <a:cubicBezTo>
                      <a:pt x="424" y="16"/>
                      <a:pt x="402" y="10"/>
                      <a:pt x="380" y="7"/>
                    </a:cubicBezTo>
                    <a:cubicBezTo>
                      <a:pt x="362" y="3"/>
                      <a:pt x="345" y="1"/>
                      <a:pt x="327" y="1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2" name="Google Shape;1370;p38">
                <a:extLst>
                  <a:ext uri="{FF2B5EF4-FFF2-40B4-BE49-F238E27FC236}">
                    <a16:creationId xmlns:a16="http://schemas.microsoft.com/office/drawing/2014/main" id="{7119C42B-2F9A-F08D-1BD7-38CF82FE7F04}"/>
                  </a:ext>
                </a:extLst>
              </p:cNvPr>
              <p:cNvSpPr/>
              <p:nvPr/>
            </p:nvSpPr>
            <p:spPr>
              <a:xfrm>
                <a:off x="7752286" y="2893087"/>
                <a:ext cx="75016" cy="59259"/>
              </a:xfrm>
              <a:custGeom>
                <a:avLst/>
                <a:gdLst/>
                <a:ahLst/>
                <a:cxnLst/>
                <a:rect l="l" t="t" r="r" b="b"/>
                <a:pathLst>
                  <a:path w="638" h="504" extrusionOk="0">
                    <a:moveTo>
                      <a:pt x="350" y="0"/>
                    </a:moveTo>
                    <a:cubicBezTo>
                      <a:pt x="333" y="0"/>
                      <a:pt x="315" y="2"/>
                      <a:pt x="297" y="4"/>
                    </a:cubicBezTo>
                    <a:cubicBezTo>
                      <a:pt x="235" y="13"/>
                      <a:pt x="176" y="42"/>
                      <a:pt x="129" y="84"/>
                    </a:cubicBezTo>
                    <a:cubicBezTo>
                      <a:pt x="114" y="97"/>
                      <a:pt x="100" y="110"/>
                      <a:pt x="88" y="127"/>
                    </a:cubicBezTo>
                    <a:cubicBezTo>
                      <a:pt x="88" y="122"/>
                      <a:pt x="84" y="116"/>
                      <a:pt x="79" y="116"/>
                    </a:cubicBezTo>
                    <a:cubicBezTo>
                      <a:pt x="78" y="116"/>
                      <a:pt x="76" y="117"/>
                      <a:pt x="75" y="118"/>
                    </a:cubicBezTo>
                    <a:cubicBezTo>
                      <a:pt x="27" y="155"/>
                      <a:pt x="0" y="215"/>
                      <a:pt x="5" y="276"/>
                    </a:cubicBezTo>
                    <a:cubicBezTo>
                      <a:pt x="9" y="331"/>
                      <a:pt x="35" y="385"/>
                      <a:pt x="75" y="425"/>
                    </a:cubicBezTo>
                    <a:cubicBezTo>
                      <a:pt x="117" y="465"/>
                      <a:pt x="169" y="492"/>
                      <a:pt x="227" y="501"/>
                    </a:cubicBezTo>
                    <a:cubicBezTo>
                      <a:pt x="241" y="503"/>
                      <a:pt x="254" y="503"/>
                      <a:pt x="268" y="503"/>
                    </a:cubicBezTo>
                    <a:cubicBezTo>
                      <a:pt x="318" y="503"/>
                      <a:pt x="368" y="492"/>
                      <a:pt x="415" y="471"/>
                    </a:cubicBezTo>
                    <a:cubicBezTo>
                      <a:pt x="528" y="419"/>
                      <a:pt x="637" y="301"/>
                      <a:pt x="609" y="167"/>
                    </a:cubicBezTo>
                    <a:cubicBezTo>
                      <a:pt x="592" y="106"/>
                      <a:pt x="548" y="55"/>
                      <a:pt x="490" y="31"/>
                    </a:cubicBezTo>
                    <a:cubicBezTo>
                      <a:pt x="446" y="11"/>
                      <a:pt x="398" y="0"/>
                      <a:pt x="35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29" name="Google Shape;1371;p38">
                <a:extLst>
                  <a:ext uri="{FF2B5EF4-FFF2-40B4-BE49-F238E27FC236}">
                    <a16:creationId xmlns:a16="http://schemas.microsoft.com/office/drawing/2014/main" id="{49E6A3B1-F3D9-22F6-6CE5-6EC56092CFCD}"/>
                  </a:ext>
                </a:extLst>
              </p:cNvPr>
              <p:cNvSpPr/>
              <p:nvPr/>
            </p:nvSpPr>
            <p:spPr>
              <a:xfrm>
                <a:off x="7870693" y="2843702"/>
                <a:ext cx="65492" cy="74544"/>
              </a:xfrm>
              <a:custGeom>
                <a:avLst/>
                <a:gdLst/>
                <a:ahLst/>
                <a:cxnLst/>
                <a:rect l="l" t="t" r="r" b="b"/>
                <a:pathLst>
                  <a:path w="557" h="634" extrusionOk="0">
                    <a:moveTo>
                      <a:pt x="292" y="0"/>
                    </a:moveTo>
                    <a:cubicBezTo>
                      <a:pt x="265" y="0"/>
                      <a:pt x="238" y="5"/>
                      <a:pt x="212" y="14"/>
                    </a:cubicBezTo>
                    <a:cubicBezTo>
                      <a:pt x="152" y="37"/>
                      <a:pt x="104" y="86"/>
                      <a:pt x="82" y="146"/>
                    </a:cubicBezTo>
                    <a:cubicBezTo>
                      <a:pt x="78" y="161"/>
                      <a:pt x="75" y="174"/>
                      <a:pt x="75" y="189"/>
                    </a:cubicBezTo>
                    <a:cubicBezTo>
                      <a:pt x="73" y="192"/>
                      <a:pt x="70" y="195"/>
                      <a:pt x="69" y="198"/>
                    </a:cubicBezTo>
                    <a:cubicBezTo>
                      <a:pt x="39" y="241"/>
                      <a:pt x="18" y="290"/>
                      <a:pt x="10" y="342"/>
                    </a:cubicBezTo>
                    <a:cubicBezTo>
                      <a:pt x="0" y="407"/>
                      <a:pt x="9" y="471"/>
                      <a:pt x="37" y="527"/>
                    </a:cubicBezTo>
                    <a:cubicBezTo>
                      <a:pt x="69" y="592"/>
                      <a:pt x="131" y="632"/>
                      <a:pt x="201" y="633"/>
                    </a:cubicBezTo>
                    <a:cubicBezTo>
                      <a:pt x="274" y="633"/>
                      <a:pt x="346" y="599"/>
                      <a:pt x="403" y="556"/>
                    </a:cubicBezTo>
                    <a:cubicBezTo>
                      <a:pt x="458" y="514"/>
                      <a:pt x="501" y="459"/>
                      <a:pt x="526" y="395"/>
                    </a:cubicBezTo>
                    <a:cubicBezTo>
                      <a:pt x="553" y="326"/>
                      <a:pt x="556" y="250"/>
                      <a:pt x="532" y="180"/>
                    </a:cubicBezTo>
                    <a:cubicBezTo>
                      <a:pt x="510" y="114"/>
                      <a:pt x="464" y="61"/>
                      <a:pt x="403" y="28"/>
                    </a:cubicBezTo>
                    <a:cubicBezTo>
                      <a:pt x="368" y="10"/>
                      <a:pt x="330" y="0"/>
                      <a:pt x="292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0" name="Google Shape;1372;p38">
                <a:extLst>
                  <a:ext uri="{FF2B5EF4-FFF2-40B4-BE49-F238E27FC236}">
                    <a16:creationId xmlns:a16="http://schemas.microsoft.com/office/drawing/2014/main" id="{D557AB9B-64F1-4EDF-9B56-58A041D301D9}"/>
                  </a:ext>
                </a:extLst>
              </p:cNvPr>
              <p:cNvSpPr/>
              <p:nvPr/>
            </p:nvSpPr>
            <p:spPr>
              <a:xfrm>
                <a:off x="7969699" y="2738701"/>
                <a:ext cx="109702" cy="120870"/>
              </a:xfrm>
              <a:custGeom>
                <a:avLst/>
                <a:gdLst/>
                <a:ahLst/>
                <a:cxnLst/>
                <a:rect l="l" t="t" r="r" b="b"/>
                <a:pathLst>
                  <a:path w="933" h="1028" extrusionOk="0">
                    <a:moveTo>
                      <a:pt x="457" y="1"/>
                    </a:moveTo>
                    <a:cubicBezTo>
                      <a:pt x="417" y="1"/>
                      <a:pt x="376" y="7"/>
                      <a:pt x="336" y="19"/>
                    </a:cubicBezTo>
                    <a:cubicBezTo>
                      <a:pt x="242" y="47"/>
                      <a:pt x="162" y="110"/>
                      <a:pt x="114" y="195"/>
                    </a:cubicBezTo>
                    <a:cubicBezTo>
                      <a:pt x="108" y="204"/>
                      <a:pt x="103" y="214"/>
                      <a:pt x="99" y="224"/>
                    </a:cubicBezTo>
                    <a:cubicBezTo>
                      <a:pt x="59" y="290"/>
                      <a:pt x="30" y="365"/>
                      <a:pt x="18" y="441"/>
                    </a:cubicBezTo>
                    <a:cubicBezTo>
                      <a:pt x="1" y="545"/>
                      <a:pt x="15" y="651"/>
                      <a:pt x="59" y="746"/>
                    </a:cubicBezTo>
                    <a:cubicBezTo>
                      <a:pt x="100" y="837"/>
                      <a:pt x="168" y="913"/>
                      <a:pt x="254" y="966"/>
                    </a:cubicBezTo>
                    <a:cubicBezTo>
                      <a:pt x="324" y="1006"/>
                      <a:pt x="404" y="1027"/>
                      <a:pt x="485" y="1027"/>
                    </a:cubicBezTo>
                    <a:cubicBezTo>
                      <a:pt x="507" y="1027"/>
                      <a:pt x="530" y="1025"/>
                      <a:pt x="552" y="1022"/>
                    </a:cubicBezTo>
                    <a:cubicBezTo>
                      <a:pt x="655" y="1006"/>
                      <a:pt x="749" y="951"/>
                      <a:pt x="813" y="867"/>
                    </a:cubicBezTo>
                    <a:cubicBezTo>
                      <a:pt x="876" y="784"/>
                      <a:pt x="915" y="684"/>
                      <a:pt x="922" y="579"/>
                    </a:cubicBezTo>
                    <a:cubicBezTo>
                      <a:pt x="933" y="469"/>
                      <a:pt x="912" y="359"/>
                      <a:pt x="862" y="260"/>
                    </a:cubicBezTo>
                    <a:cubicBezTo>
                      <a:pt x="813" y="165"/>
                      <a:pt x="734" y="87"/>
                      <a:pt x="637" y="43"/>
                    </a:cubicBezTo>
                    <a:cubicBezTo>
                      <a:pt x="581" y="15"/>
                      <a:pt x="519" y="1"/>
                      <a:pt x="457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2" name="Google Shape;1374;p38">
                <a:extLst>
                  <a:ext uri="{FF2B5EF4-FFF2-40B4-BE49-F238E27FC236}">
                    <a16:creationId xmlns:a16="http://schemas.microsoft.com/office/drawing/2014/main" id="{AAE543DD-901A-2468-6DDE-1DA9F6731FBB}"/>
                  </a:ext>
                </a:extLst>
              </p:cNvPr>
              <p:cNvSpPr/>
              <p:nvPr/>
            </p:nvSpPr>
            <p:spPr>
              <a:xfrm>
                <a:off x="6372317" y="1135812"/>
                <a:ext cx="17872" cy="15638"/>
              </a:xfrm>
              <a:custGeom>
                <a:avLst/>
                <a:gdLst/>
                <a:ahLst/>
                <a:cxnLst/>
                <a:rect l="l" t="t" r="r" b="b"/>
                <a:pathLst>
                  <a:path w="152" h="133" extrusionOk="0">
                    <a:moveTo>
                      <a:pt x="58" y="0"/>
                    </a:moveTo>
                    <a:cubicBezTo>
                      <a:pt x="45" y="0"/>
                      <a:pt x="32" y="5"/>
                      <a:pt x="23" y="14"/>
                    </a:cubicBezTo>
                    <a:cubicBezTo>
                      <a:pt x="1" y="36"/>
                      <a:pt x="7" y="78"/>
                      <a:pt x="37" y="106"/>
                    </a:cubicBezTo>
                    <a:cubicBezTo>
                      <a:pt x="54" y="124"/>
                      <a:pt x="75" y="132"/>
                      <a:pt x="94" y="132"/>
                    </a:cubicBezTo>
                    <a:cubicBezTo>
                      <a:pt x="108" y="132"/>
                      <a:pt x="120" y="128"/>
                      <a:pt x="129" y="118"/>
                    </a:cubicBezTo>
                    <a:cubicBezTo>
                      <a:pt x="151" y="97"/>
                      <a:pt x="145" y="56"/>
                      <a:pt x="116" y="26"/>
                    </a:cubicBezTo>
                    <a:cubicBezTo>
                      <a:pt x="99" y="9"/>
                      <a:pt x="78" y="0"/>
                      <a:pt x="58" y="0"/>
                    </a:cubicBezTo>
                    <a:close/>
                  </a:path>
                </a:pathLst>
              </a:custGeom>
              <a:solidFill>
                <a:srgbClr val="CC472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3" name="Google Shape;1375;p38">
                <a:extLst>
                  <a:ext uri="{FF2B5EF4-FFF2-40B4-BE49-F238E27FC236}">
                    <a16:creationId xmlns:a16="http://schemas.microsoft.com/office/drawing/2014/main" id="{58F67DDA-41E7-A013-B767-4A4F62CBCF90}"/>
                  </a:ext>
                </a:extLst>
              </p:cNvPr>
              <p:cNvSpPr/>
              <p:nvPr/>
            </p:nvSpPr>
            <p:spPr>
              <a:xfrm>
                <a:off x="6410062" y="1139457"/>
                <a:ext cx="9877" cy="9994"/>
              </a:xfrm>
              <a:custGeom>
                <a:avLst/>
                <a:gdLst/>
                <a:ahLst/>
                <a:cxnLst/>
                <a:rect l="l" t="t" r="r" b="b"/>
                <a:pathLst>
                  <a:path w="84" h="85" extrusionOk="0">
                    <a:moveTo>
                      <a:pt x="42" y="1"/>
                    </a:moveTo>
                    <a:cubicBezTo>
                      <a:pt x="18" y="1"/>
                      <a:pt x="0" y="20"/>
                      <a:pt x="0" y="42"/>
                    </a:cubicBezTo>
                    <a:cubicBezTo>
                      <a:pt x="0" y="66"/>
                      <a:pt x="18" y="84"/>
                      <a:pt x="42" y="84"/>
                    </a:cubicBezTo>
                    <a:cubicBezTo>
                      <a:pt x="66" y="84"/>
                      <a:pt x="84" y="66"/>
                      <a:pt x="84" y="42"/>
                    </a:cubicBezTo>
                    <a:cubicBezTo>
                      <a:pt x="84" y="20"/>
                      <a:pt x="66" y="1"/>
                      <a:pt x="42" y="1"/>
                    </a:cubicBezTo>
                    <a:close/>
                  </a:path>
                </a:pathLst>
              </a:custGeom>
              <a:solidFill>
                <a:srgbClr val="261A1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4" name="Google Shape;1376;p38">
                <a:extLst>
                  <a:ext uri="{FF2B5EF4-FFF2-40B4-BE49-F238E27FC236}">
                    <a16:creationId xmlns:a16="http://schemas.microsoft.com/office/drawing/2014/main" id="{1F880C32-EAAC-282C-55F6-E20E27D51730}"/>
                  </a:ext>
                </a:extLst>
              </p:cNvPr>
              <p:cNvSpPr/>
              <p:nvPr/>
            </p:nvSpPr>
            <p:spPr>
              <a:xfrm>
                <a:off x="6404065" y="1124054"/>
                <a:ext cx="29395" cy="15403"/>
              </a:xfrm>
              <a:custGeom>
                <a:avLst/>
                <a:gdLst/>
                <a:ahLst/>
                <a:cxnLst/>
                <a:rect l="l" t="t" r="r" b="b"/>
                <a:pathLst>
                  <a:path w="250" h="131" extrusionOk="0">
                    <a:moveTo>
                      <a:pt x="89" y="1"/>
                    </a:moveTo>
                    <a:cubicBezTo>
                      <a:pt x="62" y="1"/>
                      <a:pt x="33" y="8"/>
                      <a:pt x="1" y="27"/>
                    </a:cubicBezTo>
                    <a:cubicBezTo>
                      <a:pt x="1" y="27"/>
                      <a:pt x="2" y="27"/>
                      <a:pt x="5" y="27"/>
                    </a:cubicBezTo>
                    <a:cubicBezTo>
                      <a:pt x="29" y="27"/>
                      <a:pt x="154" y="32"/>
                      <a:pt x="230" y="130"/>
                    </a:cubicBezTo>
                    <a:lnTo>
                      <a:pt x="250" y="97"/>
                    </a:lnTo>
                    <a:cubicBezTo>
                      <a:pt x="250" y="97"/>
                      <a:pt x="187" y="1"/>
                      <a:pt x="89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5" name="Google Shape;1377;p38">
                <a:extLst>
                  <a:ext uri="{FF2B5EF4-FFF2-40B4-BE49-F238E27FC236}">
                    <a16:creationId xmlns:a16="http://schemas.microsoft.com/office/drawing/2014/main" id="{51AFADBD-0157-B4A7-F873-ACC53F1D6DC3}"/>
                  </a:ext>
                </a:extLst>
              </p:cNvPr>
              <p:cNvSpPr/>
              <p:nvPr/>
            </p:nvSpPr>
            <p:spPr>
              <a:xfrm>
                <a:off x="6402184" y="1135694"/>
                <a:ext cx="24692" cy="11523"/>
              </a:xfrm>
              <a:custGeom>
                <a:avLst/>
                <a:gdLst/>
                <a:ahLst/>
                <a:cxnLst/>
                <a:rect l="l" t="t" r="r" b="b"/>
                <a:pathLst>
                  <a:path w="210" h="98" extrusionOk="0">
                    <a:moveTo>
                      <a:pt x="39" y="1"/>
                    </a:moveTo>
                    <a:cubicBezTo>
                      <a:pt x="23" y="1"/>
                      <a:pt x="12" y="3"/>
                      <a:pt x="11" y="3"/>
                    </a:cubicBezTo>
                    <a:cubicBezTo>
                      <a:pt x="2" y="4"/>
                      <a:pt x="0" y="16"/>
                      <a:pt x="8" y="21"/>
                    </a:cubicBezTo>
                    <a:lnTo>
                      <a:pt x="14" y="21"/>
                    </a:lnTo>
                    <a:cubicBezTo>
                      <a:pt x="14" y="21"/>
                      <a:pt x="23" y="19"/>
                      <a:pt x="37" y="19"/>
                    </a:cubicBezTo>
                    <a:cubicBezTo>
                      <a:pt x="70" y="19"/>
                      <a:pt x="134" y="29"/>
                      <a:pt x="190" y="94"/>
                    </a:cubicBezTo>
                    <a:cubicBezTo>
                      <a:pt x="192" y="96"/>
                      <a:pt x="194" y="97"/>
                      <a:pt x="196" y="97"/>
                    </a:cubicBezTo>
                    <a:cubicBezTo>
                      <a:pt x="203" y="97"/>
                      <a:pt x="210" y="89"/>
                      <a:pt x="203" y="82"/>
                    </a:cubicBezTo>
                    <a:cubicBezTo>
                      <a:pt x="144" y="12"/>
                      <a:pt x="77" y="1"/>
                      <a:pt x="39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6" name="Google Shape;1378;p38">
                <a:extLst>
                  <a:ext uri="{FF2B5EF4-FFF2-40B4-BE49-F238E27FC236}">
                    <a16:creationId xmlns:a16="http://schemas.microsoft.com/office/drawing/2014/main" id="{5439D178-878F-7FFC-659F-D68763382AC2}"/>
                  </a:ext>
                </a:extLst>
              </p:cNvPr>
              <p:cNvSpPr/>
              <p:nvPr/>
            </p:nvSpPr>
            <p:spPr>
              <a:xfrm>
                <a:off x="6446866" y="1170381"/>
                <a:ext cx="6467" cy="7407"/>
              </a:xfrm>
              <a:custGeom>
                <a:avLst/>
                <a:gdLst/>
                <a:ahLst/>
                <a:cxnLst/>
                <a:rect l="l" t="t" r="r" b="b"/>
                <a:pathLst>
                  <a:path w="55" h="63" extrusionOk="0">
                    <a:moveTo>
                      <a:pt x="27" y="0"/>
                    </a:moveTo>
                    <a:cubicBezTo>
                      <a:pt x="13" y="0"/>
                      <a:pt x="1" y="15"/>
                      <a:pt x="1" y="31"/>
                    </a:cubicBezTo>
                    <a:cubicBezTo>
                      <a:pt x="1" y="48"/>
                      <a:pt x="13" y="63"/>
                      <a:pt x="27" y="63"/>
                    </a:cubicBezTo>
                    <a:cubicBezTo>
                      <a:pt x="42" y="63"/>
                      <a:pt x="54" y="48"/>
                      <a:pt x="54" y="31"/>
                    </a:cubicBezTo>
                    <a:cubicBezTo>
                      <a:pt x="54" y="15"/>
                      <a:pt x="42" y="0"/>
                      <a:pt x="27" y="0"/>
                    </a:cubicBezTo>
                    <a:close/>
                  </a:path>
                </a:pathLst>
              </a:custGeom>
              <a:solidFill>
                <a:srgbClr val="261A1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7" name="Google Shape;1379;p38">
                <a:extLst>
                  <a:ext uri="{FF2B5EF4-FFF2-40B4-BE49-F238E27FC236}">
                    <a16:creationId xmlns:a16="http://schemas.microsoft.com/office/drawing/2014/main" id="{7C27614E-0081-BE62-9B55-D1FA01F8F58A}"/>
                  </a:ext>
                </a:extLst>
              </p:cNvPr>
              <p:cNvSpPr/>
              <p:nvPr/>
            </p:nvSpPr>
            <p:spPr>
              <a:xfrm>
                <a:off x="6452980" y="1158623"/>
                <a:ext cx="11758" cy="13992"/>
              </a:xfrm>
              <a:custGeom>
                <a:avLst/>
                <a:gdLst/>
                <a:ahLst/>
                <a:cxnLst/>
                <a:rect l="l" t="t" r="r" b="b"/>
                <a:pathLst>
                  <a:path w="100" h="119" extrusionOk="0">
                    <a:moveTo>
                      <a:pt x="19" y="0"/>
                    </a:moveTo>
                    <a:lnTo>
                      <a:pt x="1" y="18"/>
                    </a:lnTo>
                    <a:cubicBezTo>
                      <a:pt x="56" y="41"/>
                      <a:pt x="53" y="118"/>
                      <a:pt x="53" y="118"/>
                    </a:cubicBezTo>
                    <a:cubicBezTo>
                      <a:pt x="99" y="24"/>
                      <a:pt x="19" y="0"/>
                      <a:pt x="19" y="0"/>
                    </a:cubicBezTo>
                    <a:close/>
                  </a:path>
                </a:pathLst>
              </a:custGeom>
              <a:solidFill>
                <a:srgbClr val="261A18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38" name="Google Shape;1380;p38">
                <a:extLst>
                  <a:ext uri="{FF2B5EF4-FFF2-40B4-BE49-F238E27FC236}">
                    <a16:creationId xmlns:a16="http://schemas.microsoft.com/office/drawing/2014/main" id="{1FFC260B-A368-3EFC-FA93-765060C04A4E}"/>
                  </a:ext>
                </a:extLst>
              </p:cNvPr>
              <p:cNvSpPr/>
              <p:nvPr/>
            </p:nvSpPr>
            <p:spPr>
              <a:xfrm>
                <a:off x="6446866" y="1166031"/>
                <a:ext cx="8583" cy="13874"/>
              </a:xfrm>
              <a:custGeom>
                <a:avLst/>
                <a:gdLst/>
                <a:ahLst/>
                <a:cxnLst/>
                <a:rect l="l" t="t" r="r" b="b"/>
                <a:pathLst>
                  <a:path w="73" h="118" extrusionOk="0">
                    <a:moveTo>
                      <a:pt x="8" y="1"/>
                    </a:moveTo>
                    <a:cubicBezTo>
                      <a:pt x="5" y="1"/>
                      <a:pt x="3" y="2"/>
                      <a:pt x="2" y="4"/>
                    </a:cubicBezTo>
                    <a:cubicBezTo>
                      <a:pt x="1" y="7"/>
                      <a:pt x="1" y="10"/>
                      <a:pt x="4" y="12"/>
                    </a:cubicBezTo>
                    <a:cubicBezTo>
                      <a:pt x="39" y="33"/>
                      <a:pt x="60" y="70"/>
                      <a:pt x="59" y="112"/>
                    </a:cubicBezTo>
                    <a:cubicBezTo>
                      <a:pt x="57" y="113"/>
                      <a:pt x="57" y="113"/>
                      <a:pt x="59" y="115"/>
                    </a:cubicBezTo>
                    <a:cubicBezTo>
                      <a:pt x="59" y="116"/>
                      <a:pt x="60" y="118"/>
                      <a:pt x="63" y="118"/>
                    </a:cubicBezTo>
                    <a:cubicBezTo>
                      <a:pt x="66" y="116"/>
                      <a:pt x="69" y="115"/>
                      <a:pt x="69" y="110"/>
                    </a:cubicBezTo>
                    <a:cubicBezTo>
                      <a:pt x="72" y="65"/>
                      <a:pt x="50" y="22"/>
                      <a:pt x="11" y="1"/>
                    </a:cubicBezTo>
                    <a:cubicBezTo>
                      <a:pt x="10" y="1"/>
                      <a:pt x="9" y="1"/>
                      <a:pt x="8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" name="Google Shape;1381;p38">
              <a:extLst>
                <a:ext uri="{FF2B5EF4-FFF2-40B4-BE49-F238E27FC236}">
                  <a16:creationId xmlns:a16="http://schemas.microsoft.com/office/drawing/2014/main" id="{9A4C5932-E8A6-18C1-F4C6-D2F99945B585}"/>
                </a:ext>
              </a:extLst>
            </p:cNvPr>
            <p:cNvGrpSpPr/>
            <p:nvPr/>
          </p:nvGrpSpPr>
          <p:grpSpPr>
            <a:xfrm>
              <a:off x="5510964" y="3878146"/>
              <a:ext cx="457925" cy="629821"/>
              <a:chOff x="5510964" y="3878146"/>
              <a:chExt cx="457925" cy="629821"/>
            </a:xfrm>
          </p:grpSpPr>
          <p:sp>
            <p:nvSpPr>
              <p:cNvPr id="20" name="Google Shape;1382;p38">
                <a:extLst>
                  <a:ext uri="{FF2B5EF4-FFF2-40B4-BE49-F238E27FC236}">
                    <a16:creationId xmlns:a16="http://schemas.microsoft.com/office/drawing/2014/main" id="{F3747AA2-1C97-DF0B-28EE-610FA463274F}"/>
                  </a:ext>
                </a:extLst>
              </p:cNvPr>
              <p:cNvSpPr/>
              <p:nvPr/>
            </p:nvSpPr>
            <p:spPr>
              <a:xfrm rot="520759">
                <a:off x="5614580" y="3978580"/>
                <a:ext cx="64776" cy="200247"/>
              </a:xfrm>
              <a:custGeom>
                <a:avLst/>
                <a:gdLst/>
                <a:ahLst/>
                <a:cxnLst/>
                <a:rect l="l" t="t" r="r" b="b"/>
                <a:pathLst>
                  <a:path w="723" h="2235" extrusionOk="0">
                    <a:moveTo>
                      <a:pt x="121" y="1"/>
                    </a:moveTo>
                    <a:cubicBezTo>
                      <a:pt x="100" y="208"/>
                      <a:pt x="80" y="414"/>
                      <a:pt x="59" y="620"/>
                    </a:cubicBezTo>
                    <a:cubicBezTo>
                      <a:pt x="29" y="915"/>
                      <a:pt x="0" y="1215"/>
                      <a:pt x="54" y="1507"/>
                    </a:cubicBezTo>
                    <a:cubicBezTo>
                      <a:pt x="109" y="1798"/>
                      <a:pt x="261" y="2084"/>
                      <a:pt x="516" y="2235"/>
                    </a:cubicBezTo>
                    <a:cubicBezTo>
                      <a:pt x="572" y="2156"/>
                      <a:pt x="682" y="1886"/>
                      <a:pt x="689" y="1790"/>
                    </a:cubicBezTo>
                    <a:cubicBezTo>
                      <a:pt x="722" y="1386"/>
                      <a:pt x="636" y="1067"/>
                      <a:pt x="493" y="688"/>
                    </a:cubicBezTo>
                    <a:cubicBezTo>
                      <a:pt x="400" y="448"/>
                      <a:pt x="252" y="222"/>
                      <a:pt x="121" y="1"/>
                    </a:cubicBezTo>
                    <a:close/>
                  </a:path>
                </a:pathLst>
              </a:custGeom>
              <a:solidFill>
                <a:srgbClr val="9888D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1383;p38">
                <a:extLst>
                  <a:ext uri="{FF2B5EF4-FFF2-40B4-BE49-F238E27FC236}">
                    <a16:creationId xmlns:a16="http://schemas.microsoft.com/office/drawing/2014/main" id="{DE82D956-8B90-8CCC-48BC-74E1AE7D2E87}"/>
                  </a:ext>
                </a:extLst>
              </p:cNvPr>
              <p:cNvSpPr/>
              <p:nvPr/>
            </p:nvSpPr>
            <p:spPr>
              <a:xfrm rot="520759">
                <a:off x="5510964" y="4141097"/>
                <a:ext cx="157595" cy="129556"/>
              </a:xfrm>
              <a:custGeom>
                <a:avLst/>
                <a:gdLst/>
                <a:ahLst/>
                <a:cxnLst/>
                <a:rect l="l" t="t" r="r" b="b"/>
                <a:pathLst>
                  <a:path w="1759" h="1446" extrusionOk="0">
                    <a:moveTo>
                      <a:pt x="1" y="1"/>
                    </a:moveTo>
                    <a:lnTo>
                      <a:pt x="358" y="509"/>
                    </a:lnTo>
                    <a:cubicBezTo>
                      <a:pt x="528" y="751"/>
                      <a:pt x="701" y="998"/>
                      <a:pt x="934" y="1183"/>
                    </a:cubicBezTo>
                    <a:cubicBezTo>
                      <a:pt x="1127" y="1337"/>
                      <a:pt x="1371" y="1445"/>
                      <a:pt x="1615" y="1445"/>
                    </a:cubicBezTo>
                    <a:cubicBezTo>
                      <a:pt x="1663" y="1445"/>
                      <a:pt x="1711" y="1441"/>
                      <a:pt x="1759" y="1432"/>
                    </a:cubicBezTo>
                    <a:cubicBezTo>
                      <a:pt x="1699" y="875"/>
                      <a:pt x="1183" y="523"/>
                      <a:pt x="731" y="278"/>
                    </a:cubicBezTo>
                    <a:cubicBezTo>
                      <a:pt x="505" y="156"/>
                      <a:pt x="244" y="80"/>
                      <a:pt x="1" y="1"/>
                    </a:cubicBezTo>
                    <a:close/>
                  </a:path>
                </a:pathLst>
              </a:custGeom>
              <a:solidFill>
                <a:srgbClr val="9888D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1384;p38">
                <a:extLst>
                  <a:ext uri="{FF2B5EF4-FFF2-40B4-BE49-F238E27FC236}">
                    <a16:creationId xmlns:a16="http://schemas.microsoft.com/office/drawing/2014/main" id="{B4AB973E-1B8A-CD24-225E-59A0C7C7E66D}"/>
                  </a:ext>
                </a:extLst>
              </p:cNvPr>
              <p:cNvSpPr/>
              <p:nvPr/>
            </p:nvSpPr>
            <p:spPr>
              <a:xfrm rot="520759">
                <a:off x="5537161" y="4295137"/>
                <a:ext cx="183398" cy="94076"/>
              </a:xfrm>
              <a:custGeom>
                <a:avLst/>
                <a:gdLst/>
                <a:ahLst/>
                <a:cxnLst/>
                <a:rect l="l" t="t" r="r" b="b"/>
                <a:pathLst>
                  <a:path w="2047" h="1050" extrusionOk="0">
                    <a:moveTo>
                      <a:pt x="1" y="1"/>
                    </a:moveTo>
                    <a:lnTo>
                      <a:pt x="468" y="411"/>
                    </a:lnTo>
                    <a:cubicBezTo>
                      <a:pt x="690" y="606"/>
                      <a:pt x="917" y="804"/>
                      <a:pt x="1185" y="930"/>
                    </a:cubicBezTo>
                    <a:cubicBezTo>
                      <a:pt x="1345" y="1004"/>
                      <a:pt x="1523" y="1050"/>
                      <a:pt x="1697" y="1050"/>
                    </a:cubicBezTo>
                    <a:cubicBezTo>
                      <a:pt x="1817" y="1050"/>
                      <a:pt x="1936" y="1028"/>
                      <a:pt x="2047" y="979"/>
                    </a:cubicBezTo>
                    <a:cubicBezTo>
                      <a:pt x="1857" y="451"/>
                      <a:pt x="1273" y="230"/>
                      <a:pt x="776" y="99"/>
                    </a:cubicBezTo>
                    <a:cubicBezTo>
                      <a:pt x="527" y="33"/>
                      <a:pt x="256" y="21"/>
                      <a:pt x="1" y="1"/>
                    </a:cubicBezTo>
                    <a:close/>
                  </a:path>
                </a:pathLst>
              </a:custGeom>
              <a:solidFill>
                <a:srgbClr val="9888D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3" name="Google Shape;1385;p38">
                <a:extLst>
                  <a:ext uri="{FF2B5EF4-FFF2-40B4-BE49-F238E27FC236}">
                    <a16:creationId xmlns:a16="http://schemas.microsoft.com/office/drawing/2014/main" id="{D57402FF-CDC3-2018-A8F7-7DC836C40338}"/>
                  </a:ext>
                </a:extLst>
              </p:cNvPr>
              <p:cNvSpPr/>
              <p:nvPr/>
            </p:nvSpPr>
            <p:spPr>
              <a:xfrm rot="520759">
                <a:off x="5627077" y="4439975"/>
                <a:ext cx="199346" cy="65495"/>
              </a:xfrm>
              <a:custGeom>
                <a:avLst/>
                <a:gdLst/>
                <a:ahLst/>
                <a:cxnLst/>
                <a:rect l="l" t="t" r="r" b="b"/>
                <a:pathLst>
                  <a:path w="2225" h="731" extrusionOk="0">
                    <a:moveTo>
                      <a:pt x="766" y="0"/>
                    </a:moveTo>
                    <a:cubicBezTo>
                      <a:pt x="512" y="0"/>
                      <a:pt x="251" y="53"/>
                      <a:pt x="1" y="94"/>
                    </a:cubicBezTo>
                    <a:lnTo>
                      <a:pt x="554" y="379"/>
                    </a:lnTo>
                    <a:cubicBezTo>
                      <a:pt x="818" y="515"/>
                      <a:pt x="1086" y="652"/>
                      <a:pt x="1377" y="707"/>
                    </a:cubicBezTo>
                    <a:cubicBezTo>
                      <a:pt x="1458" y="722"/>
                      <a:pt x="1542" y="731"/>
                      <a:pt x="1625" y="731"/>
                    </a:cubicBezTo>
                    <a:cubicBezTo>
                      <a:pt x="1841" y="731"/>
                      <a:pt x="2055" y="675"/>
                      <a:pt x="2224" y="543"/>
                    </a:cubicBezTo>
                    <a:cubicBezTo>
                      <a:pt x="1911" y="78"/>
                      <a:pt x="1292" y="6"/>
                      <a:pt x="776" y="0"/>
                    </a:cubicBezTo>
                    <a:cubicBezTo>
                      <a:pt x="773" y="0"/>
                      <a:pt x="769" y="0"/>
                      <a:pt x="766" y="0"/>
                    </a:cubicBezTo>
                    <a:close/>
                  </a:path>
                </a:pathLst>
              </a:custGeom>
              <a:solidFill>
                <a:srgbClr val="9888D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4" name="Google Shape;1386;p38">
                <a:extLst>
                  <a:ext uri="{FF2B5EF4-FFF2-40B4-BE49-F238E27FC236}">
                    <a16:creationId xmlns:a16="http://schemas.microsoft.com/office/drawing/2014/main" id="{8AE5C6F0-6108-67E0-E30A-B25C7D29384A}"/>
                  </a:ext>
                </a:extLst>
              </p:cNvPr>
              <p:cNvSpPr/>
              <p:nvPr/>
            </p:nvSpPr>
            <p:spPr>
              <a:xfrm rot="520759">
                <a:off x="5670724" y="4074304"/>
                <a:ext cx="74990" cy="200157"/>
              </a:xfrm>
              <a:custGeom>
                <a:avLst/>
                <a:gdLst/>
                <a:ahLst/>
                <a:cxnLst/>
                <a:rect l="l" t="t" r="r" b="b"/>
                <a:pathLst>
                  <a:path w="837" h="2234" extrusionOk="0">
                    <a:moveTo>
                      <a:pt x="721" y="1"/>
                    </a:moveTo>
                    <a:cubicBezTo>
                      <a:pt x="588" y="220"/>
                      <a:pt x="439" y="447"/>
                      <a:pt x="348" y="687"/>
                    </a:cubicBezTo>
                    <a:cubicBezTo>
                      <a:pt x="163" y="1167"/>
                      <a:pt x="0" y="1769"/>
                      <a:pt x="316" y="2233"/>
                    </a:cubicBezTo>
                    <a:cubicBezTo>
                      <a:pt x="573" y="2084"/>
                      <a:pt x="727" y="1798"/>
                      <a:pt x="782" y="1505"/>
                    </a:cubicBezTo>
                    <a:cubicBezTo>
                      <a:pt x="837" y="1215"/>
                      <a:pt x="809" y="915"/>
                      <a:pt x="780" y="620"/>
                    </a:cubicBezTo>
                    <a:cubicBezTo>
                      <a:pt x="761" y="414"/>
                      <a:pt x="741" y="207"/>
                      <a:pt x="721" y="1"/>
                    </a:cubicBezTo>
                    <a:close/>
                  </a:path>
                </a:pathLst>
              </a:custGeom>
              <a:solidFill>
                <a:srgbClr val="9888D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5" name="Google Shape;1387;p38">
                <a:extLst>
                  <a:ext uri="{FF2B5EF4-FFF2-40B4-BE49-F238E27FC236}">
                    <a16:creationId xmlns:a16="http://schemas.microsoft.com/office/drawing/2014/main" id="{FD64B384-733B-3AA0-E037-05CCBE0D81F8}"/>
                  </a:ext>
                </a:extLst>
              </p:cNvPr>
              <p:cNvSpPr/>
              <p:nvPr/>
            </p:nvSpPr>
            <p:spPr>
              <a:xfrm rot="520759">
                <a:off x="5728907" y="4189132"/>
                <a:ext cx="64059" cy="202397"/>
              </a:xfrm>
              <a:custGeom>
                <a:avLst/>
                <a:gdLst/>
                <a:ahLst/>
                <a:cxnLst/>
                <a:rect l="l" t="t" r="r" b="b"/>
                <a:pathLst>
                  <a:path w="715" h="2259" extrusionOk="0">
                    <a:moveTo>
                      <a:pt x="223" y="1"/>
                    </a:moveTo>
                    <a:cubicBezTo>
                      <a:pt x="154" y="248"/>
                      <a:pt x="72" y="506"/>
                      <a:pt x="48" y="763"/>
                    </a:cubicBezTo>
                    <a:cubicBezTo>
                      <a:pt x="0" y="1276"/>
                      <a:pt x="8" y="1899"/>
                      <a:pt x="439" y="2259"/>
                    </a:cubicBezTo>
                    <a:cubicBezTo>
                      <a:pt x="645" y="2045"/>
                      <a:pt x="715" y="1729"/>
                      <a:pt x="689" y="1434"/>
                    </a:cubicBezTo>
                    <a:cubicBezTo>
                      <a:pt x="664" y="1137"/>
                      <a:pt x="555" y="857"/>
                      <a:pt x="448" y="581"/>
                    </a:cubicBezTo>
                    <a:lnTo>
                      <a:pt x="223" y="1"/>
                    </a:lnTo>
                    <a:close/>
                  </a:path>
                </a:pathLst>
              </a:custGeom>
              <a:solidFill>
                <a:srgbClr val="9888D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6" name="Google Shape;1388;p38">
                <a:extLst>
                  <a:ext uri="{FF2B5EF4-FFF2-40B4-BE49-F238E27FC236}">
                    <a16:creationId xmlns:a16="http://schemas.microsoft.com/office/drawing/2014/main" id="{455359F2-C019-7E9F-0655-6CD8C214763C}"/>
                  </a:ext>
                </a:extLst>
              </p:cNvPr>
              <p:cNvSpPr/>
              <p:nvPr/>
            </p:nvSpPr>
            <p:spPr>
              <a:xfrm rot="520759">
                <a:off x="5793533" y="4294177"/>
                <a:ext cx="105183" cy="179371"/>
              </a:xfrm>
              <a:custGeom>
                <a:avLst/>
                <a:gdLst/>
                <a:ahLst/>
                <a:cxnLst/>
                <a:rect l="l" t="t" r="r" b="b"/>
                <a:pathLst>
                  <a:path w="1174" h="2002" extrusionOk="0">
                    <a:moveTo>
                      <a:pt x="0" y="1"/>
                    </a:moveTo>
                    <a:lnTo>
                      <a:pt x="0" y="1"/>
                    </a:lnTo>
                    <a:cubicBezTo>
                      <a:pt x="32" y="256"/>
                      <a:pt x="55" y="526"/>
                      <a:pt x="132" y="770"/>
                    </a:cubicBezTo>
                    <a:cubicBezTo>
                      <a:pt x="284" y="1262"/>
                      <a:pt x="530" y="1835"/>
                      <a:pt x="1065" y="2002"/>
                    </a:cubicBezTo>
                    <a:cubicBezTo>
                      <a:pt x="1174" y="1728"/>
                      <a:pt x="1117" y="1409"/>
                      <a:pt x="980" y="1145"/>
                    </a:cubicBezTo>
                    <a:cubicBezTo>
                      <a:pt x="844" y="882"/>
                      <a:pt x="636" y="664"/>
                      <a:pt x="431" y="450"/>
                    </a:cubicBez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9888DE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1389;p38">
                <a:extLst>
                  <a:ext uri="{FF2B5EF4-FFF2-40B4-BE49-F238E27FC236}">
                    <a16:creationId xmlns:a16="http://schemas.microsoft.com/office/drawing/2014/main" id="{CE217FED-1AB9-0879-068F-30F9545A595E}"/>
                  </a:ext>
                </a:extLst>
              </p:cNvPr>
              <p:cNvSpPr/>
              <p:nvPr/>
            </p:nvSpPr>
            <p:spPr>
              <a:xfrm rot="520759">
                <a:off x="5605319" y="4065363"/>
                <a:ext cx="363570" cy="442604"/>
              </a:xfrm>
              <a:custGeom>
                <a:avLst/>
                <a:gdLst/>
                <a:ahLst/>
                <a:cxnLst/>
                <a:rect l="l" t="t" r="r" b="b"/>
                <a:pathLst>
                  <a:path w="4058" h="4940" extrusionOk="0">
                    <a:moveTo>
                      <a:pt x="42" y="1"/>
                    </a:moveTo>
                    <a:cubicBezTo>
                      <a:pt x="22" y="1"/>
                      <a:pt x="0" y="15"/>
                      <a:pt x="1" y="42"/>
                    </a:cubicBezTo>
                    <a:cubicBezTo>
                      <a:pt x="26" y="598"/>
                      <a:pt x="170" y="1250"/>
                      <a:pt x="404" y="1878"/>
                    </a:cubicBezTo>
                    <a:cubicBezTo>
                      <a:pt x="639" y="2514"/>
                      <a:pt x="944" y="3056"/>
                      <a:pt x="1261" y="3403"/>
                    </a:cubicBezTo>
                    <a:cubicBezTo>
                      <a:pt x="1907" y="4111"/>
                      <a:pt x="3004" y="4729"/>
                      <a:pt x="3993" y="4938"/>
                    </a:cubicBezTo>
                    <a:cubicBezTo>
                      <a:pt x="3995" y="4939"/>
                      <a:pt x="3997" y="4939"/>
                      <a:pt x="4000" y="4939"/>
                    </a:cubicBezTo>
                    <a:lnTo>
                      <a:pt x="4002" y="4939"/>
                    </a:lnTo>
                    <a:cubicBezTo>
                      <a:pt x="4050" y="4939"/>
                      <a:pt x="4057" y="4869"/>
                      <a:pt x="4009" y="4859"/>
                    </a:cubicBezTo>
                    <a:cubicBezTo>
                      <a:pt x="3037" y="4654"/>
                      <a:pt x="1956" y="4046"/>
                      <a:pt x="1321" y="3349"/>
                    </a:cubicBezTo>
                    <a:cubicBezTo>
                      <a:pt x="689" y="2656"/>
                      <a:pt x="134" y="1171"/>
                      <a:pt x="82" y="39"/>
                    </a:cubicBezTo>
                    <a:cubicBezTo>
                      <a:pt x="81" y="13"/>
                      <a:pt x="62" y="1"/>
                      <a:pt x="42" y="1"/>
                    </a:cubicBezTo>
                    <a:close/>
                  </a:path>
                </a:pathLst>
              </a:custGeom>
              <a:solidFill>
                <a:srgbClr val="322C2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1390;p38">
                <a:extLst>
                  <a:ext uri="{FF2B5EF4-FFF2-40B4-BE49-F238E27FC236}">
                    <a16:creationId xmlns:a16="http://schemas.microsoft.com/office/drawing/2014/main" id="{A327BC7F-EA1E-9613-0E5C-2D46308E62C2}"/>
                  </a:ext>
                </a:extLst>
              </p:cNvPr>
              <p:cNvSpPr/>
              <p:nvPr/>
            </p:nvSpPr>
            <p:spPr>
              <a:xfrm rot="520759">
                <a:off x="5566413" y="4135222"/>
                <a:ext cx="147650" cy="163333"/>
              </a:xfrm>
              <a:custGeom>
                <a:avLst/>
                <a:gdLst/>
                <a:ahLst/>
                <a:cxnLst/>
                <a:rect l="l" t="t" r="r" b="b"/>
                <a:pathLst>
                  <a:path w="1648" h="1823" extrusionOk="0">
                    <a:moveTo>
                      <a:pt x="1602" y="0"/>
                    </a:moveTo>
                    <a:cubicBezTo>
                      <a:pt x="1584" y="0"/>
                      <a:pt x="1566" y="11"/>
                      <a:pt x="1563" y="35"/>
                    </a:cubicBezTo>
                    <a:cubicBezTo>
                      <a:pt x="1478" y="584"/>
                      <a:pt x="1454" y="1103"/>
                      <a:pt x="1429" y="1653"/>
                    </a:cubicBezTo>
                    <a:lnTo>
                      <a:pt x="1426" y="1717"/>
                    </a:lnTo>
                    <a:cubicBezTo>
                      <a:pt x="908" y="1435"/>
                      <a:pt x="454" y="1052"/>
                      <a:pt x="88" y="591"/>
                    </a:cubicBezTo>
                    <a:cubicBezTo>
                      <a:pt x="79" y="580"/>
                      <a:pt x="68" y="575"/>
                      <a:pt x="58" y="575"/>
                    </a:cubicBezTo>
                    <a:cubicBezTo>
                      <a:pt x="28" y="575"/>
                      <a:pt x="0" y="610"/>
                      <a:pt x="24" y="642"/>
                    </a:cubicBezTo>
                    <a:cubicBezTo>
                      <a:pt x="410" y="1128"/>
                      <a:pt x="893" y="1529"/>
                      <a:pt x="1444" y="1818"/>
                    </a:cubicBezTo>
                    <a:cubicBezTo>
                      <a:pt x="1450" y="1821"/>
                      <a:pt x="1456" y="1823"/>
                      <a:pt x="1462" y="1823"/>
                    </a:cubicBezTo>
                    <a:cubicBezTo>
                      <a:pt x="1469" y="1823"/>
                      <a:pt x="1477" y="1821"/>
                      <a:pt x="1483" y="1818"/>
                    </a:cubicBezTo>
                    <a:cubicBezTo>
                      <a:pt x="1494" y="1811"/>
                      <a:pt x="1502" y="1799"/>
                      <a:pt x="1502" y="1784"/>
                    </a:cubicBezTo>
                    <a:lnTo>
                      <a:pt x="1508" y="1656"/>
                    </a:lnTo>
                    <a:cubicBezTo>
                      <a:pt x="1533" y="1110"/>
                      <a:pt x="1559" y="591"/>
                      <a:pt x="1642" y="47"/>
                    </a:cubicBezTo>
                    <a:cubicBezTo>
                      <a:pt x="1647" y="17"/>
                      <a:pt x="1624" y="0"/>
                      <a:pt x="1602" y="0"/>
                    </a:cubicBezTo>
                    <a:close/>
                  </a:path>
                </a:pathLst>
              </a:custGeom>
              <a:solidFill>
                <a:srgbClr val="322C2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1391;p38">
                <a:extLst>
                  <a:ext uri="{FF2B5EF4-FFF2-40B4-BE49-F238E27FC236}">
                    <a16:creationId xmlns:a16="http://schemas.microsoft.com/office/drawing/2014/main" id="{C3214817-D110-9FDF-302B-4BEFA34BDA0A}"/>
                  </a:ext>
                </a:extLst>
              </p:cNvPr>
              <p:cNvSpPr/>
              <p:nvPr/>
            </p:nvSpPr>
            <p:spPr>
              <a:xfrm rot="520759">
                <a:off x="5596062" y="4266338"/>
                <a:ext cx="173991" cy="140397"/>
              </a:xfrm>
              <a:custGeom>
                <a:avLst/>
                <a:gdLst/>
                <a:ahLst/>
                <a:cxnLst/>
                <a:rect l="l" t="t" r="r" b="b"/>
                <a:pathLst>
                  <a:path w="1942" h="1567" extrusionOk="0">
                    <a:moveTo>
                      <a:pt x="1654" y="1"/>
                    </a:moveTo>
                    <a:cubicBezTo>
                      <a:pt x="1652" y="1"/>
                      <a:pt x="1651" y="1"/>
                      <a:pt x="1649" y="1"/>
                    </a:cubicBezTo>
                    <a:cubicBezTo>
                      <a:pt x="1627" y="1"/>
                      <a:pt x="1610" y="20"/>
                      <a:pt x="1612" y="43"/>
                    </a:cubicBezTo>
                    <a:lnTo>
                      <a:pt x="1613" y="74"/>
                    </a:lnTo>
                    <a:cubicBezTo>
                      <a:pt x="1647" y="542"/>
                      <a:pt x="1683" y="1027"/>
                      <a:pt x="1834" y="1477"/>
                    </a:cubicBezTo>
                    <a:cubicBezTo>
                      <a:pt x="1194" y="1385"/>
                      <a:pt x="590" y="1125"/>
                      <a:pt x="85" y="724"/>
                    </a:cubicBezTo>
                    <a:cubicBezTo>
                      <a:pt x="76" y="717"/>
                      <a:pt x="67" y="714"/>
                      <a:pt x="59" y="714"/>
                    </a:cubicBezTo>
                    <a:cubicBezTo>
                      <a:pt x="26" y="714"/>
                      <a:pt x="1" y="760"/>
                      <a:pt x="34" y="787"/>
                    </a:cubicBezTo>
                    <a:cubicBezTo>
                      <a:pt x="569" y="1212"/>
                      <a:pt x="1211" y="1480"/>
                      <a:pt x="1889" y="1565"/>
                    </a:cubicBezTo>
                    <a:lnTo>
                      <a:pt x="1893" y="1565"/>
                    </a:lnTo>
                    <a:lnTo>
                      <a:pt x="1895" y="1567"/>
                    </a:lnTo>
                    <a:cubicBezTo>
                      <a:pt x="1922" y="1565"/>
                      <a:pt x="1941" y="1538"/>
                      <a:pt x="1932" y="1512"/>
                    </a:cubicBezTo>
                    <a:cubicBezTo>
                      <a:pt x="1765" y="1055"/>
                      <a:pt x="1729" y="553"/>
                      <a:pt x="1694" y="68"/>
                    </a:cubicBezTo>
                    <a:lnTo>
                      <a:pt x="1691" y="38"/>
                    </a:lnTo>
                    <a:cubicBezTo>
                      <a:pt x="1691" y="18"/>
                      <a:pt x="1674" y="1"/>
                      <a:pt x="1654" y="1"/>
                    </a:cubicBezTo>
                    <a:close/>
                  </a:path>
                </a:pathLst>
              </a:custGeom>
              <a:solidFill>
                <a:srgbClr val="322C2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1392;p38">
                <a:extLst>
                  <a:ext uri="{FF2B5EF4-FFF2-40B4-BE49-F238E27FC236}">
                    <a16:creationId xmlns:a16="http://schemas.microsoft.com/office/drawing/2014/main" id="{55CC9A0C-FFC6-D9BA-942D-3960D0A770BF}"/>
                  </a:ext>
                </a:extLst>
              </p:cNvPr>
              <p:cNvSpPr/>
              <p:nvPr/>
            </p:nvSpPr>
            <p:spPr>
              <a:xfrm rot="520759">
                <a:off x="5812638" y="4353140"/>
                <a:ext cx="73825" cy="144787"/>
              </a:xfrm>
              <a:custGeom>
                <a:avLst/>
                <a:gdLst/>
                <a:ahLst/>
                <a:cxnLst/>
                <a:rect l="l" t="t" r="r" b="b"/>
                <a:pathLst>
                  <a:path w="824" h="1616" extrusionOk="0">
                    <a:moveTo>
                      <a:pt x="56" y="0"/>
                    </a:moveTo>
                    <a:cubicBezTo>
                      <a:pt x="28" y="0"/>
                      <a:pt x="0" y="32"/>
                      <a:pt x="21" y="62"/>
                    </a:cubicBezTo>
                    <a:cubicBezTo>
                      <a:pt x="318" y="510"/>
                      <a:pt x="657" y="1015"/>
                      <a:pt x="740" y="1582"/>
                    </a:cubicBezTo>
                    <a:cubicBezTo>
                      <a:pt x="743" y="1601"/>
                      <a:pt x="760" y="1616"/>
                      <a:pt x="780" y="1616"/>
                    </a:cubicBezTo>
                    <a:lnTo>
                      <a:pt x="786" y="1616"/>
                    </a:lnTo>
                    <a:cubicBezTo>
                      <a:pt x="807" y="1613"/>
                      <a:pt x="824" y="1592"/>
                      <a:pt x="819" y="1570"/>
                    </a:cubicBezTo>
                    <a:cubicBezTo>
                      <a:pt x="733" y="985"/>
                      <a:pt x="390" y="472"/>
                      <a:pt x="89" y="19"/>
                    </a:cubicBezTo>
                    <a:cubicBezTo>
                      <a:pt x="80" y="6"/>
                      <a:pt x="68" y="0"/>
                      <a:pt x="56" y="0"/>
                    </a:cubicBezTo>
                    <a:close/>
                  </a:path>
                </a:pathLst>
              </a:custGeom>
              <a:solidFill>
                <a:srgbClr val="322C2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1393;p38">
                <a:extLst>
                  <a:ext uri="{FF2B5EF4-FFF2-40B4-BE49-F238E27FC236}">
                    <a16:creationId xmlns:a16="http://schemas.microsoft.com/office/drawing/2014/main" id="{9B0D2E2E-EF18-C9F3-AEC9-23577CAB4330}"/>
                  </a:ext>
                </a:extLst>
              </p:cNvPr>
              <p:cNvSpPr/>
              <p:nvPr/>
            </p:nvSpPr>
            <p:spPr>
              <a:xfrm rot="520759">
                <a:off x="5709803" y="4475854"/>
                <a:ext cx="155534" cy="25087"/>
              </a:xfrm>
              <a:custGeom>
                <a:avLst/>
                <a:gdLst/>
                <a:ahLst/>
                <a:cxnLst/>
                <a:rect l="l" t="t" r="r" b="b"/>
                <a:pathLst>
                  <a:path w="1736" h="280" extrusionOk="0">
                    <a:moveTo>
                      <a:pt x="54" y="1"/>
                    </a:moveTo>
                    <a:cubicBezTo>
                      <a:pt x="21" y="1"/>
                      <a:pt x="0" y="70"/>
                      <a:pt x="40" y="78"/>
                    </a:cubicBezTo>
                    <a:cubicBezTo>
                      <a:pt x="537" y="260"/>
                      <a:pt x="826" y="278"/>
                      <a:pt x="1008" y="278"/>
                    </a:cubicBezTo>
                    <a:cubicBezTo>
                      <a:pt x="1035" y="278"/>
                      <a:pt x="1058" y="278"/>
                      <a:pt x="1081" y="280"/>
                    </a:cubicBezTo>
                    <a:cubicBezTo>
                      <a:pt x="1272" y="277"/>
                      <a:pt x="1522" y="193"/>
                      <a:pt x="1694" y="117"/>
                    </a:cubicBezTo>
                    <a:cubicBezTo>
                      <a:pt x="1735" y="98"/>
                      <a:pt x="1716" y="40"/>
                      <a:pt x="1679" y="40"/>
                    </a:cubicBezTo>
                    <a:cubicBezTo>
                      <a:pt x="1673" y="40"/>
                      <a:pt x="1667" y="41"/>
                      <a:pt x="1661" y="44"/>
                    </a:cubicBezTo>
                    <a:cubicBezTo>
                      <a:pt x="1497" y="117"/>
                      <a:pt x="1261" y="196"/>
                      <a:pt x="1079" y="199"/>
                    </a:cubicBezTo>
                    <a:cubicBezTo>
                      <a:pt x="1056" y="200"/>
                      <a:pt x="1031" y="200"/>
                      <a:pt x="1005" y="200"/>
                    </a:cubicBezTo>
                    <a:cubicBezTo>
                      <a:pt x="822" y="200"/>
                      <a:pt x="551" y="181"/>
                      <a:pt x="67" y="4"/>
                    </a:cubicBezTo>
                    <a:cubicBezTo>
                      <a:pt x="63" y="2"/>
                      <a:pt x="58" y="1"/>
                      <a:pt x="54" y="1"/>
                    </a:cubicBezTo>
                    <a:close/>
                  </a:path>
                </a:pathLst>
              </a:custGeom>
              <a:solidFill>
                <a:srgbClr val="322C2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1394;p38">
                <a:extLst>
                  <a:ext uri="{FF2B5EF4-FFF2-40B4-BE49-F238E27FC236}">
                    <a16:creationId xmlns:a16="http://schemas.microsoft.com/office/drawing/2014/main" id="{732FA940-ED53-789D-A4D7-0C4C38FCC652}"/>
                  </a:ext>
                </a:extLst>
              </p:cNvPr>
              <p:cNvSpPr/>
              <p:nvPr/>
            </p:nvSpPr>
            <p:spPr>
              <a:xfrm rot="520759">
                <a:off x="5736184" y="3878146"/>
                <a:ext cx="65314" cy="178206"/>
              </a:xfrm>
              <a:custGeom>
                <a:avLst/>
                <a:gdLst/>
                <a:ahLst/>
                <a:cxnLst/>
                <a:rect l="l" t="t" r="r" b="b"/>
                <a:pathLst>
                  <a:path w="729" h="1989" extrusionOk="0">
                    <a:moveTo>
                      <a:pt x="596" y="0"/>
                    </a:moveTo>
                    <a:cubicBezTo>
                      <a:pt x="558" y="0"/>
                      <a:pt x="523" y="26"/>
                      <a:pt x="512" y="65"/>
                    </a:cubicBezTo>
                    <a:lnTo>
                      <a:pt x="13" y="1868"/>
                    </a:lnTo>
                    <a:cubicBezTo>
                      <a:pt x="1" y="1914"/>
                      <a:pt x="27" y="1963"/>
                      <a:pt x="74" y="1975"/>
                    </a:cubicBezTo>
                    <a:lnTo>
                      <a:pt x="108" y="1985"/>
                    </a:lnTo>
                    <a:cubicBezTo>
                      <a:pt x="115" y="1987"/>
                      <a:pt x="123" y="1988"/>
                      <a:pt x="130" y="1988"/>
                    </a:cubicBezTo>
                    <a:cubicBezTo>
                      <a:pt x="169" y="1988"/>
                      <a:pt x="204" y="1963"/>
                      <a:pt x="215" y="1924"/>
                    </a:cubicBezTo>
                    <a:lnTo>
                      <a:pt x="715" y="120"/>
                    </a:lnTo>
                    <a:cubicBezTo>
                      <a:pt x="728" y="74"/>
                      <a:pt x="702" y="26"/>
                      <a:pt x="655" y="13"/>
                    </a:cubicBezTo>
                    <a:lnTo>
                      <a:pt x="619" y="4"/>
                    </a:lnTo>
                    <a:cubicBezTo>
                      <a:pt x="612" y="1"/>
                      <a:pt x="604" y="0"/>
                      <a:pt x="59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1395;p38">
                <a:extLst>
                  <a:ext uri="{FF2B5EF4-FFF2-40B4-BE49-F238E27FC236}">
                    <a16:creationId xmlns:a16="http://schemas.microsoft.com/office/drawing/2014/main" id="{8F5F560A-6428-D7F9-A6EB-423F28042236}"/>
                  </a:ext>
                </a:extLst>
              </p:cNvPr>
              <p:cNvSpPr/>
              <p:nvPr/>
            </p:nvSpPr>
            <p:spPr>
              <a:xfrm rot="520759">
                <a:off x="5695337" y="3903591"/>
                <a:ext cx="147023" cy="127226"/>
              </a:xfrm>
              <a:custGeom>
                <a:avLst/>
                <a:gdLst/>
                <a:ahLst/>
                <a:cxnLst/>
                <a:rect l="l" t="t" r="r" b="b"/>
                <a:pathLst>
                  <a:path w="1641" h="1420" extrusionOk="0">
                    <a:moveTo>
                      <a:pt x="1520" y="1"/>
                    </a:moveTo>
                    <a:cubicBezTo>
                      <a:pt x="1500" y="1"/>
                      <a:pt x="1480" y="8"/>
                      <a:pt x="1463" y="22"/>
                    </a:cubicBezTo>
                    <a:lnTo>
                      <a:pt x="41" y="1239"/>
                    </a:lnTo>
                    <a:cubicBezTo>
                      <a:pt x="3" y="1271"/>
                      <a:pt x="0" y="1326"/>
                      <a:pt x="32" y="1361"/>
                    </a:cubicBezTo>
                    <a:lnTo>
                      <a:pt x="54" y="1390"/>
                    </a:lnTo>
                    <a:cubicBezTo>
                      <a:pt x="71" y="1409"/>
                      <a:pt x="96" y="1420"/>
                      <a:pt x="120" y="1420"/>
                    </a:cubicBezTo>
                    <a:cubicBezTo>
                      <a:pt x="140" y="1420"/>
                      <a:pt x="160" y="1413"/>
                      <a:pt x="176" y="1399"/>
                    </a:cubicBezTo>
                    <a:lnTo>
                      <a:pt x="1599" y="182"/>
                    </a:lnTo>
                    <a:cubicBezTo>
                      <a:pt x="1636" y="151"/>
                      <a:pt x="1641" y="95"/>
                      <a:pt x="1609" y="58"/>
                    </a:cubicBezTo>
                    <a:lnTo>
                      <a:pt x="1585" y="31"/>
                    </a:lnTo>
                    <a:cubicBezTo>
                      <a:pt x="1568" y="11"/>
                      <a:pt x="1544" y="1"/>
                      <a:pt x="152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1396;p38">
                <a:extLst>
                  <a:ext uri="{FF2B5EF4-FFF2-40B4-BE49-F238E27FC236}">
                    <a16:creationId xmlns:a16="http://schemas.microsoft.com/office/drawing/2014/main" id="{0D72D3E5-D381-98D0-2854-9A9D5948CDA1}"/>
                  </a:ext>
                </a:extLst>
              </p:cNvPr>
              <p:cNvSpPr/>
              <p:nvPr/>
            </p:nvSpPr>
            <p:spPr>
              <a:xfrm rot="520759">
                <a:off x="5678487" y="3936824"/>
                <a:ext cx="180620" cy="60836"/>
              </a:xfrm>
              <a:custGeom>
                <a:avLst/>
                <a:gdLst/>
                <a:ahLst/>
                <a:cxnLst/>
                <a:rect l="l" t="t" r="r" b="b"/>
                <a:pathLst>
                  <a:path w="2016" h="679" extrusionOk="0">
                    <a:moveTo>
                      <a:pt x="1910" y="1"/>
                    </a:moveTo>
                    <a:cubicBezTo>
                      <a:pt x="1903" y="1"/>
                      <a:pt x="1896" y="1"/>
                      <a:pt x="1888" y="3"/>
                    </a:cubicBezTo>
                    <a:lnTo>
                      <a:pt x="75" y="472"/>
                    </a:lnTo>
                    <a:cubicBezTo>
                      <a:pt x="29" y="483"/>
                      <a:pt x="0" y="531"/>
                      <a:pt x="12" y="579"/>
                    </a:cubicBezTo>
                    <a:lnTo>
                      <a:pt x="23" y="613"/>
                    </a:lnTo>
                    <a:cubicBezTo>
                      <a:pt x="33" y="652"/>
                      <a:pt x="67" y="679"/>
                      <a:pt x="107" y="679"/>
                    </a:cubicBezTo>
                    <a:cubicBezTo>
                      <a:pt x="114" y="679"/>
                      <a:pt x="121" y="678"/>
                      <a:pt x="129" y="676"/>
                    </a:cubicBezTo>
                    <a:lnTo>
                      <a:pt x="1940" y="206"/>
                    </a:lnTo>
                    <a:cubicBezTo>
                      <a:pt x="1987" y="194"/>
                      <a:pt x="2015" y="146"/>
                      <a:pt x="2003" y="100"/>
                    </a:cubicBezTo>
                    <a:lnTo>
                      <a:pt x="1994" y="66"/>
                    </a:lnTo>
                    <a:cubicBezTo>
                      <a:pt x="1984" y="26"/>
                      <a:pt x="1949" y="1"/>
                      <a:pt x="191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1397;p38">
                <a:extLst>
                  <a:ext uri="{FF2B5EF4-FFF2-40B4-BE49-F238E27FC236}">
                    <a16:creationId xmlns:a16="http://schemas.microsoft.com/office/drawing/2014/main" id="{BABCE5EC-2147-CC61-BE26-0031AE2B2954}"/>
                  </a:ext>
                </a:extLst>
              </p:cNvPr>
              <p:cNvSpPr/>
              <p:nvPr/>
            </p:nvSpPr>
            <p:spPr>
              <a:xfrm rot="520759">
                <a:off x="5678851" y="3935398"/>
                <a:ext cx="179993" cy="63613"/>
              </a:xfrm>
              <a:custGeom>
                <a:avLst/>
                <a:gdLst/>
                <a:ahLst/>
                <a:cxnLst/>
                <a:rect l="l" t="t" r="r" b="b"/>
                <a:pathLst>
                  <a:path w="2009" h="710" extrusionOk="0">
                    <a:moveTo>
                      <a:pt x="106" y="1"/>
                    </a:moveTo>
                    <a:cubicBezTo>
                      <a:pt x="67" y="1"/>
                      <a:pt x="33" y="26"/>
                      <a:pt x="23" y="64"/>
                    </a:cubicBezTo>
                    <a:lnTo>
                      <a:pt x="13" y="100"/>
                    </a:lnTo>
                    <a:cubicBezTo>
                      <a:pt x="1" y="146"/>
                      <a:pt x="28" y="194"/>
                      <a:pt x="74" y="207"/>
                    </a:cubicBezTo>
                    <a:lnTo>
                      <a:pt x="1878" y="707"/>
                    </a:lnTo>
                    <a:cubicBezTo>
                      <a:pt x="1886" y="709"/>
                      <a:pt x="1893" y="710"/>
                      <a:pt x="1901" y="710"/>
                    </a:cubicBezTo>
                    <a:cubicBezTo>
                      <a:pt x="1939" y="710"/>
                      <a:pt x="1974" y="684"/>
                      <a:pt x="1986" y="646"/>
                    </a:cubicBezTo>
                    <a:lnTo>
                      <a:pt x="1995" y="611"/>
                    </a:lnTo>
                    <a:cubicBezTo>
                      <a:pt x="2008" y="565"/>
                      <a:pt x="1981" y="517"/>
                      <a:pt x="1934" y="504"/>
                    </a:cubicBezTo>
                    <a:lnTo>
                      <a:pt x="131" y="4"/>
                    </a:lnTo>
                    <a:cubicBezTo>
                      <a:pt x="122" y="2"/>
                      <a:pt x="114" y="1"/>
                      <a:pt x="106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1398;p38">
                <a:extLst>
                  <a:ext uri="{FF2B5EF4-FFF2-40B4-BE49-F238E27FC236}">
                    <a16:creationId xmlns:a16="http://schemas.microsoft.com/office/drawing/2014/main" id="{6852D9AA-1495-F828-BB93-7918162CDE0C}"/>
                  </a:ext>
                </a:extLst>
              </p:cNvPr>
              <p:cNvSpPr/>
              <p:nvPr/>
            </p:nvSpPr>
            <p:spPr>
              <a:xfrm rot="520759">
                <a:off x="5700258" y="3898484"/>
                <a:ext cx="137168" cy="137530"/>
              </a:xfrm>
              <a:custGeom>
                <a:avLst/>
                <a:gdLst/>
                <a:ahLst/>
                <a:cxnLst/>
                <a:rect l="l" t="t" r="r" b="b"/>
                <a:pathLst>
                  <a:path w="1531" h="1535" extrusionOk="0">
                    <a:moveTo>
                      <a:pt x="122" y="0"/>
                    </a:moveTo>
                    <a:cubicBezTo>
                      <a:pt x="100" y="0"/>
                      <a:pt x="77" y="9"/>
                      <a:pt x="60" y="26"/>
                    </a:cubicBezTo>
                    <a:lnTo>
                      <a:pt x="35" y="51"/>
                    </a:lnTo>
                    <a:cubicBezTo>
                      <a:pt x="1" y="84"/>
                      <a:pt x="1" y="139"/>
                      <a:pt x="35" y="173"/>
                    </a:cubicBezTo>
                    <a:lnTo>
                      <a:pt x="1347" y="1509"/>
                    </a:lnTo>
                    <a:cubicBezTo>
                      <a:pt x="1364" y="1526"/>
                      <a:pt x="1387" y="1535"/>
                      <a:pt x="1410" y="1535"/>
                    </a:cubicBezTo>
                    <a:cubicBezTo>
                      <a:pt x="1432" y="1535"/>
                      <a:pt x="1454" y="1526"/>
                      <a:pt x="1471" y="1509"/>
                    </a:cubicBezTo>
                    <a:lnTo>
                      <a:pt x="1496" y="1484"/>
                    </a:lnTo>
                    <a:cubicBezTo>
                      <a:pt x="1530" y="1450"/>
                      <a:pt x="1530" y="1395"/>
                      <a:pt x="1496" y="1362"/>
                    </a:cubicBezTo>
                    <a:lnTo>
                      <a:pt x="184" y="26"/>
                    </a:lnTo>
                    <a:cubicBezTo>
                      <a:pt x="167" y="9"/>
                      <a:pt x="144" y="0"/>
                      <a:pt x="12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1399;p38">
                <a:extLst>
                  <a:ext uri="{FF2B5EF4-FFF2-40B4-BE49-F238E27FC236}">
                    <a16:creationId xmlns:a16="http://schemas.microsoft.com/office/drawing/2014/main" id="{C1EB71A0-DAD9-7015-5D4E-A00DC66078DB}"/>
                  </a:ext>
                </a:extLst>
              </p:cNvPr>
              <p:cNvSpPr/>
              <p:nvPr/>
            </p:nvSpPr>
            <p:spPr>
              <a:xfrm rot="520759">
                <a:off x="5733766" y="3878760"/>
                <a:ext cx="69973" cy="176952"/>
              </a:xfrm>
              <a:custGeom>
                <a:avLst/>
                <a:gdLst/>
                <a:ahLst/>
                <a:cxnLst/>
                <a:rect l="l" t="t" r="r" b="b"/>
                <a:pathLst>
                  <a:path w="781" h="1975" extrusionOk="0">
                    <a:moveTo>
                      <a:pt x="132" y="1"/>
                    </a:moveTo>
                    <a:cubicBezTo>
                      <a:pt x="123" y="1"/>
                      <a:pt x="115" y="2"/>
                      <a:pt x="107" y="4"/>
                    </a:cubicBezTo>
                    <a:lnTo>
                      <a:pt x="72" y="15"/>
                    </a:lnTo>
                    <a:cubicBezTo>
                      <a:pt x="26" y="30"/>
                      <a:pt x="1" y="79"/>
                      <a:pt x="14" y="123"/>
                    </a:cubicBezTo>
                    <a:lnTo>
                      <a:pt x="566" y="1913"/>
                    </a:lnTo>
                    <a:cubicBezTo>
                      <a:pt x="578" y="1951"/>
                      <a:pt x="613" y="1975"/>
                      <a:pt x="650" y="1975"/>
                    </a:cubicBezTo>
                    <a:cubicBezTo>
                      <a:pt x="659" y="1975"/>
                      <a:pt x="667" y="1973"/>
                      <a:pt x="675" y="1971"/>
                    </a:cubicBezTo>
                    <a:lnTo>
                      <a:pt x="711" y="1961"/>
                    </a:lnTo>
                    <a:cubicBezTo>
                      <a:pt x="755" y="1946"/>
                      <a:pt x="781" y="1898"/>
                      <a:pt x="767" y="1852"/>
                    </a:cubicBezTo>
                    <a:lnTo>
                      <a:pt x="216" y="62"/>
                    </a:lnTo>
                    <a:cubicBezTo>
                      <a:pt x="203" y="24"/>
                      <a:pt x="169" y="1"/>
                      <a:pt x="13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8" name="Google Shape;1400;p38">
                <a:extLst>
                  <a:ext uri="{FF2B5EF4-FFF2-40B4-BE49-F238E27FC236}">
                    <a16:creationId xmlns:a16="http://schemas.microsoft.com/office/drawing/2014/main" id="{EF8CBE67-8163-BF36-C3DE-5B38AA1C986B}"/>
                  </a:ext>
                </a:extLst>
              </p:cNvPr>
              <p:cNvSpPr/>
              <p:nvPr/>
            </p:nvSpPr>
            <p:spPr>
              <a:xfrm rot="520759">
                <a:off x="5743714" y="3948570"/>
                <a:ext cx="42109" cy="35480"/>
              </a:xfrm>
              <a:custGeom>
                <a:avLst/>
                <a:gdLst/>
                <a:ahLst/>
                <a:cxnLst/>
                <a:rect l="l" t="t" r="r" b="b"/>
                <a:pathLst>
                  <a:path w="470" h="396" extrusionOk="0">
                    <a:moveTo>
                      <a:pt x="249" y="1"/>
                    </a:moveTo>
                    <a:cubicBezTo>
                      <a:pt x="105" y="1"/>
                      <a:pt x="0" y="160"/>
                      <a:pt x="79" y="296"/>
                    </a:cubicBezTo>
                    <a:cubicBezTo>
                      <a:pt x="117" y="364"/>
                      <a:pt x="183" y="396"/>
                      <a:pt x="249" y="396"/>
                    </a:cubicBezTo>
                    <a:cubicBezTo>
                      <a:pt x="333" y="396"/>
                      <a:pt x="415" y="345"/>
                      <a:pt x="441" y="250"/>
                    </a:cubicBezTo>
                    <a:cubicBezTo>
                      <a:pt x="469" y="146"/>
                      <a:pt x="408" y="37"/>
                      <a:pt x="304" y="8"/>
                    </a:cubicBezTo>
                    <a:cubicBezTo>
                      <a:pt x="285" y="3"/>
                      <a:pt x="267" y="1"/>
                      <a:pt x="249" y="1"/>
                    </a:cubicBezTo>
                    <a:close/>
                  </a:path>
                </a:pathLst>
              </a:custGeom>
              <a:solidFill>
                <a:srgbClr val="322C2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9" name="Google Shape;1401;p38">
                <a:extLst>
                  <a:ext uri="{FF2B5EF4-FFF2-40B4-BE49-F238E27FC236}">
                    <a16:creationId xmlns:a16="http://schemas.microsoft.com/office/drawing/2014/main" id="{22F4EA92-5F70-B7D7-DE08-B8CEC8BAFC98}"/>
                  </a:ext>
                </a:extLst>
              </p:cNvPr>
              <p:cNvSpPr/>
              <p:nvPr/>
            </p:nvSpPr>
            <p:spPr>
              <a:xfrm rot="520759">
                <a:off x="5764977" y="4144256"/>
                <a:ext cx="44259" cy="120865"/>
              </a:xfrm>
              <a:custGeom>
                <a:avLst/>
                <a:gdLst/>
                <a:ahLst/>
                <a:cxnLst/>
                <a:rect l="l" t="t" r="r" b="b"/>
                <a:pathLst>
                  <a:path w="494" h="1349" extrusionOk="0">
                    <a:moveTo>
                      <a:pt x="405" y="0"/>
                    </a:moveTo>
                    <a:cubicBezTo>
                      <a:pt x="379" y="0"/>
                      <a:pt x="355" y="17"/>
                      <a:pt x="348" y="43"/>
                    </a:cubicBezTo>
                    <a:lnTo>
                      <a:pt x="8" y="1267"/>
                    </a:lnTo>
                    <a:cubicBezTo>
                      <a:pt x="0" y="1298"/>
                      <a:pt x="18" y="1331"/>
                      <a:pt x="50" y="1340"/>
                    </a:cubicBezTo>
                    <a:lnTo>
                      <a:pt x="73" y="1346"/>
                    </a:lnTo>
                    <a:cubicBezTo>
                      <a:pt x="79" y="1348"/>
                      <a:pt x="84" y="1348"/>
                      <a:pt x="90" y="1348"/>
                    </a:cubicBezTo>
                    <a:cubicBezTo>
                      <a:pt x="115" y="1348"/>
                      <a:pt x="139" y="1332"/>
                      <a:pt x="147" y="1306"/>
                    </a:cubicBezTo>
                    <a:lnTo>
                      <a:pt x="485" y="82"/>
                    </a:lnTo>
                    <a:cubicBezTo>
                      <a:pt x="494" y="50"/>
                      <a:pt x="475" y="17"/>
                      <a:pt x="443" y="8"/>
                    </a:cubicBezTo>
                    <a:lnTo>
                      <a:pt x="421" y="3"/>
                    </a:lnTo>
                    <a:cubicBezTo>
                      <a:pt x="415" y="1"/>
                      <a:pt x="410" y="0"/>
                      <a:pt x="40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1402;p38">
                <a:extLst>
                  <a:ext uri="{FF2B5EF4-FFF2-40B4-BE49-F238E27FC236}">
                    <a16:creationId xmlns:a16="http://schemas.microsoft.com/office/drawing/2014/main" id="{74E595BC-850C-79A7-20C3-3F71E1FC3D77}"/>
                  </a:ext>
                </a:extLst>
              </p:cNvPr>
              <p:cNvSpPr/>
              <p:nvPr/>
            </p:nvSpPr>
            <p:spPr>
              <a:xfrm rot="520759">
                <a:off x="5737211" y="4161452"/>
                <a:ext cx="99718" cy="86371"/>
              </a:xfrm>
              <a:custGeom>
                <a:avLst/>
                <a:gdLst/>
                <a:ahLst/>
                <a:cxnLst/>
                <a:rect l="l" t="t" r="r" b="b"/>
                <a:pathLst>
                  <a:path w="1113" h="964" extrusionOk="0">
                    <a:moveTo>
                      <a:pt x="1032" y="0"/>
                    </a:moveTo>
                    <a:cubicBezTo>
                      <a:pt x="1018" y="0"/>
                      <a:pt x="1004" y="5"/>
                      <a:pt x="993" y="15"/>
                    </a:cubicBezTo>
                    <a:lnTo>
                      <a:pt x="27" y="841"/>
                    </a:lnTo>
                    <a:cubicBezTo>
                      <a:pt x="3" y="862"/>
                      <a:pt x="0" y="899"/>
                      <a:pt x="21" y="924"/>
                    </a:cubicBezTo>
                    <a:lnTo>
                      <a:pt x="38" y="942"/>
                    </a:lnTo>
                    <a:cubicBezTo>
                      <a:pt x="49" y="956"/>
                      <a:pt x="66" y="964"/>
                      <a:pt x="83" y="964"/>
                    </a:cubicBezTo>
                    <a:cubicBezTo>
                      <a:pt x="96" y="964"/>
                      <a:pt x="110" y="959"/>
                      <a:pt x="121" y="950"/>
                    </a:cubicBezTo>
                    <a:lnTo>
                      <a:pt x="1086" y="122"/>
                    </a:lnTo>
                    <a:cubicBezTo>
                      <a:pt x="1110" y="101"/>
                      <a:pt x="1113" y="64"/>
                      <a:pt x="1092" y="40"/>
                    </a:cubicBezTo>
                    <a:lnTo>
                      <a:pt x="1075" y="21"/>
                    </a:lnTo>
                    <a:cubicBezTo>
                      <a:pt x="1064" y="7"/>
                      <a:pt x="1048" y="0"/>
                      <a:pt x="103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1" name="Google Shape;1403;p38">
                <a:extLst>
                  <a:ext uri="{FF2B5EF4-FFF2-40B4-BE49-F238E27FC236}">
                    <a16:creationId xmlns:a16="http://schemas.microsoft.com/office/drawing/2014/main" id="{7F035FB6-64E4-C46D-DCFA-54CC8FF71BA1}"/>
                  </a:ext>
                </a:extLst>
              </p:cNvPr>
              <p:cNvSpPr/>
              <p:nvPr/>
            </p:nvSpPr>
            <p:spPr>
              <a:xfrm rot="520759">
                <a:off x="5725838" y="4183948"/>
                <a:ext cx="122564" cy="41304"/>
              </a:xfrm>
              <a:custGeom>
                <a:avLst/>
                <a:gdLst/>
                <a:ahLst/>
                <a:cxnLst/>
                <a:rect l="l" t="t" r="r" b="b"/>
                <a:pathLst>
                  <a:path w="1368" h="461" extrusionOk="0">
                    <a:moveTo>
                      <a:pt x="1297" y="0"/>
                    </a:moveTo>
                    <a:cubicBezTo>
                      <a:pt x="1292" y="0"/>
                      <a:pt x="1287" y="1"/>
                      <a:pt x="1281" y="2"/>
                    </a:cubicBezTo>
                    <a:lnTo>
                      <a:pt x="51" y="320"/>
                    </a:lnTo>
                    <a:cubicBezTo>
                      <a:pt x="20" y="329"/>
                      <a:pt x="0" y="360"/>
                      <a:pt x="8" y="393"/>
                    </a:cubicBezTo>
                    <a:lnTo>
                      <a:pt x="15" y="417"/>
                    </a:lnTo>
                    <a:cubicBezTo>
                      <a:pt x="22" y="443"/>
                      <a:pt x="46" y="460"/>
                      <a:pt x="73" y="460"/>
                    </a:cubicBezTo>
                    <a:cubicBezTo>
                      <a:pt x="77" y="460"/>
                      <a:pt x="82" y="460"/>
                      <a:pt x="87" y="459"/>
                    </a:cubicBezTo>
                    <a:lnTo>
                      <a:pt x="1317" y="141"/>
                    </a:lnTo>
                    <a:cubicBezTo>
                      <a:pt x="1349" y="132"/>
                      <a:pt x="1368" y="99"/>
                      <a:pt x="1359" y="68"/>
                    </a:cubicBezTo>
                    <a:lnTo>
                      <a:pt x="1353" y="44"/>
                    </a:lnTo>
                    <a:cubicBezTo>
                      <a:pt x="1347" y="18"/>
                      <a:pt x="1323" y="0"/>
                      <a:pt x="129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2" name="Google Shape;1404;p38">
                <a:extLst>
                  <a:ext uri="{FF2B5EF4-FFF2-40B4-BE49-F238E27FC236}">
                    <a16:creationId xmlns:a16="http://schemas.microsoft.com/office/drawing/2014/main" id="{4827E265-EB9A-73D3-D356-66E305ED2758}"/>
                  </a:ext>
                </a:extLst>
              </p:cNvPr>
              <p:cNvSpPr/>
              <p:nvPr/>
            </p:nvSpPr>
            <p:spPr>
              <a:xfrm rot="520759">
                <a:off x="5726107" y="4182962"/>
                <a:ext cx="122026" cy="43275"/>
              </a:xfrm>
              <a:custGeom>
                <a:avLst/>
                <a:gdLst/>
                <a:ahLst/>
                <a:cxnLst/>
                <a:rect l="l" t="t" r="r" b="b"/>
                <a:pathLst>
                  <a:path w="1362" h="483" extrusionOk="0">
                    <a:moveTo>
                      <a:pt x="71" y="1"/>
                    </a:moveTo>
                    <a:cubicBezTo>
                      <a:pt x="46" y="1"/>
                      <a:pt x="23" y="19"/>
                      <a:pt x="15" y="45"/>
                    </a:cubicBezTo>
                    <a:lnTo>
                      <a:pt x="8" y="69"/>
                    </a:lnTo>
                    <a:cubicBezTo>
                      <a:pt x="0" y="100"/>
                      <a:pt x="18" y="131"/>
                      <a:pt x="50" y="140"/>
                    </a:cubicBezTo>
                    <a:lnTo>
                      <a:pt x="1274" y="480"/>
                    </a:lnTo>
                    <a:cubicBezTo>
                      <a:pt x="1279" y="482"/>
                      <a:pt x="1284" y="482"/>
                      <a:pt x="1290" y="482"/>
                    </a:cubicBezTo>
                    <a:cubicBezTo>
                      <a:pt x="1315" y="482"/>
                      <a:pt x="1340" y="464"/>
                      <a:pt x="1347" y="438"/>
                    </a:cubicBezTo>
                    <a:lnTo>
                      <a:pt x="1353" y="415"/>
                    </a:lnTo>
                    <a:cubicBezTo>
                      <a:pt x="1362" y="383"/>
                      <a:pt x="1343" y="350"/>
                      <a:pt x="1311" y="343"/>
                    </a:cubicBezTo>
                    <a:lnTo>
                      <a:pt x="87" y="3"/>
                    </a:lnTo>
                    <a:cubicBezTo>
                      <a:pt x="82" y="1"/>
                      <a:pt x="77" y="1"/>
                      <a:pt x="71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3" name="Google Shape;1405;p38">
                <a:extLst>
                  <a:ext uri="{FF2B5EF4-FFF2-40B4-BE49-F238E27FC236}">
                    <a16:creationId xmlns:a16="http://schemas.microsoft.com/office/drawing/2014/main" id="{C16735D7-2F54-0B96-2A8C-F287BDDD2408}"/>
                  </a:ext>
                </a:extLst>
              </p:cNvPr>
              <p:cNvSpPr/>
              <p:nvPr/>
            </p:nvSpPr>
            <p:spPr>
              <a:xfrm rot="520759">
                <a:off x="5740553" y="4157781"/>
                <a:ext cx="93088" cy="93359"/>
              </a:xfrm>
              <a:custGeom>
                <a:avLst/>
                <a:gdLst/>
                <a:ahLst/>
                <a:cxnLst/>
                <a:rect l="l" t="t" r="r" b="b"/>
                <a:pathLst>
                  <a:path w="1039" h="1042" extrusionOk="0">
                    <a:moveTo>
                      <a:pt x="83" y="0"/>
                    </a:moveTo>
                    <a:cubicBezTo>
                      <a:pt x="68" y="0"/>
                      <a:pt x="53" y="6"/>
                      <a:pt x="42" y="17"/>
                    </a:cubicBezTo>
                    <a:lnTo>
                      <a:pt x="24" y="35"/>
                    </a:lnTo>
                    <a:cubicBezTo>
                      <a:pt x="1" y="57"/>
                      <a:pt x="1" y="95"/>
                      <a:pt x="24" y="118"/>
                    </a:cubicBezTo>
                    <a:lnTo>
                      <a:pt x="915" y="1024"/>
                    </a:lnTo>
                    <a:cubicBezTo>
                      <a:pt x="926" y="1036"/>
                      <a:pt x="941" y="1042"/>
                      <a:pt x="957" y="1042"/>
                    </a:cubicBezTo>
                    <a:cubicBezTo>
                      <a:pt x="971" y="1042"/>
                      <a:pt x="986" y="1036"/>
                      <a:pt x="998" y="1025"/>
                    </a:cubicBezTo>
                    <a:lnTo>
                      <a:pt x="1015" y="1007"/>
                    </a:lnTo>
                    <a:cubicBezTo>
                      <a:pt x="1038" y="985"/>
                      <a:pt x="1038" y="948"/>
                      <a:pt x="1016" y="924"/>
                    </a:cubicBezTo>
                    <a:lnTo>
                      <a:pt x="126" y="19"/>
                    </a:lnTo>
                    <a:cubicBezTo>
                      <a:pt x="114" y="6"/>
                      <a:pt x="98" y="0"/>
                      <a:pt x="8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5" name="Google Shape;1406;p38">
                <a:extLst>
                  <a:ext uri="{FF2B5EF4-FFF2-40B4-BE49-F238E27FC236}">
                    <a16:creationId xmlns:a16="http://schemas.microsoft.com/office/drawing/2014/main" id="{8B54603D-87BB-790F-54E8-875D45E6B1F1}"/>
                  </a:ext>
                </a:extLst>
              </p:cNvPr>
              <p:cNvSpPr/>
              <p:nvPr/>
            </p:nvSpPr>
            <p:spPr>
              <a:xfrm rot="520759">
                <a:off x="5763288" y="4144533"/>
                <a:ext cx="47753" cy="120148"/>
              </a:xfrm>
              <a:custGeom>
                <a:avLst/>
                <a:gdLst/>
                <a:ahLst/>
                <a:cxnLst/>
                <a:rect l="l" t="t" r="r" b="b"/>
                <a:pathLst>
                  <a:path w="533" h="1341" extrusionOk="0">
                    <a:moveTo>
                      <a:pt x="91" y="1"/>
                    </a:moveTo>
                    <a:cubicBezTo>
                      <a:pt x="85" y="1"/>
                      <a:pt x="79" y="2"/>
                      <a:pt x="73" y="4"/>
                    </a:cubicBezTo>
                    <a:lnTo>
                      <a:pt x="49" y="11"/>
                    </a:lnTo>
                    <a:cubicBezTo>
                      <a:pt x="18" y="20"/>
                      <a:pt x="0" y="53"/>
                      <a:pt x="10" y="85"/>
                    </a:cubicBezTo>
                    <a:lnTo>
                      <a:pt x="385" y="1298"/>
                    </a:lnTo>
                    <a:cubicBezTo>
                      <a:pt x="393" y="1324"/>
                      <a:pt x="417" y="1341"/>
                      <a:pt x="443" y="1341"/>
                    </a:cubicBezTo>
                    <a:cubicBezTo>
                      <a:pt x="448" y="1341"/>
                      <a:pt x="454" y="1340"/>
                      <a:pt x="459" y="1339"/>
                    </a:cubicBezTo>
                    <a:lnTo>
                      <a:pt x="483" y="1331"/>
                    </a:lnTo>
                    <a:cubicBezTo>
                      <a:pt x="514" y="1321"/>
                      <a:pt x="532" y="1288"/>
                      <a:pt x="522" y="1257"/>
                    </a:cubicBezTo>
                    <a:lnTo>
                      <a:pt x="148" y="43"/>
                    </a:lnTo>
                    <a:cubicBezTo>
                      <a:pt x="139" y="18"/>
                      <a:pt x="116" y="1"/>
                      <a:pt x="91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6" name="Google Shape;1407;p38">
                <a:extLst>
                  <a:ext uri="{FF2B5EF4-FFF2-40B4-BE49-F238E27FC236}">
                    <a16:creationId xmlns:a16="http://schemas.microsoft.com/office/drawing/2014/main" id="{996A3186-1C69-148D-9A0F-A13CC01A8D9E}"/>
                  </a:ext>
                </a:extLst>
              </p:cNvPr>
              <p:cNvSpPr/>
              <p:nvPr/>
            </p:nvSpPr>
            <p:spPr>
              <a:xfrm rot="520759">
                <a:off x="5770169" y="4191864"/>
                <a:ext cx="28491" cy="24101"/>
              </a:xfrm>
              <a:custGeom>
                <a:avLst/>
                <a:gdLst/>
                <a:ahLst/>
                <a:cxnLst/>
                <a:rect l="l" t="t" r="r" b="b"/>
                <a:pathLst>
                  <a:path w="318" h="269" extrusionOk="0">
                    <a:moveTo>
                      <a:pt x="167" y="1"/>
                    </a:moveTo>
                    <a:cubicBezTo>
                      <a:pt x="70" y="1"/>
                      <a:pt x="1" y="109"/>
                      <a:pt x="52" y="200"/>
                    </a:cubicBezTo>
                    <a:cubicBezTo>
                      <a:pt x="78" y="247"/>
                      <a:pt x="123" y="268"/>
                      <a:pt x="168" y="268"/>
                    </a:cubicBezTo>
                    <a:cubicBezTo>
                      <a:pt x="224" y="268"/>
                      <a:pt x="280" y="234"/>
                      <a:pt x="298" y="170"/>
                    </a:cubicBezTo>
                    <a:cubicBezTo>
                      <a:pt x="318" y="99"/>
                      <a:pt x="276" y="26"/>
                      <a:pt x="204" y="6"/>
                    </a:cubicBezTo>
                    <a:cubicBezTo>
                      <a:pt x="192" y="3"/>
                      <a:pt x="179" y="1"/>
                      <a:pt x="167" y="1"/>
                    </a:cubicBezTo>
                    <a:close/>
                  </a:path>
                </a:pathLst>
              </a:custGeom>
              <a:solidFill>
                <a:srgbClr val="322C2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7" name="Google Shape;1408;p38">
                <a:extLst>
                  <a:ext uri="{FF2B5EF4-FFF2-40B4-BE49-F238E27FC236}">
                    <a16:creationId xmlns:a16="http://schemas.microsoft.com/office/drawing/2014/main" id="{00D1BBD0-3BEB-8459-D731-AF5FDF5A6FBC}"/>
                  </a:ext>
                </a:extLst>
              </p:cNvPr>
              <p:cNvSpPr/>
              <p:nvPr/>
            </p:nvSpPr>
            <p:spPr>
              <a:xfrm rot="520759">
                <a:off x="5579164" y="4386620"/>
                <a:ext cx="44349" cy="120865"/>
              </a:xfrm>
              <a:custGeom>
                <a:avLst/>
                <a:gdLst/>
                <a:ahLst/>
                <a:cxnLst/>
                <a:rect l="l" t="t" r="r" b="b"/>
                <a:pathLst>
                  <a:path w="495" h="1349" extrusionOk="0">
                    <a:moveTo>
                      <a:pt x="405" y="0"/>
                    </a:moveTo>
                    <a:cubicBezTo>
                      <a:pt x="379" y="0"/>
                      <a:pt x="355" y="17"/>
                      <a:pt x="348" y="43"/>
                    </a:cubicBezTo>
                    <a:lnTo>
                      <a:pt x="8" y="1267"/>
                    </a:lnTo>
                    <a:cubicBezTo>
                      <a:pt x="1" y="1298"/>
                      <a:pt x="19" y="1331"/>
                      <a:pt x="50" y="1340"/>
                    </a:cubicBezTo>
                    <a:lnTo>
                      <a:pt x="74" y="1346"/>
                    </a:lnTo>
                    <a:cubicBezTo>
                      <a:pt x="79" y="1347"/>
                      <a:pt x="85" y="1348"/>
                      <a:pt x="90" y="1348"/>
                    </a:cubicBezTo>
                    <a:cubicBezTo>
                      <a:pt x="116" y="1348"/>
                      <a:pt x="139" y="1331"/>
                      <a:pt x="147" y="1306"/>
                    </a:cubicBezTo>
                    <a:lnTo>
                      <a:pt x="485" y="81"/>
                    </a:lnTo>
                    <a:cubicBezTo>
                      <a:pt x="494" y="50"/>
                      <a:pt x="476" y="17"/>
                      <a:pt x="445" y="8"/>
                    </a:cubicBezTo>
                    <a:lnTo>
                      <a:pt x="421" y="2"/>
                    </a:lnTo>
                    <a:cubicBezTo>
                      <a:pt x="416" y="1"/>
                      <a:pt x="410" y="0"/>
                      <a:pt x="40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8" name="Google Shape;1409;p38">
                <a:extLst>
                  <a:ext uri="{FF2B5EF4-FFF2-40B4-BE49-F238E27FC236}">
                    <a16:creationId xmlns:a16="http://schemas.microsoft.com/office/drawing/2014/main" id="{86D5C6A4-E258-0445-4A8A-80D38B624559}"/>
                  </a:ext>
                </a:extLst>
              </p:cNvPr>
              <p:cNvSpPr/>
              <p:nvPr/>
            </p:nvSpPr>
            <p:spPr>
              <a:xfrm rot="520759">
                <a:off x="5551398" y="4403809"/>
                <a:ext cx="99718" cy="86371"/>
              </a:xfrm>
              <a:custGeom>
                <a:avLst/>
                <a:gdLst/>
                <a:ahLst/>
                <a:cxnLst/>
                <a:rect l="l" t="t" r="r" b="b"/>
                <a:pathLst>
                  <a:path w="1113" h="964" extrusionOk="0">
                    <a:moveTo>
                      <a:pt x="1031" y="1"/>
                    </a:moveTo>
                    <a:cubicBezTo>
                      <a:pt x="1017" y="1"/>
                      <a:pt x="1004" y="5"/>
                      <a:pt x="994" y="15"/>
                    </a:cubicBezTo>
                    <a:lnTo>
                      <a:pt x="29" y="841"/>
                    </a:lnTo>
                    <a:cubicBezTo>
                      <a:pt x="3" y="862"/>
                      <a:pt x="0" y="899"/>
                      <a:pt x="21" y="924"/>
                    </a:cubicBezTo>
                    <a:lnTo>
                      <a:pt x="38" y="944"/>
                    </a:lnTo>
                    <a:cubicBezTo>
                      <a:pt x="49" y="957"/>
                      <a:pt x="66" y="964"/>
                      <a:pt x="82" y="964"/>
                    </a:cubicBezTo>
                    <a:cubicBezTo>
                      <a:pt x="96" y="964"/>
                      <a:pt x="110" y="959"/>
                      <a:pt x="121" y="950"/>
                    </a:cubicBezTo>
                    <a:lnTo>
                      <a:pt x="1086" y="123"/>
                    </a:lnTo>
                    <a:cubicBezTo>
                      <a:pt x="1111" y="103"/>
                      <a:pt x="1113" y="65"/>
                      <a:pt x="1092" y="40"/>
                    </a:cubicBezTo>
                    <a:lnTo>
                      <a:pt x="1076" y="22"/>
                    </a:lnTo>
                    <a:cubicBezTo>
                      <a:pt x="1064" y="8"/>
                      <a:pt x="1047" y="1"/>
                      <a:pt x="1031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9" name="Google Shape;1410;p38">
                <a:extLst>
                  <a:ext uri="{FF2B5EF4-FFF2-40B4-BE49-F238E27FC236}">
                    <a16:creationId xmlns:a16="http://schemas.microsoft.com/office/drawing/2014/main" id="{EFF5096D-69C7-8D0C-F8DB-A1DB1AECD167}"/>
                  </a:ext>
                </a:extLst>
              </p:cNvPr>
              <p:cNvSpPr/>
              <p:nvPr/>
            </p:nvSpPr>
            <p:spPr>
              <a:xfrm rot="520759">
                <a:off x="5539224" y="4427361"/>
                <a:ext cx="122564" cy="41393"/>
              </a:xfrm>
              <a:custGeom>
                <a:avLst/>
                <a:gdLst/>
                <a:ahLst/>
                <a:cxnLst/>
                <a:rect l="l" t="t" r="r" b="b"/>
                <a:pathLst>
                  <a:path w="1368" h="462" extrusionOk="0">
                    <a:moveTo>
                      <a:pt x="1295" y="1"/>
                    </a:moveTo>
                    <a:cubicBezTo>
                      <a:pt x="1291" y="1"/>
                      <a:pt x="1286" y="2"/>
                      <a:pt x="1281" y="3"/>
                    </a:cubicBezTo>
                    <a:lnTo>
                      <a:pt x="51" y="320"/>
                    </a:lnTo>
                    <a:cubicBezTo>
                      <a:pt x="20" y="329"/>
                      <a:pt x="0" y="361"/>
                      <a:pt x="9" y="393"/>
                    </a:cubicBezTo>
                    <a:lnTo>
                      <a:pt x="15" y="417"/>
                    </a:lnTo>
                    <a:cubicBezTo>
                      <a:pt x="23" y="443"/>
                      <a:pt x="46" y="461"/>
                      <a:pt x="71" y="461"/>
                    </a:cubicBezTo>
                    <a:cubicBezTo>
                      <a:pt x="76" y="461"/>
                      <a:pt x="82" y="460"/>
                      <a:pt x="87" y="459"/>
                    </a:cubicBezTo>
                    <a:lnTo>
                      <a:pt x="1317" y="141"/>
                    </a:lnTo>
                    <a:cubicBezTo>
                      <a:pt x="1348" y="132"/>
                      <a:pt x="1368" y="101"/>
                      <a:pt x="1359" y="70"/>
                    </a:cubicBezTo>
                    <a:lnTo>
                      <a:pt x="1353" y="46"/>
                    </a:lnTo>
                    <a:cubicBezTo>
                      <a:pt x="1346" y="18"/>
                      <a:pt x="1322" y="1"/>
                      <a:pt x="1295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0" name="Google Shape;1411;p38">
                <a:extLst>
                  <a:ext uri="{FF2B5EF4-FFF2-40B4-BE49-F238E27FC236}">
                    <a16:creationId xmlns:a16="http://schemas.microsoft.com/office/drawing/2014/main" id="{87AC147A-D749-909C-3048-B551CE75F8C9}"/>
                  </a:ext>
                </a:extLst>
              </p:cNvPr>
              <p:cNvSpPr/>
              <p:nvPr/>
            </p:nvSpPr>
            <p:spPr>
              <a:xfrm rot="520759">
                <a:off x="5540288" y="4425415"/>
                <a:ext cx="122116" cy="43185"/>
              </a:xfrm>
              <a:custGeom>
                <a:avLst/>
                <a:gdLst/>
                <a:ahLst/>
                <a:cxnLst/>
                <a:rect l="l" t="t" r="r" b="b"/>
                <a:pathLst>
                  <a:path w="1363" h="482" extrusionOk="0">
                    <a:moveTo>
                      <a:pt x="72" y="1"/>
                    </a:moveTo>
                    <a:cubicBezTo>
                      <a:pt x="47" y="1"/>
                      <a:pt x="23" y="18"/>
                      <a:pt x="16" y="44"/>
                    </a:cubicBezTo>
                    <a:lnTo>
                      <a:pt x="8" y="67"/>
                    </a:lnTo>
                    <a:cubicBezTo>
                      <a:pt x="1" y="99"/>
                      <a:pt x="19" y="132"/>
                      <a:pt x="50" y="140"/>
                    </a:cubicBezTo>
                    <a:lnTo>
                      <a:pt x="1274" y="479"/>
                    </a:lnTo>
                    <a:cubicBezTo>
                      <a:pt x="1280" y="481"/>
                      <a:pt x="1285" y="481"/>
                      <a:pt x="1291" y="481"/>
                    </a:cubicBezTo>
                    <a:cubicBezTo>
                      <a:pt x="1316" y="481"/>
                      <a:pt x="1340" y="465"/>
                      <a:pt x="1347" y="439"/>
                    </a:cubicBezTo>
                    <a:lnTo>
                      <a:pt x="1353" y="415"/>
                    </a:lnTo>
                    <a:cubicBezTo>
                      <a:pt x="1362" y="384"/>
                      <a:pt x="1344" y="351"/>
                      <a:pt x="1311" y="342"/>
                    </a:cubicBezTo>
                    <a:lnTo>
                      <a:pt x="89" y="3"/>
                    </a:lnTo>
                    <a:cubicBezTo>
                      <a:pt x="83" y="2"/>
                      <a:pt x="78" y="1"/>
                      <a:pt x="7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1412;p38">
                <a:extLst>
                  <a:ext uri="{FF2B5EF4-FFF2-40B4-BE49-F238E27FC236}">
                    <a16:creationId xmlns:a16="http://schemas.microsoft.com/office/drawing/2014/main" id="{511B4ACD-7E99-B9BA-487C-423B879C3E34}"/>
                  </a:ext>
                </a:extLst>
              </p:cNvPr>
              <p:cNvSpPr/>
              <p:nvPr/>
            </p:nvSpPr>
            <p:spPr>
              <a:xfrm rot="520759">
                <a:off x="5554701" y="4401582"/>
                <a:ext cx="93088" cy="93359"/>
              </a:xfrm>
              <a:custGeom>
                <a:avLst/>
                <a:gdLst/>
                <a:ahLst/>
                <a:cxnLst/>
                <a:rect l="l" t="t" r="r" b="b"/>
                <a:pathLst>
                  <a:path w="1039" h="1042" extrusionOk="0">
                    <a:moveTo>
                      <a:pt x="82" y="1"/>
                    </a:moveTo>
                    <a:cubicBezTo>
                      <a:pt x="67" y="1"/>
                      <a:pt x="52" y="6"/>
                      <a:pt x="40" y="17"/>
                    </a:cubicBezTo>
                    <a:lnTo>
                      <a:pt x="23" y="35"/>
                    </a:lnTo>
                    <a:cubicBezTo>
                      <a:pt x="0" y="58"/>
                      <a:pt x="0" y="95"/>
                      <a:pt x="23" y="119"/>
                    </a:cubicBezTo>
                    <a:lnTo>
                      <a:pt x="913" y="1024"/>
                    </a:lnTo>
                    <a:cubicBezTo>
                      <a:pt x="925" y="1036"/>
                      <a:pt x="940" y="1042"/>
                      <a:pt x="955" y="1042"/>
                    </a:cubicBezTo>
                    <a:cubicBezTo>
                      <a:pt x="969" y="1042"/>
                      <a:pt x="984" y="1036"/>
                      <a:pt x="996" y="1024"/>
                    </a:cubicBezTo>
                    <a:lnTo>
                      <a:pt x="1014" y="1007"/>
                    </a:lnTo>
                    <a:cubicBezTo>
                      <a:pt x="1038" y="985"/>
                      <a:pt x="1038" y="948"/>
                      <a:pt x="1014" y="924"/>
                    </a:cubicBezTo>
                    <a:lnTo>
                      <a:pt x="124" y="19"/>
                    </a:lnTo>
                    <a:cubicBezTo>
                      <a:pt x="113" y="7"/>
                      <a:pt x="97" y="1"/>
                      <a:pt x="82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2" name="Google Shape;1413;p38">
                <a:extLst>
                  <a:ext uri="{FF2B5EF4-FFF2-40B4-BE49-F238E27FC236}">
                    <a16:creationId xmlns:a16="http://schemas.microsoft.com/office/drawing/2014/main" id="{73EC0363-3125-40D9-6219-74D33D1955BB}"/>
                  </a:ext>
                </a:extLst>
              </p:cNvPr>
              <p:cNvSpPr/>
              <p:nvPr/>
            </p:nvSpPr>
            <p:spPr>
              <a:xfrm rot="520759">
                <a:off x="5577462" y="4386978"/>
                <a:ext cx="47753" cy="120148"/>
              </a:xfrm>
              <a:custGeom>
                <a:avLst/>
                <a:gdLst/>
                <a:ahLst/>
                <a:cxnLst/>
                <a:rect l="l" t="t" r="r" b="b"/>
                <a:pathLst>
                  <a:path w="533" h="1341" extrusionOk="0">
                    <a:moveTo>
                      <a:pt x="91" y="0"/>
                    </a:moveTo>
                    <a:cubicBezTo>
                      <a:pt x="85" y="0"/>
                      <a:pt x="79" y="1"/>
                      <a:pt x="73" y="3"/>
                    </a:cubicBezTo>
                    <a:lnTo>
                      <a:pt x="49" y="10"/>
                    </a:lnTo>
                    <a:cubicBezTo>
                      <a:pt x="18" y="19"/>
                      <a:pt x="0" y="54"/>
                      <a:pt x="11" y="85"/>
                    </a:cubicBezTo>
                    <a:lnTo>
                      <a:pt x="385" y="1299"/>
                    </a:lnTo>
                    <a:cubicBezTo>
                      <a:pt x="392" y="1324"/>
                      <a:pt x="416" y="1340"/>
                      <a:pt x="441" y="1340"/>
                    </a:cubicBezTo>
                    <a:cubicBezTo>
                      <a:pt x="447" y="1340"/>
                      <a:pt x="453" y="1339"/>
                      <a:pt x="460" y="1337"/>
                    </a:cubicBezTo>
                    <a:lnTo>
                      <a:pt x="483" y="1330"/>
                    </a:lnTo>
                    <a:cubicBezTo>
                      <a:pt x="515" y="1321"/>
                      <a:pt x="533" y="1287"/>
                      <a:pt x="522" y="1255"/>
                    </a:cubicBezTo>
                    <a:lnTo>
                      <a:pt x="148" y="42"/>
                    </a:lnTo>
                    <a:cubicBezTo>
                      <a:pt x="139" y="16"/>
                      <a:pt x="116" y="0"/>
                      <a:pt x="91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3" name="Google Shape;1414;p38">
                <a:extLst>
                  <a:ext uri="{FF2B5EF4-FFF2-40B4-BE49-F238E27FC236}">
                    <a16:creationId xmlns:a16="http://schemas.microsoft.com/office/drawing/2014/main" id="{7135CF94-619C-482C-01E9-F6A589DFA8A6}"/>
                  </a:ext>
                </a:extLst>
              </p:cNvPr>
              <p:cNvSpPr/>
              <p:nvPr/>
            </p:nvSpPr>
            <p:spPr>
              <a:xfrm rot="520759">
                <a:off x="5584336" y="4434399"/>
                <a:ext cx="28491" cy="24012"/>
              </a:xfrm>
              <a:custGeom>
                <a:avLst/>
                <a:gdLst/>
                <a:ahLst/>
                <a:cxnLst/>
                <a:rect l="l" t="t" r="r" b="b"/>
                <a:pathLst>
                  <a:path w="318" h="268" extrusionOk="0">
                    <a:moveTo>
                      <a:pt x="168" y="0"/>
                    </a:moveTo>
                    <a:cubicBezTo>
                      <a:pt x="70" y="0"/>
                      <a:pt x="1" y="108"/>
                      <a:pt x="52" y="199"/>
                    </a:cubicBezTo>
                    <a:cubicBezTo>
                      <a:pt x="79" y="246"/>
                      <a:pt x="124" y="268"/>
                      <a:pt x="169" y="268"/>
                    </a:cubicBezTo>
                    <a:cubicBezTo>
                      <a:pt x="225" y="268"/>
                      <a:pt x="281" y="233"/>
                      <a:pt x="299" y="170"/>
                    </a:cubicBezTo>
                    <a:cubicBezTo>
                      <a:pt x="318" y="98"/>
                      <a:pt x="276" y="25"/>
                      <a:pt x="206" y="6"/>
                    </a:cubicBezTo>
                    <a:cubicBezTo>
                      <a:pt x="193" y="2"/>
                      <a:pt x="180" y="0"/>
                      <a:pt x="168" y="0"/>
                    </a:cubicBezTo>
                    <a:close/>
                  </a:path>
                </a:pathLst>
              </a:custGeom>
              <a:solidFill>
                <a:srgbClr val="322C2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6" name="Google Shape;1415;p38">
              <a:extLst>
                <a:ext uri="{FF2B5EF4-FFF2-40B4-BE49-F238E27FC236}">
                  <a16:creationId xmlns:a16="http://schemas.microsoft.com/office/drawing/2014/main" id="{21CA05BB-3026-03CC-341D-BE9D254445F6}"/>
                </a:ext>
              </a:extLst>
            </p:cNvPr>
            <p:cNvGrpSpPr/>
            <p:nvPr/>
          </p:nvGrpSpPr>
          <p:grpSpPr>
            <a:xfrm rot="-4190166">
              <a:off x="7114851" y="4454672"/>
              <a:ext cx="153157" cy="117292"/>
              <a:chOff x="7114848" y="4454681"/>
              <a:chExt cx="336698" cy="257873"/>
            </a:xfrm>
          </p:grpSpPr>
          <p:sp>
            <p:nvSpPr>
              <p:cNvPr id="14" name="Google Shape;1416;p38">
                <a:extLst>
                  <a:ext uri="{FF2B5EF4-FFF2-40B4-BE49-F238E27FC236}">
                    <a16:creationId xmlns:a16="http://schemas.microsoft.com/office/drawing/2014/main" id="{EE4E5D0A-36B0-3259-BA78-DCC634500273}"/>
                  </a:ext>
                </a:extLst>
              </p:cNvPr>
              <p:cNvSpPr/>
              <p:nvPr/>
            </p:nvSpPr>
            <p:spPr>
              <a:xfrm>
                <a:off x="7178190" y="4454681"/>
                <a:ext cx="273356" cy="250459"/>
              </a:xfrm>
              <a:custGeom>
                <a:avLst/>
                <a:gdLst/>
                <a:ahLst/>
                <a:cxnLst/>
                <a:rect l="l" t="t" r="r" b="b"/>
                <a:pathLst>
                  <a:path w="2913" h="2669" extrusionOk="0">
                    <a:moveTo>
                      <a:pt x="2709" y="1"/>
                    </a:moveTo>
                    <a:cubicBezTo>
                      <a:pt x="2698" y="1"/>
                      <a:pt x="2686" y="2"/>
                      <a:pt x="2675" y="4"/>
                    </a:cubicBezTo>
                    <a:cubicBezTo>
                      <a:pt x="2318" y="79"/>
                      <a:pt x="1962" y="155"/>
                      <a:pt x="1607" y="232"/>
                    </a:cubicBezTo>
                    <a:cubicBezTo>
                      <a:pt x="1191" y="322"/>
                      <a:pt x="750" y="307"/>
                      <a:pt x="419" y="624"/>
                    </a:cubicBezTo>
                    <a:cubicBezTo>
                      <a:pt x="128" y="900"/>
                      <a:pt x="1" y="1336"/>
                      <a:pt x="93" y="1744"/>
                    </a:cubicBezTo>
                    <a:cubicBezTo>
                      <a:pt x="218" y="2291"/>
                      <a:pt x="689" y="2668"/>
                      <a:pt x="1199" y="2668"/>
                    </a:cubicBezTo>
                    <a:cubicBezTo>
                      <a:pt x="1276" y="2668"/>
                      <a:pt x="1354" y="2660"/>
                      <a:pt x="1431" y="2642"/>
                    </a:cubicBezTo>
                    <a:cubicBezTo>
                      <a:pt x="1708" y="2581"/>
                      <a:pt x="1899" y="2435"/>
                      <a:pt x="2045" y="2242"/>
                    </a:cubicBezTo>
                    <a:cubicBezTo>
                      <a:pt x="2209" y="2025"/>
                      <a:pt x="2315" y="1747"/>
                      <a:pt x="2420" y="1462"/>
                    </a:cubicBezTo>
                    <a:lnTo>
                      <a:pt x="2858" y="270"/>
                    </a:lnTo>
                    <a:cubicBezTo>
                      <a:pt x="2861" y="259"/>
                      <a:pt x="2866" y="250"/>
                      <a:pt x="2869" y="240"/>
                    </a:cubicBezTo>
                    <a:cubicBezTo>
                      <a:pt x="2912" y="121"/>
                      <a:pt x="2824" y="1"/>
                      <a:pt x="2709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" name="Google Shape;1417;p38">
                <a:extLst>
                  <a:ext uri="{FF2B5EF4-FFF2-40B4-BE49-F238E27FC236}">
                    <a16:creationId xmlns:a16="http://schemas.microsoft.com/office/drawing/2014/main" id="{3B37C3B9-2ABF-2A70-1986-8B71F05D375C}"/>
                  </a:ext>
                </a:extLst>
              </p:cNvPr>
              <p:cNvSpPr/>
              <p:nvPr/>
            </p:nvSpPr>
            <p:spPr>
              <a:xfrm>
                <a:off x="7114848" y="4481332"/>
                <a:ext cx="309766" cy="231222"/>
              </a:xfrm>
              <a:custGeom>
                <a:avLst/>
                <a:gdLst/>
                <a:ahLst/>
                <a:cxnLst/>
                <a:rect l="l" t="t" r="r" b="b"/>
                <a:pathLst>
                  <a:path w="3301" h="2464" extrusionOk="0">
                    <a:moveTo>
                      <a:pt x="3260" y="1"/>
                    </a:moveTo>
                    <a:cubicBezTo>
                      <a:pt x="3253" y="1"/>
                      <a:pt x="3247" y="4"/>
                      <a:pt x="3241" y="11"/>
                    </a:cubicBezTo>
                    <a:cubicBezTo>
                      <a:pt x="2837" y="405"/>
                      <a:pt x="2412" y="776"/>
                      <a:pt x="1967" y="1123"/>
                    </a:cubicBezTo>
                    <a:cubicBezTo>
                      <a:pt x="1963" y="1128"/>
                      <a:pt x="1955" y="1131"/>
                      <a:pt x="1949" y="1132"/>
                    </a:cubicBezTo>
                    <a:cubicBezTo>
                      <a:pt x="1935" y="1134"/>
                      <a:pt x="1920" y="1141"/>
                      <a:pt x="1908" y="1150"/>
                    </a:cubicBezTo>
                    <a:cubicBezTo>
                      <a:pt x="1589" y="1419"/>
                      <a:pt x="1268" y="1638"/>
                      <a:pt x="929" y="1870"/>
                    </a:cubicBezTo>
                    <a:lnTo>
                      <a:pt x="859" y="1918"/>
                    </a:lnTo>
                    <a:cubicBezTo>
                      <a:pt x="588" y="2090"/>
                      <a:pt x="308" y="2267"/>
                      <a:pt x="24" y="2415"/>
                    </a:cubicBezTo>
                    <a:cubicBezTo>
                      <a:pt x="0" y="2427"/>
                      <a:pt x="9" y="2464"/>
                      <a:pt x="38" y="2464"/>
                    </a:cubicBezTo>
                    <a:cubicBezTo>
                      <a:pt x="41" y="2464"/>
                      <a:pt x="45" y="2464"/>
                      <a:pt x="50" y="2461"/>
                    </a:cubicBezTo>
                    <a:cubicBezTo>
                      <a:pt x="334" y="2313"/>
                      <a:pt x="615" y="2136"/>
                      <a:pt x="888" y="1963"/>
                    </a:cubicBezTo>
                    <a:lnTo>
                      <a:pt x="889" y="1963"/>
                    </a:lnTo>
                    <a:lnTo>
                      <a:pt x="959" y="1914"/>
                    </a:lnTo>
                    <a:cubicBezTo>
                      <a:pt x="1299" y="1681"/>
                      <a:pt x="1620" y="1460"/>
                      <a:pt x="1942" y="1190"/>
                    </a:cubicBezTo>
                    <a:cubicBezTo>
                      <a:pt x="1948" y="1186"/>
                      <a:pt x="1954" y="1184"/>
                      <a:pt x="1961" y="1183"/>
                    </a:cubicBezTo>
                    <a:cubicBezTo>
                      <a:pt x="1976" y="1180"/>
                      <a:pt x="1990" y="1174"/>
                      <a:pt x="2002" y="1164"/>
                    </a:cubicBezTo>
                    <a:cubicBezTo>
                      <a:pt x="2446" y="816"/>
                      <a:pt x="2872" y="443"/>
                      <a:pt x="3278" y="48"/>
                    </a:cubicBezTo>
                    <a:cubicBezTo>
                      <a:pt x="3301" y="30"/>
                      <a:pt x="3281" y="1"/>
                      <a:pt x="3260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" name="Google Shape;1418;p38">
                <a:extLst>
                  <a:ext uri="{FF2B5EF4-FFF2-40B4-BE49-F238E27FC236}">
                    <a16:creationId xmlns:a16="http://schemas.microsoft.com/office/drawing/2014/main" id="{798E45AA-FCDC-15B9-9C1C-89B28B734C4E}"/>
                  </a:ext>
                </a:extLst>
              </p:cNvPr>
              <p:cNvSpPr/>
              <p:nvPr/>
            </p:nvSpPr>
            <p:spPr>
              <a:xfrm>
                <a:off x="7326459" y="4513331"/>
                <a:ext cx="58181" cy="55553"/>
              </a:xfrm>
              <a:custGeom>
                <a:avLst/>
                <a:gdLst/>
                <a:ahLst/>
                <a:cxnLst/>
                <a:rect l="l" t="t" r="r" b="b"/>
                <a:pathLst>
                  <a:path w="620" h="592" extrusionOk="0">
                    <a:moveTo>
                      <a:pt x="160" y="0"/>
                    </a:moveTo>
                    <a:cubicBezTo>
                      <a:pt x="149" y="0"/>
                      <a:pt x="139" y="6"/>
                      <a:pt x="136" y="20"/>
                    </a:cubicBezTo>
                    <a:lnTo>
                      <a:pt x="5" y="559"/>
                    </a:lnTo>
                    <a:cubicBezTo>
                      <a:pt x="0" y="575"/>
                      <a:pt x="14" y="590"/>
                      <a:pt x="30" y="591"/>
                    </a:cubicBezTo>
                    <a:lnTo>
                      <a:pt x="34" y="590"/>
                    </a:lnTo>
                    <a:lnTo>
                      <a:pt x="588" y="530"/>
                    </a:lnTo>
                    <a:cubicBezTo>
                      <a:pt x="620" y="526"/>
                      <a:pt x="616" y="478"/>
                      <a:pt x="583" y="478"/>
                    </a:cubicBezTo>
                    <a:cubicBezTo>
                      <a:pt x="583" y="478"/>
                      <a:pt x="582" y="478"/>
                      <a:pt x="582" y="478"/>
                    </a:cubicBezTo>
                    <a:lnTo>
                      <a:pt x="66" y="533"/>
                    </a:lnTo>
                    <a:lnTo>
                      <a:pt x="187" y="34"/>
                    </a:lnTo>
                    <a:cubicBezTo>
                      <a:pt x="192" y="13"/>
                      <a:pt x="176" y="0"/>
                      <a:pt x="160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419;p38">
                <a:extLst>
                  <a:ext uri="{FF2B5EF4-FFF2-40B4-BE49-F238E27FC236}">
                    <a16:creationId xmlns:a16="http://schemas.microsoft.com/office/drawing/2014/main" id="{00F1D2DC-51BF-DA70-23CF-8AA4EA5A8B95}"/>
                  </a:ext>
                </a:extLst>
              </p:cNvPr>
              <p:cNvSpPr/>
              <p:nvPr/>
            </p:nvSpPr>
            <p:spPr>
              <a:xfrm>
                <a:off x="7359022" y="4490434"/>
                <a:ext cx="48234" cy="49641"/>
              </a:xfrm>
              <a:custGeom>
                <a:avLst/>
                <a:gdLst/>
                <a:ahLst/>
                <a:cxnLst/>
                <a:rect l="l" t="t" r="r" b="b"/>
                <a:pathLst>
                  <a:path w="514" h="529" extrusionOk="0">
                    <a:moveTo>
                      <a:pt x="122" y="0"/>
                    </a:moveTo>
                    <a:cubicBezTo>
                      <a:pt x="111" y="0"/>
                      <a:pt x="100" y="7"/>
                      <a:pt x="98" y="21"/>
                    </a:cubicBezTo>
                    <a:lnTo>
                      <a:pt x="4" y="497"/>
                    </a:lnTo>
                    <a:cubicBezTo>
                      <a:pt x="1" y="513"/>
                      <a:pt x="14" y="528"/>
                      <a:pt x="30" y="528"/>
                    </a:cubicBezTo>
                    <a:lnTo>
                      <a:pt x="35" y="528"/>
                    </a:lnTo>
                    <a:lnTo>
                      <a:pt x="481" y="440"/>
                    </a:lnTo>
                    <a:cubicBezTo>
                      <a:pt x="513" y="435"/>
                      <a:pt x="507" y="388"/>
                      <a:pt x="476" y="388"/>
                    </a:cubicBezTo>
                    <a:cubicBezTo>
                      <a:pt x="474" y="388"/>
                      <a:pt x="472" y="388"/>
                      <a:pt x="470" y="388"/>
                    </a:cubicBezTo>
                    <a:lnTo>
                      <a:pt x="63" y="469"/>
                    </a:lnTo>
                    <a:lnTo>
                      <a:pt x="150" y="32"/>
                    </a:lnTo>
                    <a:cubicBezTo>
                      <a:pt x="153" y="12"/>
                      <a:pt x="137" y="0"/>
                      <a:pt x="122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420;p38">
                <a:extLst>
                  <a:ext uri="{FF2B5EF4-FFF2-40B4-BE49-F238E27FC236}">
                    <a16:creationId xmlns:a16="http://schemas.microsoft.com/office/drawing/2014/main" id="{6A24FF2C-0EAB-FAEB-2434-4E2263717E75}"/>
                  </a:ext>
                </a:extLst>
              </p:cNvPr>
              <p:cNvSpPr/>
              <p:nvPr/>
            </p:nvSpPr>
            <p:spPr>
              <a:xfrm>
                <a:off x="7288360" y="4518587"/>
                <a:ext cx="79295" cy="79013"/>
              </a:xfrm>
              <a:custGeom>
                <a:avLst/>
                <a:gdLst/>
                <a:ahLst/>
                <a:cxnLst/>
                <a:rect l="l" t="t" r="r" b="b"/>
                <a:pathLst>
                  <a:path w="845" h="842" extrusionOk="0">
                    <a:moveTo>
                      <a:pt x="149" y="0"/>
                    </a:moveTo>
                    <a:cubicBezTo>
                      <a:pt x="138" y="0"/>
                      <a:pt x="128" y="7"/>
                      <a:pt x="124" y="21"/>
                    </a:cubicBezTo>
                    <a:lnTo>
                      <a:pt x="1" y="811"/>
                    </a:lnTo>
                    <a:cubicBezTo>
                      <a:pt x="1" y="819"/>
                      <a:pt x="2" y="826"/>
                      <a:pt x="8" y="832"/>
                    </a:cubicBezTo>
                    <a:cubicBezTo>
                      <a:pt x="12" y="838"/>
                      <a:pt x="20" y="841"/>
                      <a:pt x="27" y="841"/>
                    </a:cubicBezTo>
                    <a:lnTo>
                      <a:pt x="818" y="822"/>
                    </a:lnTo>
                    <a:cubicBezTo>
                      <a:pt x="833" y="822"/>
                      <a:pt x="845" y="810"/>
                      <a:pt x="843" y="795"/>
                    </a:cubicBezTo>
                    <a:cubicBezTo>
                      <a:pt x="843" y="780"/>
                      <a:pt x="831" y="770"/>
                      <a:pt x="816" y="770"/>
                    </a:cubicBezTo>
                    <a:lnTo>
                      <a:pt x="59" y="787"/>
                    </a:lnTo>
                    <a:lnTo>
                      <a:pt x="177" y="30"/>
                    </a:lnTo>
                    <a:cubicBezTo>
                      <a:pt x="178" y="11"/>
                      <a:pt x="164" y="0"/>
                      <a:pt x="149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1421;p38">
                <a:extLst>
                  <a:ext uri="{FF2B5EF4-FFF2-40B4-BE49-F238E27FC236}">
                    <a16:creationId xmlns:a16="http://schemas.microsoft.com/office/drawing/2014/main" id="{7E40C947-6E8A-9988-CC55-CA3B2F78A147}"/>
                  </a:ext>
                </a:extLst>
              </p:cNvPr>
              <p:cNvSpPr/>
              <p:nvPr/>
            </p:nvSpPr>
            <p:spPr>
              <a:xfrm>
                <a:off x="7246788" y="4530786"/>
                <a:ext cx="103506" cy="105382"/>
              </a:xfrm>
              <a:custGeom>
                <a:avLst/>
                <a:gdLst/>
                <a:ahLst/>
                <a:cxnLst/>
                <a:rect l="l" t="t" r="r" b="b"/>
                <a:pathLst>
                  <a:path w="1103" h="1123" extrusionOk="0">
                    <a:moveTo>
                      <a:pt x="132" y="0"/>
                    </a:moveTo>
                    <a:cubicBezTo>
                      <a:pt x="119" y="0"/>
                      <a:pt x="107" y="8"/>
                      <a:pt x="105" y="24"/>
                    </a:cubicBezTo>
                    <a:lnTo>
                      <a:pt x="2" y="1009"/>
                    </a:lnTo>
                    <a:cubicBezTo>
                      <a:pt x="1" y="1024"/>
                      <a:pt x="11" y="1038"/>
                      <a:pt x="26" y="1039"/>
                    </a:cubicBezTo>
                    <a:lnTo>
                      <a:pt x="1065" y="1123"/>
                    </a:lnTo>
                    <a:lnTo>
                      <a:pt x="1068" y="1123"/>
                    </a:lnTo>
                    <a:cubicBezTo>
                      <a:pt x="1101" y="1123"/>
                      <a:pt x="1103" y="1073"/>
                      <a:pt x="1070" y="1071"/>
                    </a:cubicBezTo>
                    <a:lnTo>
                      <a:pt x="57" y="989"/>
                    </a:lnTo>
                    <a:lnTo>
                      <a:pt x="159" y="30"/>
                    </a:lnTo>
                    <a:cubicBezTo>
                      <a:pt x="160" y="10"/>
                      <a:pt x="146" y="0"/>
                      <a:pt x="132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7" name="Google Shape;1422;p38">
              <a:extLst>
                <a:ext uri="{FF2B5EF4-FFF2-40B4-BE49-F238E27FC236}">
                  <a16:creationId xmlns:a16="http://schemas.microsoft.com/office/drawing/2014/main" id="{DCA07224-8F35-41EA-5FBC-CA83E1C09D79}"/>
                </a:ext>
              </a:extLst>
            </p:cNvPr>
            <p:cNvGrpSpPr/>
            <p:nvPr/>
          </p:nvGrpSpPr>
          <p:grpSpPr>
            <a:xfrm rot="4190166" flipH="1">
              <a:off x="6781470" y="4454673"/>
              <a:ext cx="153157" cy="117292"/>
              <a:chOff x="6781473" y="4454681"/>
              <a:chExt cx="336698" cy="257873"/>
            </a:xfrm>
          </p:grpSpPr>
          <p:sp>
            <p:nvSpPr>
              <p:cNvPr id="8" name="Google Shape;1423;p38">
                <a:extLst>
                  <a:ext uri="{FF2B5EF4-FFF2-40B4-BE49-F238E27FC236}">
                    <a16:creationId xmlns:a16="http://schemas.microsoft.com/office/drawing/2014/main" id="{8309C6CE-596D-E6B0-054C-2451B3CF031E}"/>
                  </a:ext>
                </a:extLst>
              </p:cNvPr>
              <p:cNvSpPr/>
              <p:nvPr/>
            </p:nvSpPr>
            <p:spPr>
              <a:xfrm>
                <a:off x="6844815" y="4454681"/>
                <a:ext cx="273356" cy="250459"/>
              </a:xfrm>
              <a:custGeom>
                <a:avLst/>
                <a:gdLst/>
                <a:ahLst/>
                <a:cxnLst/>
                <a:rect l="l" t="t" r="r" b="b"/>
                <a:pathLst>
                  <a:path w="2913" h="2669" extrusionOk="0">
                    <a:moveTo>
                      <a:pt x="2709" y="1"/>
                    </a:moveTo>
                    <a:cubicBezTo>
                      <a:pt x="2698" y="1"/>
                      <a:pt x="2686" y="2"/>
                      <a:pt x="2675" y="4"/>
                    </a:cubicBezTo>
                    <a:cubicBezTo>
                      <a:pt x="2318" y="79"/>
                      <a:pt x="1962" y="155"/>
                      <a:pt x="1607" y="232"/>
                    </a:cubicBezTo>
                    <a:cubicBezTo>
                      <a:pt x="1191" y="322"/>
                      <a:pt x="750" y="307"/>
                      <a:pt x="419" y="624"/>
                    </a:cubicBezTo>
                    <a:cubicBezTo>
                      <a:pt x="128" y="900"/>
                      <a:pt x="1" y="1336"/>
                      <a:pt x="93" y="1744"/>
                    </a:cubicBezTo>
                    <a:cubicBezTo>
                      <a:pt x="218" y="2291"/>
                      <a:pt x="689" y="2668"/>
                      <a:pt x="1199" y="2668"/>
                    </a:cubicBezTo>
                    <a:cubicBezTo>
                      <a:pt x="1276" y="2668"/>
                      <a:pt x="1354" y="2660"/>
                      <a:pt x="1431" y="2642"/>
                    </a:cubicBezTo>
                    <a:cubicBezTo>
                      <a:pt x="1708" y="2581"/>
                      <a:pt x="1899" y="2435"/>
                      <a:pt x="2045" y="2242"/>
                    </a:cubicBezTo>
                    <a:cubicBezTo>
                      <a:pt x="2209" y="2025"/>
                      <a:pt x="2315" y="1747"/>
                      <a:pt x="2420" y="1462"/>
                    </a:cubicBezTo>
                    <a:lnTo>
                      <a:pt x="2858" y="270"/>
                    </a:lnTo>
                    <a:cubicBezTo>
                      <a:pt x="2861" y="259"/>
                      <a:pt x="2866" y="250"/>
                      <a:pt x="2869" y="240"/>
                    </a:cubicBezTo>
                    <a:cubicBezTo>
                      <a:pt x="2912" y="121"/>
                      <a:pt x="2824" y="1"/>
                      <a:pt x="2709" y="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9" name="Google Shape;1424;p38">
                <a:extLst>
                  <a:ext uri="{FF2B5EF4-FFF2-40B4-BE49-F238E27FC236}">
                    <a16:creationId xmlns:a16="http://schemas.microsoft.com/office/drawing/2014/main" id="{85863B4F-DFDD-726A-3FDA-1A649B6A8547}"/>
                  </a:ext>
                </a:extLst>
              </p:cNvPr>
              <p:cNvSpPr/>
              <p:nvPr/>
            </p:nvSpPr>
            <p:spPr>
              <a:xfrm>
                <a:off x="6781473" y="4481332"/>
                <a:ext cx="309766" cy="231222"/>
              </a:xfrm>
              <a:custGeom>
                <a:avLst/>
                <a:gdLst/>
                <a:ahLst/>
                <a:cxnLst/>
                <a:rect l="l" t="t" r="r" b="b"/>
                <a:pathLst>
                  <a:path w="3301" h="2464" extrusionOk="0">
                    <a:moveTo>
                      <a:pt x="3260" y="1"/>
                    </a:moveTo>
                    <a:cubicBezTo>
                      <a:pt x="3253" y="1"/>
                      <a:pt x="3247" y="4"/>
                      <a:pt x="3241" y="11"/>
                    </a:cubicBezTo>
                    <a:cubicBezTo>
                      <a:pt x="2837" y="405"/>
                      <a:pt x="2412" y="776"/>
                      <a:pt x="1967" y="1123"/>
                    </a:cubicBezTo>
                    <a:cubicBezTo>
                      <a:pt x="1963" y="1128"/>
                      <a:pt x="1955" y="1131"/>
                      <a:pt x="1949" y="1132"/>
                    </a:cubicBezTo>
                    <a:cubicBezTo>
                      <a:pt x="1935" y="1134"/>
                      <a:pt x="1920" y="1141"/>
                      <a:pt x="1908" y="1150"/>
                    </a:cubicBezTo>
                    <a:cubicBezTo>
                      <a:pt x="1589" y="1419"/>
                      <a:pt x="1268" y="1638"/>
                      <a:pt x="929" y="1870"/>
                    </a:cubicBezTo>
                    <a:lnTo>
                      <a:pt x="859" y="1918"/>
                    </a:lnTo>
                    <a:cubicBezTo>
                      <a:pt x="588" y="2090"/>
                      <a:pt x="308" y="2267"/>
                      <a:pt x="24" y="2415"/>
                    </a:cubicBezTo>
                    <a:cubicBezTo>
                      <a:pt x="0" y="2427"/>
                      <a:pt x="9" y="2464"/>
                      <a:pt x="38" y="2464"/>
                    </a:cubicBezTo>
                    <a:cubicBezTo>
                      <a:pt x="41" y="2464"/>
                      <a:pt x="45" y="2464"/>
                      <a:pt x="50" y="2461"/>
                    </a:cubicBezTo>
                    <a:cubicBezTo>
                      <a:pt x="334" y="2313"/>
                      <a:pt x="615" y="2136"/>
                      <a:pt x="888" y="1963"/>
                    </a:cubicBezTo>
                    <a:lnTo>
                      <a:pt x="889" y="1963"/>
                    </a:lnTo>
                    <a:lnTo>
                      <a:pt x="959" y="1914"/>
                    </a:lnTo>
                    <a:cubicBezTo>
                      <a:pt x="1299" y="1681"/>
                      <a:pt x="1620" y="1460"/>
                      <a:pt x="1942" y="1190"/>
                    </a:cubicBezTo>
                    <a:cubicBezTo>
                      <a:pt x="1948" y="1186"/>
                      <a:pt x="1954" y="1184"/>
                      <a:pt x="1961" y="1183"/>
                    </a:cubicBezTo>
                    <a:cubicBezTo>
                      <a:pt x="1976" y="1180"/>
                      <a:pt x="1990" y="1174"/>
                      <a:pt x="2002" y="1164"/>
                    </a:cubicBezTo>
                    <a:cubicBezTo>
                      <a:pt x="2446" y="816"/>
                      <a:pt x="2872" y="443"/>
                      <a:pt x="3278" y="48"/>
                    </a:cubicBezTo>
                    <a:cubicBezTo>
                      <a:pt x="3301" y="30"/>
                      <a:pt x="3281" y="1"/>
                      <a:pt x="3260" y="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0" name="Google Shape;1425;p38">
                <a:extLst>
                  <a:ext uri="{FF2B5EF4-FFF2-40B4-BE49-F238E27FC236}">
                    <a16:creationId xmlns:a16="http://schemas.microsoft.com/office/drawing/2014/main" id="{86B93560-B34B-4868-15C8-190C0C4C9028}"/>
                  </a:ext>
                </a:extLst>
              </p:cNvPr>
              <p:cNvSpPr/>
              <p:nvPr/>
            </p:nvSpPr>
            <p:spPr>
              <a:xfrm>
                <a:off x="6993084" y="4513331"/>
                <a:ext cx="58181" cy="55553"/>
              </a:xfrm>
              <a:custGeom>
                <a:avLst/>
                <a:gdLst/>
                <a:ahLst/>
                <a:cxnLst/>
                <a:rect l="l" t="t" r="r" b="b"/>
                <a:pathLst>
                  <a:path w="620" h="592" extrusionOk="0">
                    <a:moveTo>
                      <a:pt x="160" y="0"/>
                    </a:moveTo>
                    <a:cubicBezTo>
                      <a:pt x="149" y="0"/>
                      <a:pt x="139" y="6"/>
                      <a:pt x="136" y="20"/>
                    </a:cubicBezTo>
                    <a:lnTo>
                      <a:pt x="5" y="559"/>
                    </a:lnTo>
                    <a:cubicBezTo>
                      <a:pt x="0" y="575"/>
                      <a:pt x="14" y="590"/>
                      <a:pt x="30" y="591"/>
                    </a:cubicBezTo>
                    <a:lnTo>
                      <a:pt x="34" y="590"/>
                    </a:lnTo>
                    <a:lnTo>
                      <a:pt x="588" y="530"/>
                    </a:lnTo>
                    <a:cubicBezTo>
                      <a:pt x="620" y="526"/>
                      <a:pt x="616" y="478"/>
                      <a:pt x="583" y="478"/>
                    </a:cubicBezTo>
                    <a:cubicBezTo>
                      <a:pt x="583" y="478"/>
                      <a:pt x="582" y="478"/>
                      <a:pt x="582" y="478"/>
                    </a:cubicBezTo>
                    <a:lnTo>
                      <a:pt x="66" y="533"/>
                    </a:lnTo>
                    <a:lnTo>
                      <a:pt x="187" y="34"/>
                    </a:lnTo>
                    <a:cubicBezTo>
                      <a:pt x="192" y="13"/>
                      <a:pt x="176" y="0"/>
                      <a:pt x="160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" name="Google Shape;1426;p38">
                <a:extLst>
                  <a:ext uri="{FF2B5EF4-FFF2-40B4-BE49-F238E27FC236}">
                    <a16:creationId xmlns:a16="http://schemas.microsoft.com/office/drawing/2014/main" id="{91D47F7B-538F-F204-1773-45ECFECD6377}"/>
                  </a:ext>
                </a:extLst>
              </p:cNvPr>
              <p:cNvSpPr/>
              <p:nvPr/>
            </p:nvSpPr>
            <p:spPr>
              <a:xfrm>
                <a:off x="7025647" y="4490434"/>
                <a:ext cx="48234" cy="49641"/>
              </a:xfrm>
              <a:custGeom>
                <a:avLst/>
                <a:gdLst/>
                <a:ahLst/>
                <a:cxnLst/>
                <a:rect l="l" t="t" r="r" b="b"/>
                <a:pathLst>
                  <a:path w="514" h="529" extrusionOk="0">
                    <a:moveTo>
                      <a:pt x="122" y="0"/>
                    </a:moveTo>
                    <a:cubicBezTo>
                      <a:pt x="111" y="0"/>
                      <a:pt x="100" y="7"/>
                      <a:pt x="98" y="21"/>
                    </a:cubicBezTo>
                    <a:lnTo>
                      <a:pt x="4" y="497"/>
                    </a:lnTo>
                    <a:cubicBezTo>
                      <a:pt x="1" y="513"/>
                      <a:pt x="14" y="528"/>
                      <a:pt x="30" y="528"/>
                    </a:cubicBezTo>
                    <a:lnTo>
                      <a:pt x="35" y="528"/>
                    </a:lnTo>
                    <a:lnTo>
                      <a:pt x="481" y="440"/>
                    </a:lnTo>
                    <a:cubicBezTo>
                      <a:pt x="513" y="435"/>
                      <a:pt x="507" y="388"/>
                      <a:pt x="476" y="388"/>
                    </a:cubicBezTo>
                    <a:cubicBezTo>
                      <a:pt x="474" y="388"/>
                      <a:pt x="472" y="388"/>
                      <a:pt x="470" y="388"/>
                    </a:cubicBezTo>
                    <a:lnTo>
                      <a:pt x="63" y="469"/>
                    </a:lnTo>
                    <a:lnTo>
                      <a:pt x="150" y="32"/>
                    </a:lnTo>
                    <a:cubicBezTo>
                      <a:pt x="153" y="12"/>
                      <a:pt x="137" y="0"/>
                      <a:pt x="122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" name="Google Shape;1427;p38">
                <a:extLst>
                  <a:ext uri="{FF2B5EF4-FFF2-40B4-BE49-F238E27FC236}">
                    <a16:creationId xmlns:a16="http://schemas.microsoft.com/office/drawing/2014/main" id="{CE72A246-CE2C-9D61-871E-A15625105720}"/>
                  </a:ext>
                </a:extLst>
              </p:cNvPr>
              <p:cNvSpPr/>
              <p:nvPr/>
            </p:nvSpPr>
            <p:spPr>
              <a:xfrm>
                <a:off x="6954985" y="4518587"/>
                <a:ext cx="79295" cy="79013"/>
              </a:xfrm>
              <a:custGeom>
                <a:avLst/>
                <a:gdLst/>
                <a:ahLst/>
                <a:cxnLst/>
                <a:rect l="l" t="t" r="r" b="b"/>
                <a:pathLst>
                  <a:path w="845" h="842" extrusionOk="0">
                    <a:moveTo>
                      <a:pt x="149" y="0"/>
                    </a:moveTo>
                    <a:cubicBezTo>
                      <a:pt x="138" y="0"/>
                      <a:pt x="128" y="7"/>
                      <a:pt x="124" y="21"/>
                    </a:cubicBezTo>
                    <a:lnTo>
                      <a:pt x="1" y="811"/>
                    </a:lnTo>
                    <a:cubicBezTo>
                      <a:pt x="1" y="819"/>
                      <a:pt x="2" y="826"/>
                      <a:pt x="8" y="832"/>
                    </a:cubicBezTo>
                    <a:cubicBezTo>
                      <a:pt x="12" y="838"/>
                      <a:pt x="20" y="841"/>
                      <a:pt x="27" y="841"/>
                    </a:cubicBezTo>
                    <a:lnTo>
                      <a:pt x="818" y="822"/>
                    </a:lnTo>
                    <a:cubicBezTo>
                      <a:pt x="833" y="822"/>
                      <a:pt x="845" y="810"/>
                      <a:pt x="843" y="795"/>
                    </a:cubicBezTo>
                    <a:cubicBezTo>
                      <a:pt x="843" y="780"/>
                      <a:pt x="831" y="770"/>
                      <a:pt x="816" y="770"/>
                    </a:cubicBezTo>
                    <a:lnTo>
                      <a:pt x="59" y="787"/>
                    </a:lnTo>
                    <a:lnTo>
                      <a:pt x="177" y="30"/>
                    </a:lnTo>
                    <a:cubicBezTo>
                      <a:pt x="178" y="11"/>
                      <a:pt x="164" y="0"/>
                      <a:pt x="149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" name="Google Shape;1428;p38">
                <a:extLst>
                  <a:ext uri="{FF2B5EF4-FFF2-40B4-BE49-F238E27FC236}">
                    <a16:creationId xmlns:a16="http://schemas.microsoft.com/office/drawing/2014/main" id="{AEF76600-9C5B-3A9B-2E7B-5FA7A5BBE4D4}"/>
                  </a:ext>
                </a:extLst>
              </p:cNvPr>
              <p:cNvSpPr/>
              <p:nvPr/>
            </p:nvSpPr>
            <p:spPr>
              <a:xfrm>
                <a:off x="6913413" y="4530786"/>
                <a:ext cx="103506" cy="105382"/>
              </a:xfrm>
              <a:custGeom>
                <a:avLst/>
                <a:gdLst/>
                <a:ahLst/>
                <a:cxnLst/>
                <a:rect l="l" t="t" r="r" b="b"/>
                <a:pathLst>
                  <a:path w="1103" h="1123" extrusionOk="0">
                    <a:moveTo>
                      <a:pt x="132" y="0"/>
                    </a:moveTo>
                    <a:cubicBezTo>
                      <a:pt x="119" y="0"/>
                      <a:pt x="107" y="8"/>
                      <a:pt x="105" y="24"/>
                    </a:cubicBezTo>
                    <a:lnTo>
                      <a:pt x="2" y="1009"/>
                    </a:lnTo>
                    <a:cubicBezTo>
                      <a:pt x="1" y="1024"/>
                      <a:pt x="11" y="1038"/>
                      <a:pt x="26" y="1039"/>
                    </a:cubicBezTo>
                    <a:lnTo>
                      <a:pt x="1065" y="1123"/>
                    </a:lnTo>
                    <a:lnTo>
                      <a:pt x="1068" y="1123"/>
                    </a:lnTo>
                    <a:cubicBezTo>
                      <a:pt x="1101" y="1123"/>
                      <a:pt x="1103" y="1073"/>
                      <a:pt x="1070" y="1071"/>
                    </a:cubicBezTo>
                    <a:lnTo>
                      <a:pt x="57" y="989"/>
                    </a:lnTo>
                    <a:lnTo>
                      <a:pt x="159" y="30"/>
                    </a:lnTo>
                    <a:cubicBezTo>
                      <a:pt x="160" y="10"/>
                      <a:pt x="146" y="0"/>
                      <a:pt x="132" y="0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833101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screenshot of a book&#10;&#10;Description automatically generated">
            <a:extLst>
              <a:ext uri="{FF2B5EF4-FFF2-40B4-BE49-F238E27FC236}">
                <a16:creationId xmlns:a16="http://schemas.microsoft.com/office/drawing/2014/main" id="{C818C2B3-408F-C52B-7300-D47C8046CBA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274" y="195394"/>
            <a:ext cx="10062332" cy="3915561"/>
          </a:xfrm>
          <a:prstGeom prst="rect">
            <a:avLst/>
          </a:prstGeom>
        </p:spPr>
      </p:pic>
      <p:sp>
        <p:nvSpPr>
          <p:cNvPr id="28" name="Google Shape;988;p64">
            <a:extLst>
              <a:ext uri="{FF2B5EF4-FFF2-40B4-BE49-F238E27FC236}">
                <a16:creationId xmlns:a16="http://schemas.microsoft.com/office/drawing/2014/main" id="{958C8E03-995E-EBB4-408B-E253D81DFC2A}"/>
              </a:ext>
            </a:extLst>
          </p:cNvPr>
          <p:cNvSpPr txBox="1">
            <a:spLocks/>
          </p:cNvSpPr>
          <p:nvPr/>
        </p:nvSpPr>
        <p:spPr>
          <a:xfrm>
            <a:off x="1036460" y="4108355"/>
            <a:ext cx="9450237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2800" b="1" kern="0">
                <a:solidFill>
                  <a:srgbClr val="FF725E"/>
                </a:solidFill>
                <a:latin typeface="Tenorite"/>
              </a:rPr>
              <a:t>CDC Key Principles:</a:t>
            </a:r>
            <a:endParaRPr lang="en-US"/>
          </a:p>
          <a:p>
            <a:endParaRPr lang="en" sz="2800" b="1" kern="0">
              <a:solidFill>
                <a:srgbClr val="FF725E"/>
              </a:solidFill>
              <a:latin typeface="Tenorite"/>
            </a:endParaRPr>
          </a:p>
        </p:txBody>
      </p:sp>
      <p:sp>
        <p:nvSpPr>
          <p:cNvPr id="29" name="Google Shape;988;p64">
            <a:extLst>
              <a:ext uri="{FF2B5EF4-FFF2-40B4-BE49-F238E27FC236}">
                <a16:creationId xmlns:a16="http://schemas.microsoft.com/office/drawing/2014/main" id="{6756CA60-7930-563D-89C4-EDD86172FBDD}"/>
              </a:ext>
            </a:extLst>
          </p:cNvPr>
          <p:cNvSpPr txBox="1">
            <a:spLocks/>
          </p:cNvSpPr>
          <p:nvPr/>
        </p:nvSpPr>
        <p:spPr>
          <a:xfrm>
            <a:off x="1036459" y="4660629"/>
            <a:ext cx="10526824" cy="20079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457200" indent="-457200">
              <a:buChar char="•"/>
            </a:pPr>
            <a:r>
              <a:rPr lang="en" sz="1800" b="1" kern="0">
                <a:latin typeface="Tenorite"/>
              </a:rPr>
              <a:t>Avoid use of adjectives such as vulnerable, marginalized, and high-risk</a:t>
            </a:r>
          </a:p>
          <a:p>
            <a:pPr marL="457200" indent="-457200">
              <a:buChar char="•"/>
            </a:pPr>
            <a:r>
              <a:rPr lang="en" sz="1800" b="1" kern="0">
                <a:latin typeface="Tenorite"/>
              </a:rPr>
              <a:t>Avoid de-humanizing language. Use person-first language instead.</a:t>
            </a:r>
          </a:p>
          <a:p>
            <a:pPr marL="457200" indent="-457200">
              <a:buChar char="•"/>
            </a:pPr>
            <a:r>
              <a:rPr lang="en" sz="1800" b="1" kern="0">
                <a:latin typeface="Tenorite"/>
              </a:rPr>
              <a:t>Remember that there are many types of subpopulations</a:t>
            </a:r>
          </a:p>
          <a:p>
            <a:pPr marL="457200" indent="-457200">
              <a:buChar char="•"/>
            </a:pPr>
            <a:r>
              <a:rPr lang="en" sz="1800" b="1" kern="0">
                <a:latin typeface="Tenorite"/>
              </a:rPr>
              <a:t>Avoid saying target, tackle, combat, or other terms with violent connotation when referring to people, groups, or communities.</a:t>
            </a:r>
          </a:p>
          <a:p>
            <a:pPr marL="457200" indent="-457200">
              <a:buChar char="•"/>
            </a:pPr>
            <a:r>
              <a:rPr lang="en" sz="1800" b="1" kern="0">
                <a:latin typeface="Tenorite"/>
              </a:rPr>
              <a:t>Avoid unintentional blaming.</a:t>
            </a:r>
          </a:p>
          <a:p>
            <a:pPr marL="457200" indent="-457200">
              <a:buChar char="•"/>
            </a:pPr>
            <a:endParaRPr lang="en" sz="1800" b="1" kern="0">
              <a:latin typeface="Tenorite"/>
            </a:endParaRPr>
          </a:p>
          <a:p>
            <a:endParaRPr lang="en" sz="1800" b="1" kern="0">
              <a:latin typeface="Tenorite"/>
            </a:endParaRPr>
          </a:p>
        </p:txBody>
      </p:sp>
    </p:spTree>
    <p:extLst>
      <p:ext uri="{BB962C8B-B14F-4D97-AF65-F5344CB8AC3E}">
        <p14:creationId xmlns:p14="http://schemas.microsoft.com/office/powerpoint/2010/main" val="28421216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EE1D6C12-96BB-695F-A537-52D5BBDA75EA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075" y="1375978"/>
            <a:ext cx="3305114" cy="4114800"/>
          </a:xfrm>
          <a:prstGeom prst="rect">
            <a:avLst/>
          </a:prstGeom>
        </p:spPr>
      </p:pic>
      <p:pic>
        <p:nvPicPr>
          <p:cNvPr id="24" name="Picture 23" descr="A white text on a white background&#10;&#10;Description automatically generated">
            <a:extLst>
              <a:ext uri="{FF2B5EF4-FFF2-40B4-BE49-F238E27FC236}">
                <a16:creationId xmlns:a16="http://schemas.microsoft.com/office/drawing/2014/main" id="{C9310FB9-729A-31C8-CCC1-5E7BF05269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4911" y="3111791"/>
            <a:ext cx="8375008" cy="3491308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CB482F28-1447-2CB4-BC32-950A175D48BA}"/>
              </a:ext>
            </a:extLst>
          </p:cNvPr>
          <p:cNvSpPr txBox="1"/>
          <p:nvPr/>
        </p:nvSpPr>
        <p:spPr>
          <a:xfrm>
            <a:off x="522839" y="364184"/>
            <a:ext cx="9047747" cy="83099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" sz="2400" b="1">
                <a:solidFill>
                  <a:srgbClr val="000000"/>
                </a:solidFill>
                <a:latin typeface="Tenorite"/>
                <a:ea typeface="+mn-lt"/>
                <a:cs typeface="+mn-lt"/>
              </a:rPr>
              <a:t>Avoid use of adjectives such as vulnerable, marginalized, and high-risk</a:t>
            </a:r>
            <a:endParaRPr lang="en-US" sz="2400" b="1">
              <a:latin typeface="Tenorite"/>
            </a:endParaRPr>
          </a:p>
        </p:txBody>
      </p:sp>
      <p:pic>
        <p:nvPicPr>
          <p:cNvPr id="27" name="Picture 26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D838587D-5219-8116-8E0C-F709EA17F99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023" y="6199599"/>
            <a:ext cx="1683172" cy="410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57085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C94C024B-A962-3839-5E95-731F923CFA9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37"/>
          <a:stretch/>
        </p:blipFill>
        <p:spPr>
          <a:xfrm>
            <a:off x="472035" y="1274397"/>
            <a:ext cx="3723311" cy="3550824"/>
          </a:xfrm>
          <a:prstGeom prst="rect">
            <a:avLst/>
          </a:prstGeom>
          <a:ln>
            <a:noFill/>
          </a:ln>
        </p:spPr>
      </p:pic>
      <p:pic>
        <p:nvPicPr>
          <p:cNvPr id="22" name="Picture 21" descr="A white background with black text&#10;&#10;Description automatically generated">
            <a:extLst>
              <a:ext uri="{FF2B5EF4-FFF2-40B4-BE49-F238E27FC236}">
                <a16:creationId xmlns:a16="http://schemas.microsoft.com/office/drawing/2014/main" id="{4BFF0BBB-9902-91AA-114E-CE86632C265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037" y="2367310"/>
            <a:ext cx="7836715" cy="4085816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5B8AB8E5-B3AF-2F32-DA56-7D32C78A72BA}"/>
              </a:ext>
            </a:extLst>
          </p:cNvPr>
          <p:cNvSpPr txBox="1"/>
          <p:nvPr/>
        </p:nvSpPr>
        <p:spPr>
          <a:xfrm>
            <a:off x="473903" y="587891"/>
            <a:ext cx="9047747" cy="4616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" sz="2400" b="1">
                <a:solidFill>
                  <a:srgbClr val="000000"/>
                </a:solidFill>
                <a:latin typeface="Tenorite"/>
                <a:ea typeface="+mn-lt"/>
                <a:cs typeface="+mn-lt"/>
              </a:rPr>
              <a:t>Avoid dehumanizing language. Use person-first language instead.</a:t>
            </a:r>
            <a:endParaRPr lang="en-US" sz="2400" b="1">
              <a:latin typeface="Tenorite"/>
              <a:cs typeface="Arial"/>
            </a:endParaRPr>
          </a:p>
        </p:txBody>
      </p:sp>
      <p:pic>
        <p:nvPicPr>
          <p:cNvPr id="26" name="Picture 25" descr="A blue background with white text&#10;&#10;Description automatically generated">
            <a:extLst>
              <a:ext uri="{FF2B5EF4-FFF2-40B4-BE49-F238E27FC236}">
                <a16:creationId xmlns:a16="http://schemas.microsoft.com/office/drawing/2014/main" id="{EA89EB25-0249-05BD-94AD-53C910BE161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5023" y="6199599"/>
            <a:ext cx="1683172" cy="410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3375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 nutrition report&#10;&#10;Description automatically generated">
            <a:extLst>
              <a:ext uri="{FF2B5EF4-FFF2-40B4-BE49-F238E27FC236}">
                <a16:creationId xmlns:a16="http://schemas.microsoft.com/office/drawing/2014/main" id="{67579C71-7339-49A0-3DDD-01D08BB8F21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83" y="255811"/>
            <a:ext cx="10276349" cy="392394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23C733B-E6D1-47F3-1E38-BC61F8047F01}"/>
              </a:ext>
            </a:extLst>
          </p:cNvPr>
          <p:cNvSpPr/>
          <p:nvPr/>
        </p:nvSpPr>
        <p:spPr>
          <a:xfrm>
            <a:off x="674503" y="513789"/>
            <a:ext cx="4411211" cy="9018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Google Shape;988;p64">
            <a:extLst>
              <a:ext uri="{FF2B5EF4-FFF2-40B4-BE49-F238E27FC236}">
                <a16:creationId xmlns:a16="http://schemas.microsoft.com/office/drawing/2014/main" id="{D5A09F91-6F26-351C-8F0F-CF7AE4D31631}"/>
              </a:ext>
            </a:extLst>
          </p:cNvPr>
          <p:cNvSpPr txBox="1">
            <a:spLocks/>
          </p:cNvSpPr>
          <p:nvPr/>
        </p:nvSpPr>
        <p:spPr>
          <a:xfrm>
            <a:off x="673747" y="4380556"/>
            <a:ext cx="5374586" cy="735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2800" b="1" kern="0">
                <a:solidFill>
                  <a:srgbClr val="FF725E"/>
                </a:solidFill>
                <a:latin typeface="Tenorite"/>
              </a:rPr>
              <a:t>How does this look in practice?</a:t>
            </a:r>
          </a:p>
          <a:p>
            <a:endParaRPr lang="en" sz="2800" b="1" kern="0">
              <a:solidFill>
                <a:srgbClr val="FF725E"/>
              </a:solidFill>
              <a:latin typeface="Tenorite"/>
            </a:endParaRPr>
          </a:p>
        </p:txBody>
      </p:sp>
    </p:spTree>
    <p:extLst>
      <p:ext uri="{BB962C8B-B14F-4D97-AF65-F5344CB8AC3E}">
        <p14:creationId xmlns:p14="http://schemas.microsoft.com/office/powerpoint/2010/main" val="61267517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-up of a document&#10;&#10;Description automatically generated">
            <a:extLst>
              <a:ext uri="{FF2B5EF4-FFF2-40B4-BE49-F238E27FC236}">
                <a16:creationId xmlns:a16="http://schemas.microsoft.com/office/drawing/2014/main" id="{E672B458-AF85-B6E6-A0F4-AE2F959F706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2404" y="1158851"/>
            <a:ext cx="11513889" cy="478743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7F60373-763F-DBB0-CBF2-5BB4CA16F88E}"/>
              </a:ext>
            </a:extLst>
          </p:cNvPr>
          <p:cNvSpPr txBox="1"/>
          <p:nvPr/>
        </p:nvSpPr>
        <p:spPr>
          <a:xfrm>
            <a:off x="2935704" y="1671521"/>
            <a:ext cx="1281201" cy="535134"/>
          </a:xfrm>
          <a:prstGeom prst="rect">
            <a:avLst/>
          </a:prstGeom>
          <a:noFill/>
          <a:ln w="28575">
            <a:solidFill>
              <a:srgbClr val="FF725E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5C21F8-A848-68D1-A26A-FE3E5250FD5E}"/>
              </a:ext>
            </a:extLst>
          </p:cNvPr>
          <p:cNvSpPr txBox="1"/>
          <p:nvPr/>
        </p:nvSpPr>
        <p:spPr>
          <a:xfrm>
            <a:off x="4908883" y="3911671"/>
            <a:ext cx="2422356" cy="545431"/>
          </a:xfrm>
          <a:prstGeom prst="rect">
            <a:avLst/>
          </a:prstGeom>
          <a:noFill/>
          <a:ln w="28575">
            <a:solidFill>
              <a:srgbClr val="FF725E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6" name="Scroll: Horizontal 5">
            <a:extLst>
              <a:ext uri="{FF2B5EF4-FFF2-40B4-BE49-F238E27FC236}">
                <a16:creationId xmlns:a16="http://schemas.microsoft.com/office/drawing/2014/main" id="{07A93DFA-24AA-A0F7-EB0F-17F6350F9BBB}"/>
              </a:ext>
            </a:extLst>
          </p:cNvPr>
          <p:cNvSpPr/>
          <p:nvPr/>
        </p:nvSpPr>
        <p:spPr>
          <a:xfrm>
            <a:off x="6271054" y="30893"/>
            <a:ext cx="5581134" cy="1472512"/>
          </a:xfrm>
          <a:prstGeom prst="horizontalScroll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>
                <a:latin typeface="Tenorite"/>
                <a:cs typeface="Arial"/>
              </a:rPr>
              <a:t>Do you use "Normal Newborn" in your unit? </a:t>
            </a:r>
            <a:endParaRPr lang="en-US" sz="2400">
              <a:latin typeface="Tenorite"/>
            </a:endParaRPr>
          </a:p>
        </p:txBody>
      </p:sp>
      <p:sp>
        <p:nvSpPr>
          <p:cNvPr id="8" name="Google Shape;988;p64">
            <a:extLst>
              <a:ext uri="{FF2B5EF4-FFF2-40B4-BE49-F238E27FC236}">
                <a16:creationId xmlns:a16="http://schemas.microsoft.com/office/drawing/2014/main" id="{2C8D7320-68FA-420B-F934-97EE2AB736B0}"/>
              </a:ext>
            </a:extLst>
          </p:cNvPr>
          <p:cNvSpPr txBox="1">
            <a:spLocks/>
          </p:cNvSpPr>
          <p:nvPr/>
        </p:nvSpPr>
        <p:spPr>
          <a:xfrm>
            <a:off x="1272893" y="6089479"/>
            <a:ext cx="5187156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2400" b="1" kern="0">
                <a:solidFill>
                  <a:srgbClr val="FF725E"/>
                </a:solidFill>
                <a:latin typeface="Tenorite"/>
              </a:rPr>
              <a:t>What alternatives do you use?</a:t>
            </a:r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43255438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8" name="Google Shape;1318;p67"/>
          <p:cNvPicPr preferRelativeResize="0"/>
          <p:nvPr/>
        </p:nvPicPr>
        <p:blipFill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4365" y="5757883"/>
            <a:ext cx="927867" cy="760267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A white background with blue text&#10;&#10;Description automatically generated">
            <a:extLst>
              <a:ext uri="{FF2B5EF4-FFF2-40B4-BE49-F238E27FC236}">
                <a16:creationId xmlns:a16="http://schemas.microsoft.com/office/drawing/2014/main" id="{6FD33558-35DB-7719-0316-453BC89E2FE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5970" y="142683"/>
            <a:ext cx="6014449" cy="6572623"/>
          </a:xfrm>
          <a:prstGeom prst="rect">
            <a:avLst/>
          </a:prstGeom>
        </p:spPr>
      </p:pic>
      <p:sp>
        <p:nvSpPr>
          <p:cNvPr id="8" name="Subtitle 7">
            <a:extLst>
              <a:ext uri="{FF2B5EF4-FFF2-40B4-BE49-F238E27FC236}">
                <a16:creationId xmlns:a16="http://schemas.microsoft.com/office/drawing/2014/main" id="{F2F43110-8A2A-24FF-6A42-6AF6875138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 flipH="1">
            <a:off x="-3217" y="1495982"/>
            <a:ext cx="6067480" cy="5224355"/>
          </a:xfr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2600" b="1">
                <a:latin typeface="Tenorite"/>
              </a:rPr>
              <a:t>Minnesota State Office of Equity and Inclusion </a:t>
            </a:r>
            <a:r>
              <a:rPr lang="en-US" sz="2600" b="1">
                <a:latin typeface="Tenorite"/>
                <a:hlinkClick r:id="rId5"/>
              </a:rPr>
              <a:t>Policy Review Protocol</a:t>
            </a:r>
            <a:r>
              <a:rPr lang="en-US" sz="2600" b="1">
                <a:latin typeface="Tenorite"/>
              </a:rPr>
              <a:t>  </a:t>
            </a:r>
          </a:p>
          <a:p>
            <a:pPr algn="ctr"/>
            <a:endParaRPr lang="en-US" sz="1850">
              <a:latin typeface="Tenorite"/>
            </a:endParaRPr>
          </a:p>
          <a:p>
            <a:pPr>
              <a:buChar char="•"/>
            </a:pPr>
            <a:r>
              <a:rPr lang="en-US" sz="1850">
                <a:latin typeface="Tenorite"/>
              </a:rPr>
              <a:t>A protocol for policy review provides a structure for institutionalizing the considering of equity in the process of making, implementing, and assessing policy. </a:t>
            </a:r>
          </a:p>
          <a:p>
            <a:pPr>
              <a:buChar char="•"/>
            </a:pPr>
            <a:endParaRPr lang="en-US" sz="1850">
              <a:latin typeface="Tenorite"/>
            </a:endParaRPr>
          </a:p>
          <a:p>
            <a:pPr>
              <a:buChar char="•"/>
            </a:pPr>
            <a:r>
              <a:rPr lang="en-US" sz="1850">
                <a:latin typeface="Tenorite"/>
              </a:rPr>
              <a:t>Includes the following: </a:t>
            </a:r>
          </a:p>
          <a:p>
            <a:pPr lvl="1">
              <a:buFont typeface="Arial"/>
              <a:buChar char="o"/>
            </a:pPr>
            <a:r>
              <a:rPr lang="en-US" sz="1850">
                <a:latin typeface="Tenorite"/>
              </a:rPr>
              <a:t>Steps to forming a policy review team</a:t>
            </a:r>
          </a:p>
          <a:p>
            <a:pPr lvl="1">
              <a:buFont typeface="Arial"/>
              <a:buChar char="o"/>
            </a:pPr>
            <a:r>
              <a:rPr lang="en-US" sz="1850">
                <a:latin typeface="Tenorite"/>
              </a:rPr>
              <a:t>Outlining a timeline</a:t>
            </a:r>
          </a:p>
          <a:p>
            <a:pPr lvl="1">
              <a:buFont typeface="Arial"/>
              <a:buChar char="o"/>
            </a:pPr>
            <a:r>
              <a:rPr lang="en-US" sz="1850" b="1">
                <a:solidFill>
                  <a:srgbClr val="FF725E"/>
                </a:solidFill>
                <a:latin typeface="Tenorite"/>
              </a:rPr>
              <a:t>Determining policy purpose and impact</a:t>
            </a:r>
          </a:p>
          <a:p>
            <a:pPr lvl="1">
              <a:buFont typeface="Arial"/>
              <a:buChar char="o"/>
            </a:pPr>
            <a:r>
              <a:rPr lang="en-US" sz="1850">
                <a:latin typeface="Tenorite"/>
              </a:rPr>
              <a:t>Defining underrepresented/ underserved/ marginalized communities</a:t>
            </a:r>
          </a:p>
        </p:txBody>
      </p:sp>
      <p:sp>
        <p:nvSpPr>
          <p:cNvPr id="3" name="Google Shape;988;p64">
            <a:extLst>
              <a:ext uri="{FF2B5EF4-FFF2-40B4-BE49-F238E27FC236}">
                <a16:creationId xmlns:a16="http://schemas.microsoft.com/office/drawing/2014/main" id="{3FCC60B2-C876-A1BD-5C5E-5D8CDAFE61DF}"/>
              </a:ext>
            </a:extLst>
          </p:cNvPr>
          <p:cNvSpPr txBox="1">
            <a:spLocks/>
          </p:cNvSpPr>
          <p:nvPr/>
        </p:nvSpPr>
        <p:spPr>
          <a:xfrm>
            <a:off x="358350" y="363702"/>
            <a:ext cx="5374586" cy="7356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2800" b="1" kern="0">
                <a:solidFill>
                  <a:srgbClr val="FF725E"/>
                </a:solidFill>
                <a:latin typeface="Tenorite"/>
              </a:rPr>
              <a:t>Equity goes beyond inclusive language ..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22062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web page&#10;&#10;Description automatically generated">
            <a:extLst>
              <a:ext uri="{FF2B5EF4-FFF2-40B4-BE49-F238E27FC236}">
                <a16:creationId xmlns:a16="http://schemas.microsoft.com/office/drawing/2014/main" id="{10100E4C-6D17-79D5-A3D9-3B5B14E0DC1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4579" y="2600551"/>
            <a:ext cx="11819443" cy="4034135"/>
          </a:xfrm>
          <a:prstGeom prst="rect">
            <a:avLst/>
          </a:prstGeom>
        </p:spPr>
      </p:pic>
      <p:sp>
        <p:nvSpPr>
          <p:cNvPr id="3" name="Thought Bubble: Cloud 2">
            <a:extLst>
              <a:ext uri="{FF2B5EF4-FFF2-40B4-BE49-F238E27FC236}">
                <a16:creationId xmlns:a16="http://schemas.microsoft.com/office/drawing/2014/main" id="{1DCE581A-6707-AD2B-8CF0-D27B15F883D8}"/>
              </a:ext>
            </a:extLst>
          </p:cNvPr>
          <p:cNvSpPr/>
          <p:nvPr/>
        </p:nvSpPr>
        <p:spPr>
          <a:xfrm>
            <a:off x="3304417" y="-1726"/>
            <a:ext cx="8061156" cy="2638926"/>
          </a:xfrm>
          <a:prstGeom prst="cloudCallou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D4A95C2-3246-F112-8975-19C451209F3D}"/>
              </a:ext>
            </a:extLst>
          </p:cNvPr>
          <p:cNvSpPr txBox="1"/>
          <p:nvPr/>
        </p:nvSpPr>
        <p:spPr>
          <a:xfrm>
            <a:off x="4332143" y="425719"/>
            <a:ext cx="6359227" cy="17543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solidFill>
                  <a:srgbClr val="FFFFFF"/>
                </a:solidFill>
                <a:latin typeface="Tenorite"/>
                <a:cs typeface="Arial"/>
              </a:rPr>
              <a:t>Ex: </a:t>
            </a:r>
            <a:r>
              <a:rPr lang="en-US">
                <a:solidFill>
                  <a:srgbClr val="FFFFFF"/>
                </a:solidFill>
                <a:latin typeface="Tenorite"/>
                <a:cs typeface="Arial"/>
              </a:rPr>
              <a:t>NICU Visitation Guidelines </a:t>
            </a:r>
          </a:p>
          <a:p>
            <a:r>
              <a:rPr lang="en-US" b="1">
                <a:solidFill>
                  <a:srgbClr val="FFFFFF"/>
                </a:solidFill>
                <a:latin typeface="Tenorite"/>
                <a:cs typeface="Arial"/>
              </a:rPr>
              <a:t>Policy Purpose: </a:t>
            </a:r>
            <a:r>
              <a:rPr lang="en-US">
                <a:solidFill>
                  <a:srgbClr val="FFFFFF"/>
                </a:solidFill>
                <a:latin typeface="Tenorite"/>
                <a:cs typeface="Arial"/>
              </a:rPr>
              <a:t>To establish guidelines and general conduct for caregivers, parents, and siblings visiting infants in the Neonatal Intensive Care Unit.</a:t>
            </a:r>
          </a:p>
          <a:p>
            <a:r>
              <a:rPr lang="en-US" b="1">
                <a:solidFill>
                  <a:srgbClr val="FFFFFF"/>
                </a:solidFill>
                <a:latin typeface="Tenorite"/>
                <a:cs typeface="Arial"/>
              </a:rPr>
              <a:t>Hours: </a:t>
            </a:r>
            <a:r>
              <a:rPr lang="en-US">
                <a:solidFill>
                  <a:srgbClr val="FFFFFF"/>
                </a:solidFill>
                <a:latin typeface="Tenorite"/>
                <a:cs typeface="Arial"/>
              </a:rPr>
              <a:t>24 hours? 6 am – 8 pm? Does your hospital have time restrictions around visitation hours?</a:t>
            </a:r>
          </a:p>
        </p:txBody>
      </p:sp>
    </p:spTree>
    <p:extLst>
      <p:ext uri="{BB962C8B-B14F-4D97-AF65-F5344CB8AC3E}">
        <p14:creationId xmlns:p14="http://schemas.microsoft.com/office/powerpoint/2010/main" val="11061986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16905CAD-983C-93A2-FBB7-B34EBFC11280}"/>
              </a:ext>
            </a:extLst>
          </p:cNvPr>
          <p:cNvGrpSpPr/>
          <p:nvPr/>
        </p:nvGrpSpPr>
        <p:grpSpPr>
          <a:xfrm>
            <a:off x="517027" y="2514587"/>
            <a:ext cx="11409027" cy="3833395"/>
            <a:chOff x="374708" y="987643"/>
            <a:chExt cx="11409027" cy="3833395"/>
          </a:xfrm>
        </p:grpSpPr>
        <p:pic>
          <p:nvPicPr>
            <p:cNvPr id="4" name="Picture 3" descr="A screenshot of a web page&#10;&#10;Description automatically generated">
              <a:extLst>
                <a:ext uri="{FF2B5EF4-FFF2-40B4-BE49-F238E27FC236}">
                  <a16:creationId xmlns:a16="http://schemas.microsoft.com/office/drawing/2014/main" id="{10100E4C-6D17-79D5-A3D9-3B5B14E0DC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205"/>
            <a:stretch/>
          </p:blipFill>
          <p:spPr>
            <a:xfrm>
              <a:off x="389576" y="2323419"/>
              <a:ext cx="11388615" cy="2497619"/>
            </a:xfrm>
            <a:prstGeom prst="rect">
              <a:avLst/>
            </a:prstGeom>
          </p:spPr>
        </p:pic>
        <p:pic>
          <p:nvPicPr>
            <p:cNvPr id="2" name="Picture 1" descr="A green sign with white text&#10;&#10;Description automatically generated">
              <a:extLst>
                <a:ext uri="{FF2B5EF4-FFF2-40B4-BE49-F238E27FC236}">
                  <a16:creationId xmlns:a16="http://schemas.microsoft.com/office/drawing/2014/main" id="{567D6E4C-AF0B-6757-38FF-651C538FF1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4708" y="987643"/>
              <a:ext cx="11409027" cy="1335641"/>
            </a:xfrm>
            <a:prstGeom prst="rect">
              <a:avLst/>
            </a:prstGeom>
          </p:spPr>
        </p:pic>
      </p:grpSp>
      <p:sp>
        <p:nvSpPr>
          <p:cNvPr id="6" name="Thought Bubble: Cloud 5">
            <a:extLst>
              <a:ext uri="{FF2B5EF4-FFF2-40B4-BE49-F238E27FC236}">
                <a16:creationId xmlns:a16="http://schemas.microsoft.com/office/drawing/2014/main" id="{494DDD75-D107-4DCF-67DB-35DCDD52152E}"/>
              </a:ext>
            </a:extLst>
          </p:cNvPr>
          <p:cNvSpPr/>
          <p:nvPr/>
        </p:nvSpPr>
        <p:spPr>
          <a:xfrm flipH="1">
            <a:off x="3015657" y="6294"/>
            <a:ext cx="8582524" cy="2526632"/>
          </a:xfrm>
          <a:prstGeom prst="cloudCallou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A3F8040-3501-0E5C-FC3E-1A2471D1C84F}"/>
              </a:ext>
            </a:extLst>
          </p:cNvPr>
          <p:cNvSpPr txBox="1"/>
          <p:nvPr/>
        </p:nvSpPr>
        <p:spPr>
          <a:xfrm>
            <a:off x="4211828" y="417698"/>
            <a:ext cx="6591838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solidFill>
                  <a:srgbClr val="FFFFFF"/>
                </a:solidFill>
                <a:latin typeface="Tenorite"/>
                <a:cs typeface="Arial"/>
              </a:rPr>
              <a:t>Ex: </a:t>
            </a:r>
            <a:r>
              <a:rPr lang="en-US">
                <a:solidFill>
                  <a:srgbClr val="FFFFFF"/>
                </a:solidFill>
                <a:latin typeface="Tenorite"/>
                <a:cs typeface="Arial"/>
              </a:rPr>
              <a:t>NICU Visitation Guidelines </a:t>
            </a:r>
          </a:p>
          <a:p>
            <a:r>
              <a:rPr lang="en-US" b="1">
                <a:solidFill>
                  <a:srgbClr val="FFFFFF"/>
                </a:solidFill>
                <a:latin typeface="Tenorite"/>
                <a:cs typeface="Arial"/>
              </a:rPr>
              <a:t>Policy Impact: </a:t>
            </a:r>
            <a:r>
              <a:rPr lang="en-US" b="1" i="1">
                <a:solidFill>
                  <a:srgbClr val="FFFFFF"/>
                </a:solidFill>
                <a:latin typeface="Tenorite"/>
                <a:cs typeface="Arial"/>
              </a:rPr>
              <a:t>Priority</a:t>
            </a:r>
            <a:r>
              <a:rPr lang="en-US" b="1">
                <a:solidFill>
                  <a:srgbClr val="FFFFFF"/>
                </a:solidFill>
                <a:latin typeface="Tenorite"/>
                <a:cs typeface="Arial"/>
              </a:rPr>
              <a:t> - </a:t>
            </a:r>
            <a:r>
              <a:rPr lang="en-US">
                <a:solidFill>
                  <a:srgbClr val="FFFFFF"/>
                </a:solidFill>
                <a:latin typeface="Tenorite"/>
                <a:cs typeface="Arial"/>
              </a:rPr>
              <a:t>Protect the health of an infant receiving care in the NICU</a:t>
            </a:r>
          </a:p>
          <a:p>
            <a:r>
              <a:rPr lang="en-US" b="1">
                <a:solidFill>
                  <a:srgbClr val="FFFFFF"/>
                </a:solidFill>
                <a:latin typeface="Tenorite"/>
                <a:cs typeface="Arial"/>
              </a:rPr>
              <a:t>Policy Features: </a:t>
            </a:r>
            <a:r>
              <a:rPr lang="en-US">
                <a:solidFill>
                  <a:srgbClr val="FFFFFF"/>
                </a:solidFill>
                <a:latin typeface="Tenorite"/>
                <a:cs typeface="Arial"/>
              </a:rPr>
              <a:t>Establishing sanitation before visitation, limiting number of individuals in the room</a:t>
            </a:r>
          </a:p>
        </p:txBody>
      </p:sp>
    </p:spTree>
    <p:extLst>
      <p:ext uri="{BB962C8B-B14F-4D97-AF65-F5344CB8AC3E}">
        <p14:creationId xmlns:p14="http://schemas.microsoft.com/office/powerpoint/2010/main" val="7239509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black grid with white squares&#10;&#10;Description automatically generated">
            <a:extLst>
              <a:ext uri="{FF2B5EF4-FFF2-40B4-BE49-F238E27FC236}">
                <a16:creationId xmlns:a16="http://schemas.microsoft.com/office/drawing/2014/main" id="{0C9EB722-627E-C2D1-C3F2-3B71B084D4C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76561" y="-46462"/>
            <a:ext cx="12619462" cy="6904463"/>
          </a:xfrm>
          <a:prstGeom prst="rect">
            <a:avLst/>
          </a:prstGeom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4883840-FDEC-E449-F7BA-E78CCEC4D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250" y="57789"/>
            <a:ext cx="10972800" cy="1325563"/>
          </a:xfrm>
        </p:spPr>
        <p:txBody>
          <a:bodyPr/>
          <a:lstStyle/>
          <a:p>
            <a:r>
              <a:rPr lang="en-US" b="1">
                <a:solidFill>
                  <a:srgbClr val="1C498B"/>
                </a:solidFill>
                <a:ea typeface="+mj-lt"/>
                <a:cs typeface="+mj-lt"/>
              </a:rPr>
              <a:t>ESSI ABP MOC Part IV </a:t>
            </a:r>
            <a:endParaRPr lang="en-US" b="1">
              <a:solidFill>
                <a:srgbClr val="1C498B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26C49D-BF42-418D-9693-93ADFAD52C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53248"/>
            <a:ext cx="8466524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Complete an attestation form if you are an ABP-certified physician seeking </a:t>
            </a:r>
            <a:r>
              <a:rPr lang="en-US" sz="2200">
                <a:highlight>
                  <a:srgbClr val="FFFF00"/>
                </a:highlight>
                <a:ea typeface="+mn-lt"/>
                <a:cs typeface="+mn-lt"/>
              </a:rPr>
              <a:t>25 credits</a:t>
            </a:r>
            <a:r>
              <a:rPr lang="en-US" sz="2200">
                <a:ea typeface="+mn-lt"/>
                <a:cs typeface="+mn-lt"/>
              </a:rPr>
              <a:t> under </a:t>
            </a:r>
            <a:r>
              <a:rPr lang="en-US" sz="2200" b="1">
                <a:ea typeface="+mn-lt"/>
                <a:cs typeface="+mn-lt"/>
              </a:rPr>
              <a:t>MOC Part IV</a:t>
            </a:r>
            <a:endParaRPr lang="en-US" sz="2200" b="1"/>
          </a:p>
          <a:p>
            <a:r>
              <a:rPr lang="en-US" sz="2200">
                <a:ea typeface="+mn-lt"/>
                <a:cs typeface="+mn-lt"/>
              </a:rPr>
              <a:t>Submit the attestation form to your QI project leader for signature and send back to </a:t>
            </a:r>
            <a:r>
              <a:rPr lang="en-US" sz="2200">
                <a:ea typeface="+mn-lt"/>
                <a:cs typeface="+mn-lt"/>
                <a:hlinkClick r:id="rId3"/>
              </a:rPr>
              <a:t>info@ilpqc.org</a:t>
            </a:r>
            <a:r>
              <a:rPr lang="en-US" sz="2200">
                <a:ea typeface="+mn-lt"/>
                <a:cs typeface="+mn-lt"/>
              </a:rPr>
              <a:t> for credit in 2024 </a:t>
            </a:r>
            <a:endParaRPr lang="en-US" sz="2200"/>
          </a:p>
          <a:p>
            <a:r>
              <a:rPr lang="en-US" sz="2200" i="1">
                <a:ea typeface="+mn-lt"/>
                <a:cs typeface="+mn-lt"/>
              </a:rPr>
              <a:t>You can start submitting the attestation form in October. </a:t>
            </a:r>
          </a:p>
          <a:p>
            <a:pPr marL="0" indent="0">
              <a:buNone/>
            </a:pPr>
            <a:endParaRPr lang="en-US" sz="2200">
              <a:ea typeface="+mn-lt"/>
              <a:cs typeface="+mn-lt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Attestation of Meaningful Participation:</a:t>
            </a:r>
            <a:endParaRPr lang="en-US" sz="2200"/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Intellectually engaged in planning and executing the project</a:t>
            </a:r>
            <a:endParaRPr lang="en-US" sz="2200"/>
          </a:p>
          <a:p>
            <a:pPr lvl="1"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Participated in implementing the project’s interventions - the changes designed to improve care</a:t>
            </a:r>
            <a:endParaRPr lang="en-US" sz="2200"/>
          </a:p>
          <a:p>
            <a:pPr lvl="1">
              <a:spcAft>
                <a:spcPts val="0"/>
              </a:spcAft>
            </a:pPr>
            <a:r>
              <a:rPr lang="en-US" sz="2200">
                <a:ea typeface="+mn-lt"/>
                <a:cs typeface="+mn-lt"/>
              </a:rPr>
              <a:t>Regularly reviewed data in keeping with the project’s measurement plan</a:t>
            </a:r>
            <a:endParaRPr lang="en-US" sz="2200"/>
          </a:p>
          <a:p>
            <a:pPr lvl="1"/>
            <a:r>
              <a:rPr lang="en-US" sz="2200">
                <a:ea typeface="+mn-lt"/>
                <a:cs typeface="+mn-lt"/>
              </a:rPr>
              <a:t>Collaborated in the activity by attending team meetings </a:t>
            </a:r>
            <a:endParaRPr lang="en-US" sz="2200"/>
          </a:p>
          <a:p>
            <a:endParaRPr lang="en-US" sz="18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F35830-C5FE-E5C4-C61D-410AD9C7A32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78B19A-05AA-8C14-5B7B-8A35C6FAC9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6" descr="Doctor holding sign">
            <a:extLst>
              <a:ext uri="{FF2B5EF4-FFF2-40B4-BE49-F238E27FC236}">
                <a16:creationId xmlns:a16="http://schemas.microsoft.com/office/drawing/2014/main" id="{C8696215-900E-969A-3473-1717E6CDA9C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3207" y="1894043"/>
            <a:ext cx="2994102" cy="425338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16805E0-89D4-BF27-D15D-32B88E416414}"/>
              </a:ext>
            </a:extLst>
          </p:cNvPr>
          <p:cNvSpPr txBox="1"/>
          <p:nvPr/>
        </p:nvSpPr>
        <p:spPr>
          <a:xfrm>
            <a:off x="9171578" y="3192566"/>
            <a:ext cx="222095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b="1">
                <a:latin typeface="Cavolini"/>
                <a:cs typeface="Calibri"/>
              </a:rPr>
              <a:t>Claim your credits!</a:t>
            </a:r>
            <a:endParaRPr lang="en-US" sz="2400">
              <a:latin typeface="Cavolin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3354318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0B8432F3-6B42-EC73-B650-CCE15C2BCAE9}"/>
              </a:ext>
            </a:extLst>
          </p:cNvPr>
          <p:cNvGrpSpPr/>
          <p:nvPr/>
        </p:nvGrpSpPr>
        <p:grpSpPr>
          <a:xfrm>
            <a:off x="381562" y="2071221"/>
            <a:ext cx="11423145" cy="4512433"/>
            <a:chOff x="360590" y="987643"/>
            <a:chExt cx="11423145" cy="4512433"/>
          </a:xfrm>
        </p:grpSpPr>
        <p:pic>
          <p:nvPicPr>
            <p:cNvPr id="4" name="Picture 3" descr="A screenshot of a web page&#10;&#10;Description automatically generated">
              <a:extLst>
                <a:ext uri="{FF2B5EF4-FFF2-40B4-BE49-F238E27FC236}">
                  <a16:creationId xmlns:a16="http://schemas.microsoft.com/office/drawing/2014/main" id="{10100E4C-6D17-79D5-A3D9-3B5B14E0DC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60590" y="2209285"/>
              <a:ext cx="11422970" cy="3290791"/>
            </a:xfrm>
            <a:prstGeom prst="rect">
              <a:avLst/>
            </a:prstGeom>
          </p:spPr>
        </p:pic>
        <p:pic>
          <p:nvPicPr>
            <p:cNvPr id="3" name="Picture 2" descr="A green sign with white text&#10;&#10;Description automatically generated">
              <a:extLst>
                <a:ext uri="{FF2B5EF4-FFF2-40B4-BE49-F238E27FC236}">
                  <a16:creationId xmlns:a16="http://schemas.microsoft.com/office/drawing/2014/main" id="{A18172B6-AB61-D954-6CFE-3C8A0F6F6D4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4708" y="987643"/>
              <a:ext cx="11409027" cy="1335641"/>
            </a:xfrm>
            <a:prstGeom prst="rect">
              <a:avLst/>
            </a:prstGeom>
          </p:spPr>
        </p:pic>
      </p:grpSp>
      <p:sp>
        <p:nvSpPr>
          <p:cNvPr id="6" name="Thought Bubble: Cloud 5">
            <a:extLst>
              <a:ext uri="{FF2B5EF4-FFF2-40B4-BE49-F238E27FC236}">
                <a16:creationId xmlns:a16="http://schemas.microsoft.com/office/drawing/2014/main" id="{8CF3FB90-523C-C1FF-852B-1B120BCB8427}"/>
              </a:ext>
            </a:extLst>
          </p:cNvPr>
          <p:cNvSpPr/>
          <p:nvPr/>
        </p:nvSpPr>
        <p:spPr>
          <a:xfrm>
            <a:off x="3834762" y="-1726"/>
            <a:ext cx="7731337" cy="2096513"/>
          </a:xfrm>
          <a:prstGeom prst="cloudCallou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F8FF6A-29FB-0C93-C335-B70229C67F3C}"/>
              </a:ext>
            </a:extLst>
          </p:cNvPr>
          <p:cNvSpPr txBox="1"/>
          <p:nvPr/>
        </p:nvSpPr>
        <p:spPr>
          <a:xfrm>
            <a:off x="4706705" y="443601"/>
            <a:ext cx="5982238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solidFill>
                  <a:srgbClr val="FFFFFF"/>
                </a:solidFill>
                <a:latin typeface="Tenorite"/>
                <a:cs typeface="Arial"/>
              </a:rPr>
              <a:t>Ex: </a:t>
            </a:r>
            <a:r>
              <a:rPr lang="en-US">
                <a:solidFill>
                  <a:srgbClr val="FFFFFF"/>
                </a:solidFill>
                <a:latin typeface="Tenorite"/>
                <a:cs typeface="Arial"/>
              </a:rPr>
              <a:t>NICU Visitation Guidelines </a:t>
            </a:r>
          </a:p>
          <a:p>
            <a:r>
              <a:rPr lang="en-US" b="1">
                <a:solidFill>
                  <a:srgbClr val="FFFFFF"/>
                </a:solidFill>
                <a:latin typeface="Tenorite"/>
                <a:cs typeface="Arial"/>
              </a:rPr>
              <a:t>Considerations:</a:t>
            </a:r>
            <a:r>
              <a:rPr lang="en-US">
                <a:solidFill>
                  <a:srgbClr val="FFFFFF"/>
                </a:solidFill>
                <a:latin typeface="Tenorite"/>
                <a:cs typeface="Arial"/>
              </a:rPr>
              <a:t> Hours may accommodate individuals who work jobs with traditional hours, individuals may not be able to find childcare for siblings, etc. </a:t>
            </a:r>
          </a:p>
        </p:txBody>
      </p:sp>
    </p:spTree>
    <p:extLst>
      <p:ext uri="{BB962C8B-B14F-4D97-AF65-F5344CB8AC3E}">
        <p14:creationId xmlns:p14="http://schemas.microsoft.com/office/powerpoint/2010/main" val="294602770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questionnaire about policy&#10;&#10;Description automatically generated">
            <a:extLst>
              <a:ext uri="{FF2B5EF4-FFF2-40B4-BE49-F238E27FC236}">
                <a16:creationId xmlns:a16="http://schemas.microsoft.com/office/drawing/2014/main" id="{D2413054-BC4C-9169-2528-33C978FCD6B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416" y="420137"/>
            <a:ext cx="11031522" cy="6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5458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79978-6647-EDE0-87A0-C3A213094B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971478"/>
            <a:ext cx="9355083" cy="972753"/>
          </a:xfrm>
        </p:spPr>
        <p:txBody>
          <a:bodyPr/>
          <a:lstStyle/>
          <a:p>
            <a:r>
              <a:rPr lang="en-US">
                <a:solidFill>
                  <a:srgbClr val="1C498B"/>
                </a:solidFill>
                <a:latin typeface="Aptos"/>
                <a:ea typeface="Lato Medium"/>
                <a:cs typeface="Calibri"/>
              </a:rPr>
              <a:t>POLL: 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13DF45-5546-BD2D-CDE2-E95A74C5564B}"/>
              </a:ext>
            </a:extLst>
          </p:cNvPr>
          <p:cNvSpPr txBox="1">
            <a:spLocks/>
          </p:cNvSpPr>
          <p:nvPr/>
        </p:nvSpPr>
        <p:spPr>
          <a:xfrm>
            <a:off x="1416400" y="2106851"/>
            <a:ext cx="9365380" cy="327219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r>
              <a:rPr lang="en-US" sz="2400" i="1">
                <a:solidFill>
                  <a:srgbClr val="1C498B"/>
                </a:solidFill>
                <a:latin typeface="Aptos"/>
                <a:ea typeface="Lato Medium"/>
                <a:cs typeface="Calibri"/>
              </a:rPr>
              <a:t>Do you have a policy committee? </a:t>
            </a:r>
            <a:endParaRPr lang="en-US"/>
          </a:p>
          <a:p>
            <a:r>
              <a:rPr lang="en-US" sz="2400" i="1">
                <a:solidFill>
                  <a:srgbClr val="1C498B"/>
                </a:solidFill>
                <a:latin typeface="Aptos"/>
                <a:ea typeface="Lato Medium"/>
                <a:cs typeface="Calibri"/>
              </a:rPr>
              <a:t>Are you on the policy committee? </a:t>
            </a:r>
          </a:p>
          <a:p>
            <a:r>
              <a:rPr lang="en-US" sz="2400" i="1">
                <a:solidFill>
                  <a:srgbClr val="1C498B"/>
                </a:solidFill>
                <a:latin typeface="Aptos"/>
                <a:ea typeface="Lato Medium"/>
                <a:cs typeface="Calibri"/>
              </a:rPr>
              <a:t>How often are your policies reviewed?</a:t>
            </a:r>
            <a:endParaRPr lang="en-US" sz="2400" i="1">
              <a:solidFill>
                <a:srgbClr val="1C498B"/>
              </a:solidFill>
              <a:latin typeface="Aptos"/>
              <a:cs typeface="Calibri"/>
            </a:endParaRPr>
          </a:p>
          <a:p>
            <a:r>
              <a:rPr lang="en-US" sz="2400" i="1">
                <a:solidFill>
                  <a:srgbClr val="1C498B"/>
                </a:solidFill>
                <a:latin typeface="Aptos"/>
                <a:ea typeface="Lato Medium"/>
                <a:cs typeface="Calibri"/>
              </a:rPr>
              <a:t>Has anyone on your Policy Review Committee participated in Implicit Bias Training?   </a:t>
            </a:r>
            <a:endParaRPr lang="en-US" sz="2400" i="1">
              <a:solidFill>
                <a:srgbClr val="1C498B"/>
              </a:solidFill>
              <a:latin typeface="Aptos"/>
              <a:cs typeface="Calibri"/>
            </a:endParaRPr>
          </a:p>
          <a:p>
            <a:r>
              <a:rPr lang="en-US" sz="2400" i="1">
                <a:solidFill>
                  <a:srgbClr val="1C498B"/>
                </a:solidFill>
                <a:latin typeface="Aptos"/>
                <a:ea typeface="Lato Medium"/>
                <a:cs typeface="Calibri"/>
              </a:rPr>
              <a:t>Would you be open to having a parent reviewing your policies?</a:t>
            </a:r>
            <a:endParaRPr lang="en-US" sz="2400" i="1">
              <a:solidFill>
                <a:srgbClr val="1C498B"/>
              </a:solidFill>
              <a:latin typeface="Aptos"/>
              <a:cs typeface="Calibri"/>
            </a:endParaRPr>
          </a:p>
          <a:p>
            <a:endParaRPr lang="en-US" sz="2400" i="1">
              <a:solidFill>
                <a:srgbClr val="1C498B"/>
              </a:solidFill>
              <a:latin typeface="Aptos"/>
              <a:cs typeface="Calibri"/>
            </a:endParaRPr>
          </a:p>
          <a:p>
            <a:endParaRPr lang="en-US" sz="2400" i="1">
              <a:solidFill>
                <a:srgbClr val="1C498B"/>
              </a:solidFill>
              <a:latin typeface="Aptos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4869920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98C895-010C-5717-06D1-AF21A98AD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322" y="506545"/>
            <a:ext cx="7872459" cy="658191"/>
          </a:xfrm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/>
          <a:p>
            <a:pPr algn="l"/>
            <a:r>
              <a:rPr lang="en-US" b="1">
                <a:latin typeface="Tenorite"/>
              </a:rPr>
              <a:t>ESSI Homework and Next Steps: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6492B6D-9989-DCB2-F892-13375E036B59}"/>
              </a:ext>
            </a:extLst>
          </p:cNvPr>
          <p:cNvSpPr txBox="1">
            <a:spLocks/>
          </p:cNvSpPr>
          <p:nvPr/>
        </p:nvSpPr>
        <p:spPr>
          <a:xfrm>
            <a:off x="402322" y="1715958"/>
            <a:ext cx="11123193" cy="239596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 b="0" i="0" u="none" strike="noStrike" cap="none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 b="0" i="0" u="none" strike="noStrike" cap="none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 b="0" i="0" u="none" strike="noStrike" cap="none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 b="0" i="0" u="none" strike="noStrike" cap="none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 b="0" i="0" u="none" strike="noStrike" cap="none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 b="0" i="0" u="none" strike="noStrike" cap="none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 b="0" i="0" u="none" strike="noStrike" cap="none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 b="0" i="0" u="none" strike="noStrike" cap="none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 b="0" i="0" u="none" strike="noStrike" cap="none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9pPr>
          </a:lstStyle>
          <a:p>
            <a:pPr algn="l"/>
            <a:r>
              <a:rPr lang="en-US" b="1" kern="0">
                <a:latin typeface="Tenorite"/>
              </a:rPr>
              <a:t>1. Share this information with your policy committee </a:t>
            </a:r>
            <a:endParaRPr lang="en-US"/>
          </a:p>
          <a:p>
            <a:pPr algn="l"/>
            <a:r>
              <a:rPr lang="en-US" b="1" kern="0">
                <a:latin typeface="Tenorite"/>
              </a:rPr>
              <a:t>2. Think about your current policy review process and brainstorm one idea with how you will implement utilizing an equity lens at your hospital.</a:t>
            </a:r>
          </a:p>
          <a:p>
            <a:pPr algn="l"/>
            <a:r>
              <a:rPr lang="en-US" b="1" kern="0">
                <a:latin typeface="Tenorite"/>
              </a:rPr>
              <a:t>3. Email ILPQC your idea!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4026D41-F64B-2DBC-3E09-17EC7E647EF7}"/>
              </a:ext>
            </a:extLst>
          </p:cNvPr>
          <p:cNvSpPr txBox="1">
            <a:spLocks/>
          </p:cNvSpPr>
          <p:nvPr/>
        </p:nvSpPr>
        <p:spPr>
          <a:xfrm>
            <a:off x="402862" y="4429457"/>
            <a:ext cx="11123193" cy="121556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 b="0" i="0" u="none" strike="noStrike" cap="none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 b="0" i="0" u="none" strike="noStrike" cap="none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 b="0" i="0" u="none" strike="noStrike" cap="none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 b="0" i="0" u="none" strike="noStrike" cap="none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 b="0" i="0" u="none" strike="noStrike" cap="none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 b="0" i="0" u="none" strike="noStrike" cap="none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 b="0" i="0" u="none" strike="noStrike" cap="none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 b="0" i="0" u="none" strike="noStrike" cap="none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 b="0" i="0" u="none" strike="noStrike" cap="none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9pPr>
          </a:lstStyle>
          <a:p>
            <a:pPr algn="l"/>
            <a:r>
              <a:rPr lang="en-US" b="1" kern="0">
                <a:latin typeface="Tenorite"/>
              </a:rPr>
              <a:t>ILPQC is working with additional policy and advocacy stakeholders to create a process and tool to implement this strategy.</a:t>
            </a:r>
          </a:p>
        </p:txBody>
      </p:sp>
      <p:sp>
        <p:nvSpPr>
          <p:cNvPr id="6" name="Scroll: Horizontal 5">
            <a:extLst>
              <a:ext uri="{FF2B5EF4-FFF2-40B4-BE49-F238E27FC236}">
                <a16:creationId xmlns:a16="http://schemas.microsoft.com/office/drawing/2014/main" id="{F59FB71C-C2E1-B4B1-3B6E-1806F0237224}"/>
              </a:ext>
            </a:extLst>
          </p:cNvPr>
          <p:cNvSpPr/>
          <p:nvPr/>
        </p:nvSpPr>
        <p:spPr>
          <a:xfrm>
            <a:off x="3892378" y="5642919"/>
            <a:ext cx="4983891" cy="967945"/>
          </a:xfrm>
          <a:prstGeom prst="horizontalScroll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29DA2D-F387-262F-D59C-C8DC188D65C8}"/>
              </a:ext>
            </a:extLst>
          </p:cNvPr>
          <p:cNvSpPr txBox="1"/>
          <p:nvPr/>
        </p:nvSpPr>
        <p:spPr>
          <a:xfrm>
            <a:off x="4983891" y="5766486"/>
            <a:ext cx="3459892" cy="736163"/>
          </a:xfrm>
          <a:prstGeom prst="horizontalScroll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000">
                <a:solidFill>
                  <a:srgbClr val="FFFFFF"/>
                </a:solidFill>
                <a:latin typeface="Tenorite"/>
                <a:cs typeface="Arial"/>
              </a:rPr>
              <a:t>More to come!</a:t>
            </a:r>
            <a:endParaRPr lang="en-US" sz="3000">
              <a:solidFill>
                <a:srgbClr val="FFFFFF"/>
              </a:solidFill>
              <a:latin typeface="Tenorite"/>
            </a:endParaRPr>
          </a:p>
        </p:txBody>
      </p:sp>
    </p:spTree>
    <p:extLst>
      <p:ext uri="{BB962C8B-B14F-4D97-AF65-F5344CB8AC3E}">
        <p14:creationId xmlns:p14="http://schemas.microsoft.com/office/powerpoint/2010/main" val="70592086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D2338B7-8A5F-1FA9-1C1C-18704A91A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1593DC0F-5F3B-5223-DDDC-A33D31738B8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29110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D4F4F068-5141-BA50-488F-7DD1F7117D0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95500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chart&#10;&#10;Description automatically generated">
            <a:extLst>
              <a:ext uri="{FF2B5EF4-FFF2-40B4-BE49-F238E27FC236}">
                <a16:creationId xmlns:a16="http://schemas.microsoft.com/office/drawing/2014/main" id="{F5CFC92E-985B-AC81-30B8-408076D93A7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25868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data dashboard&#10;&#10;Description automatically generated">
            <a:extLst>
              <a:ext uri="{FF2B5EF4-FFF2-40B4-BE49-F238E27FC236}">
                <a16:creationId xmlns:a16="http://schemas.microsoft.com/office/drawing/2014/main" id="{815876A1-4E52-9BAE-439D-13DC16697C5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97676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graph&#10;&#10;Description automatically generated">
            <a:extLst>
              <a:ext uri="{FF2B5EF4-FFF2-40B4-BE49-F238E27FC236}">
                <a16:creationId xmlns:a16="http://schemas.microsoft.com/office/drawing/2014/main" id="{8B2D8F27-25B8-ADB8-D42F-371296B6901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2841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computer dashboard&#10;&#10;Description automatically generated">
            <a:extLst>
              <a:ext uri="{FF2B5EF4-FFF2-40B4-BE49-F238E27FC236}">
                <a16:creationId xmlns:a16="http://schemas.microsoft.com/office/drawing/2014/main" id="{9D163076-D5D9-178B-85E0-084A6A185A3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4707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ptos"/>
                <a:ea typeface="Lato Medium"/>
                <a:cs typeface="Lato Medium"/>
              </a:rPr>
              <a:t>ATTENDANCE POLL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ptos"/>
                <a:ea typeface="Lato"/>
                <a:cs typeface="Lato"/>
              </a:rPr>
              <a:t>Please fill out the poll so that we can track hospital team attendance at ESSI webinars.</a:t>
            </a:r>
          </a:p>
        </p:txBody>
      </p:sp>
    </p:spTree>
    <p:extLst>
      <p:ext uri="{BB962C8B-B14F-4D97-AF65-F5344CB8AC3E}">
        <p14:creationId xmlns:p14="http://schemas.microsoft.com/office/powerpoint/2010/main" val="237326832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graph&#10;&#10;Description automatically generated">
            <a:extLst>
              <a:ext uri="{FF2B5EF4-FFF2-40B4-BE49-F238E27FC236}">
                <a16:creationId xmlns:a16="http://schemas.microsoft.com/office/drawing/2014/main" id="{1F6C399C-FD30-31D7-FBCC-93AA7A6AC45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21623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dashboard&#10;&#10;Description automatically generated">
            <a:extLst>
              <a:ext uri="{FF2B5EF4-FFF2-40B4-BE49-F238E27FC236}">
                <a16:creationId xmlns:a16="http://schemas.microsoft.com/office/drawing/2014/main" id="{FC0DBEE2-4847-4A46-C81C-D1FE616FCBA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77696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dashboard&#10;&#10;Description automatically generated">
            <a:extLst>
              <a:ext uri="{FF2B5EF4-FFF2-40B4-BE49-F238E27FC236}">
                <a16:creationId xmlns:a16="http://schemas.microsoft.com/office/drawing/2014/main" id="{1DC7E2C0-A82A-655D-20FF-D98531A3010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77"/>
            <a:ext cx="12192000" cy="6852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24279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aph on a white background&#10;&#10;Description automatically generated">
            <a:extLst>
              <a:ext uri="{FF2B5EF4-FFF2-40B4-BE49-F238E27FC236}">
                <a16:creationId xmlns:a16="http://schemas.microsoft.com/office/drawing/2014/main" id="{4E6D23A8-F3AB-056F-6668-CEA58E08EB1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55859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aph on a white sheet&#10;&#10;Description automatically generated">
            <a:extLst>
              <a:ext uri="{FF2B5EF4-FFF2-40B4-BE49-F238E27FC236}">
                <a16:creationId xmlns:a16="http://schemas.microsoft.com/office/drawing/2014/main" id="{08BDC04E-6E1A-7E0C-AC61-D242C62D219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4655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medical record&#10;&#10;Description automatically generated">
            <a:extLst>
              <a:ext uri="{FF2B5EF4-FFF2-40B4-BE49-F238E27FC236}">
                <a16:creationId xmlns:a16="http://schemas.microsoft.com/office/drawing/2014/main" id="{EE14302F-7856-E85F-F018-851E4CCF680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71977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58709" y="1308390"/>
            <a:ext cx="10193962" cy="2014679"/>
          </a:xfrm>
        </p:spPr>
        <p:txBody>
          <a:bodyPr/>
          <a:lstStyle/>
          <a:p>
            <a:r>
              <a:rPr lang="en-US">
                <a:latin typeface="DM Sans"/>
                <a:ea typeface="Lato Medium"/>
                <a:cs typeface="Lato Medium"/>
              </a:rPr>
              <a:t>Upcoming Opportunities of Interest to ESSI Teams</a:t>
            </a:r>
            <a:endParaRPr lang="en-US">
              <a:latin typeface="DM Sans"/>
            </a:endParaRPr>
          </a:p>
        </p:txBody>
      </p:sp>
    </p:spTree>
    <p:extLst>
      <p:ext uri="{BB962C8B-B14F-4D97-AF65-F5344CB8AC3E}">
        <p14:creationId xmlns:p14="http://schemas.microsoft.com/office/powerpoint/2010/main" val="309904556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C24D170-470C-EBF9-A9D9-AC9B4DE9353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47</a:t>
            </a:fld>
            <a:endParaRPr lang="en-US"/>
          </a:p>
        </p:txBody>
      </p:sp>
      <p:pic>
        <p:nvPicPr>
          <p:cNvPr id="3" name="Picture 2" descr="A poster with text and images&#10;&#10;Description automatically generated">
            <a:extLst>
              <a:ext uri="{FF2B5EF4-FFF2-40B4-BE49-F238E27FC236}">
                <a16:creationId xmlns:a16="http://schemas.microsoft.com/office/drawing/2014/main" id="{A288EBDE-0530-ED4A-108D-599BAD820B3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66328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B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15609" y="-19324"/>
            <a:ext cx="12178421" cy="3448324"/>
            <a:chOff x="0" y="0"/>
            <a:chExt cx="61498202" cy="18166193"/>
          </a:xfrm>
        </p:grpSpPr>
        <p:sp>
          <p:nvSpPr>
            <p:cNvPr id="3" name="Freeform 3"/>
            <p:cNvSpPr/>
            <p:nvPr/>
          </p:nvSpPr>
          <p:spPr>
            <a:xfrm>
              <a:off x="72390" y="72390"/>
              <a:ext cx="61353423" cy="18021413"/>
            </a:xfrm>
            <a:custGeom>
              <a:avLst/>
              <a:gdLst/>
              <a:ahLst/>
              <a:cxnLst/>
              <a:rect l="l" t="t" r="r" b="b"/>
              <a:pathLst>
                <a:path w="61353423" h="18021413">
                  <a:moveTo>
                    <a:pt x="0" y="0"/>
                  </a:moveTo>
                  <a:lnTo>
                    <a:pt x="61353423" y="0"/>
                  </a:lnTo>
                  <a:lnTo>
                    <a:pt x="61353423" y="18021413"/>
                  </a:lnTo>
                  <a:lnTo>
                    <a:pt x="0" y="180214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4" name="Freeform 4"/>
            <p:cNvSpPr/>
            <p:nvPr/>
          </p:nvSpPr>
          <p:spPr>
            <a:xfrm>
              <a:off x="0" y="0"/>
              <a:ext cx="61498200" cy="18166193"/>
            </a:xfrm>
            <a:custGeom>
              <a:avLst/>
              <a:gdLst/>
              <a:ahLst/>
              <a:cxnLst/>
              <a:rect l="l" t="t" r="r" b="b"/>
              <a:pathLst>
                <a:path w="61498200" h="18166193">
                  <a:moveTo>
                    <a:pt x="61353421" y="18021413"/>
                  </a:moveTo>
                  <a:lnTo>
                    <a:pt x="61498200" y="18021413"/>
                  </a:lnTo>
                  <a:lnTo>
                    <a:pt x="61498200" y="18166193"/>
                  </a:lnTo>
                  <a:lnTo>
                    <a:pt x="61353421" y="18166193"/>
                  </a:lnTo>
                  <a:lnTo>
                    <a:pt x="61353421" y="18021413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18021413"/>
                  </a:lnTo>
                  <a:lnTo>
                    <a:pt x="0" y="18021413"/>
                  </a:lnTo>
                  <a:lnTo>
                    <a:pt x="0" y="144780"/>
                  </a:lnTo>
                  <a:close/>
                  <a:moveTo>
                    <a:pt x="0" y="18021413"/>
                  </a:moveTo>
                  <a:lnTo>
                    <a:pt x="144780" y="18021413"/>
                  </a:lnTo>
                  <a:lnTo>
                    <a:pt x="144780" y="18166193"/>
                  </a:lnTo>
                  <a:lnTo>
                    <a:pt x="0" y="18166193"/>
                  </a:lnTo>
                  <a:lnTo>
                    <a:pt x="0" y="18021413"/>
                  </a:lnTo>
                  <a:close/>
                  <a:moveTo>
                    <a:pt x="61353421" y="144780"/>
                  </a:moveTo>
                  <a:lnTo>
                    <a:pt x="61498200" y="144780"/>
                  </a:lnTo>
                  <a:lnTo>
                    <a:pt x="61498200" y="18021413"/>
                  </a:lnTo>
                  <a:lnTo>
                    <a:pt x="61353421" y="18021413"/>
                  </a:lnTo>
                  <a:lnTo>
                    <a:pt x="61353421" y="144780"/>
                  </a:lnTo>
                  <a:close/>
                  <a:moveTo>
                    <a:pt x="144780" y="18021413"/>
                  </a:moveTo>
                  <a:lnTo>
                    <a:pt x="61353421" y="18021413"/>
                  </a:lnTo>
                  <a:lnTo>
                    <a:pt x="61353421" y="18166193"/>
                  </a:lnTo>
                  <a:lnTo>
                    <a:pt x="144780" y="18166193"/>
                  </a:lnTo>
                  <a:lnTo>
                    <a:pt x="144780" y="18021413"/>
                  </a:lnTo>
                  <a:close/>
                  <a:moveTo>
                    <a:pt x="61353421" y="0"/>
                  </a:moveTo>
                  <a:lnTo>
                    <a:pt x="61498200" y="0"/>
                  </a:lnTo>
                  <a:lnTo>
                    <a:pt x="61498200" y="144780"/>
                  </a:lnTo>
                  <a:lnTo>
                    <a:pt x="61353421" y="144780"/>
                  </a:lnTo>
                  <a:lnTo>
                    <a:pt x="61353421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61353421" y="0"/>
                  </a:lnTo>
                  <a:lnTo>
                    <a:pt x="61353421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sp>
        <p:nvSpPr>
          <p:cNvPr id="5" name="Freeform 5"/>
          <p:cNvSpPr/>
          <p:nvPr/>
        </p:nvSpPr>
        <p:spPr>
          <a:xfrm>
            <a:off x="8005932" y="3429000"/>
            <a:ext cx="2929524" cy="3451575"/>
          </a:xfrm>
          <a:custGeom>
            <a:avLst/>
            <a:gdLst/>
            <a:ahLst/>
            <a:cxnLst/>
            <a:rect l="l" t="t" r="r" b="b"/>
            <a:pathLst>
              <a:path w="4394286" h="5177362">
                <a:moveTo>
                  <a:pt x="0" y="0"/>
                </a:moveTo>
                <a:lnTo>
                  <a:pt x="4394286" y="0"/>
                </a:lnTo>
                <a:lnTo>
                  <a:pt x="4394286" y="5177362"/>
                </a:lnTo>
                <a:lnTo>
                  <a:pt x="0" y="5177362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6" name="Freeform 6"/>
          <p:cNvSpPr/>
          <p:nvPr/>
        </p:nvSpPr>
        <p:spPr>
          <a:xfrm>
            <a:off x="0" y="0"/>
            <a:ext cx="6858000" cy="6858000"/>
          </a:xfrm>
          <a:custGeom>
            <a:avLst/>
            <a:gdLst/>
            <a:ahLst/>
            <a:cxnLst/>
            <a:rect l="l" t="t" r="r" b="b"/>
            <a:pathLst>
              <a:path w="10287000" h="10287000">
                <a:moveTo>
                  <a:pt x="0" y="0"/>
                </a:moveTo>
                <a:lnTo>
                  <a:pt x="10287000" y="0"/>
                </a:lnTo>
                <a:lnTo>
                  <a:pt x="10287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7" name="Freeform 7"/>
          <p:cNvSpPr/>
          <p:nvPr/>
        </p:nvSpPr>
        <p:spPr>
          <a:xfrm>
            <a:off x="7338048" y="876336"/>
            <a:ext cx="1335769" cy="1335769"/>
          </a:xfrm>
          <a:custGeom>
            <a:avLst/>
            <a:gdLst/>
            <a:ahLst/>
            <a:cxnLst/>
            <a:rect l="l" t="t" r="r" b="b"/>
            <a:pathLst>
              <a:path w="2003654" h="2003654">
                <a:moveTo>
                  <a:pt x="0" y="0"/>
                </a:moveTo>
                <a:lnTo>
                  <a:pt x="2003654" y="0"/>
                </a:lnTo>
                <a:lnTo>
                  <a:pt x="2003654" y="2003654"/>
                </a:lnTo>
                <a:lnTo>
                  <a:pt x="0" y="2003654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8" name="Freeform 8"/>
          <p:cNvSpPr/>
          <p:nvPr/>
        </p:nvSpPr>
        <p:spPr>
          <a:xfrm>
            <a:off x="10572657" y="2057400"/>
            <a:ext cx="1360615" cy="1217750"/>
          </a:xfrm>
          <a:custGeom>
            <a:avLst/>
            <a:gdLst/>
            <a:ahLst/>
            <a:cxnLst/>
            <a:rect l="l" t="t" r="r" b="b"/>
            <a:pathLst>
              <a:path w="2040922" h="1826625">
                <a:moveTo>
                  <a:pt x="0" y="0"/>
                </a:moveTo>
                <a:lnTo>
                  <a:pt x="2040922" y="0"/>
                </a:lnTo>
                <a:lnTo>
                  <a:pt x="2040922" y="1826625"/>
                </a:lnTo>
                <a:lnTo>
                  <a:pt x="0" y="1826625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9" name="Freeform 9"/>
          <p:cNvSpPr/>
          <p:nvPr/>
        </p:nvSpPr>
        <p:spPr>
          <a:xfrm>
            <a:off x="8856152" y="1544221"/>
            <a:ext cx="1457776" cy="1047777"/>
          </a:xfrm>
          <a:custGeom>
            <a:avLst/>
            <a:gdLst/>
            <a:ahLst/>
            <a:cxnLst/>
            <a:rect l="l" t="t" r="r" b="b"/>
            <a:pathLst>
              <a:path w="2186664" h="1571665">
                <a:moveTo>
                  <a:pt x="0" y="0"/>
                </a:moveTo>
                <a:lnTo>
                  <a:pt x="2186664" y="0"/>
                </a:lnTo>
                <a:lnTo>
                  <a:pt x="2186664" y="1571665"/>
                </a:lnTo>
                <a:lnTo>
                  <a:pt x="0" y="1571665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10" name="TextBox 10"/>
          <p:cNvSpPr txBox="1"/>
          <p:nvPr/>
        </p:nvSpPr>
        <p:spPr>
          <a:xfrm>
            <a:off x="6298903" y="243705"/>
            <a:ext cx="6223832" cy="4420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632"/>
              </a:lnSpc>
            </a:pPr>
            <a:r>
              <a:rPr lang="en-US" sz="2594">
                <a:solidFill>
                  <a:srgbClr val="AECADF"/>
                </a:solidFill>
                <a:latin typeface="Canva Sans Bold"/>
              </a:rPr>
              <a:t>UPCOMING OPPORTUNITY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6311603" y="250055"/>
            <a:ext cx="6223832" cy="4420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632"/>
              </a:lnSpc>
            </a:pPr>
            <a:r>
              <a:rPr lang="en-US" sz="2594">
                <a:solidFill>
                  <a:srgbClr val="AECADF"/>
                </a:solidFill>
                <a:latin typeface="Canva Sans Bold"/>
              </a:rPr>
              <a:t>UPCOMING OPPORTUNITY</a:t>
            </a:r>
          </a:p>
        </p:txBody>
      </p:sp>
    </p:spTree>
    <p:extLst>
      <p:ext uri="{BB962C8B-B14F-4D97-AF65-F5344CB8AC3E}">
        <p14:creationId xmlns:p14="http://schemas.microsoft.com/office/powerpoint/2010/main" val="399950394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F18D7A-43BA-6694-92BB-52CBF2060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250" y="572616"/>
            <a:ext cx="7405757" cy="1336606"/>
          </a:xfrm>
        </p:spPr>
        <p:txBody>
          <a:bodyPr/>
          <a:lstStyle/>
          <a:p>
            <a:r>
              <a:rPr lang="en-US" sz="3200">
                <a:latin typeface="Aptos Display"/>
                <a:ea typeface="Lato Medium"/>
                <a:cs typeface="Lato Medium"/>
              </a:rPr>
              <a:t>Diversity Science</a:t>
            </a:r>
            <a:br>
              <a:rPr lang="en-US" sz="3200">
                <a:latin typeface="Aptos Display"/>
                <a:ea typeface="Lato Medium"/>
                <a:cs typeface="Lato Medium"/>
              </a:rPr>
            </a:br>
            <a:r>
              <a:rPr lang="en-US" sz="3200" i="1">
                <a:latin typeface="Aptos Display"/>
                <a:ea typeface="Lato Medium"/>
                <a:cs typeface="Lato Medium"/>
              </a:rPr>
              <a:t>Dignity in Pregnancy &amp; Childbirth: Preventing Racial Bias in Perinatal Care</a:t>
            </a:r>
            <a:endParaRPr lang="en-US" sz="3200" i="1">
              <a:latin typeface="Aptos Display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CB37E0-D0DD-5D32-723C-8FFFF1B11D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6056" y="1700232"/>
            <a:ext cx="6566453" cy="3917288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US">
              <a:latin typeface="Aptos Display"/>
            </a:endParaRPr>
          </a:p>
          <a:p>
            <a:r>
              <a:rPr lang="en-US">
                <a:solidFill>
                  <a:srgbClr val="0D2C4C"/>
                </a:solidFill>
                <a:latin typeface="Aptos Display"/>
                <a:ea typeface="+mn-lt"/>
                <a:cs typeface="+mn-lt"/>
              </a:rPr>
              <a:t>Diversity Science includes courses that empower clinicians, providers, and healthcare organizations to achieve their mission of providing bias-free, high-quality care to all patients.</a:t>
            </a:r>
            <a:endParaRPr lang="en-US">
              <a:latin typeface="Aptos Display"/>
              <a:ea typeface="Lato"/>
              <a:cs typeface="Lato"/>
            </a:endParaRPr>
          </a:p>
          <a:p>
            <a:r>
              <a:rPr lang="en-US" b="1">
                <a:latin typeface="Aptos Display"/>
                <a:ea typeface="Lato"/>
                <a:cs typeface="Lato"/>
              </a:rPr>
              <a:t>ILPQC has been able to work with Diversity Science to allow Hospital teams to integrate the modules in e-learning systems.</a:t>
            </a:r>
            <a:endParaRPr lang="en-US" b="1">
              <a:latin typeface="Aptos Display"/>
            </a:endParaRPr>
          </a:p>
          <a:p>
            <a:r>
              <a:rPr lang="en-US">
                <a:latin typeface="Aptos Display"/>
                <a:ea typeface="Lato"/>
                <a:cs typeface="Lato"/>
              </a:rPr>
              <a:t>We will follow up soon with more information!</a:t>
            </a:r>
            <a:endParaRPr lang="en-US">
              <a:latin typeface="Aptos Display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16904B-7A10-4CE1-1906-FAD29EAE9F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4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8951A9-0E93-9EB9-E0A5-C488F5062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A7BC3A8-74CA-A980-C709-FCBC5D47169C}"/>
              </a:ext>
            </a:extLst>
          </p:cNvPr>
          <p:cNvSpPr/>
          <p:nvPr/>
        </p:nvSpPr>
        <p:spPr>
          <a:xfrm>
            <a:off x="8231286" y="3429124"/>
            <a:ext cx="3434521" cy="227495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latin typeface="Aptos Display"/>
                <a:ea typeface="Calibri"/>
                <a:cs typeface="Calibri"/>
              </a:rPr>
              <a:t>COMING SOON!!!</a:t>
            </a:r>
            <a:endParaRPr lang="en-US" sz="2400">
              <a:latin typeface="Aptos Display"/>
              <a:ea typeface="Calibri" panose="020F0502020204030204"/>
              <a:cs typeface="Calibri" panose="020F0502020204030204"/>
            </a:endParaRPr>
          </a:p>
        </p:txBody>
      </p:sp>
      <p:pic>
        <p:nvPicPr>
          <p:cNvPr id="7" name="Picture 6" descr="A blue and white logo&#10;&#10;Description automatically generated">
            <a:extLst>
              <a:ext uri="{FF2B5EF4-FFF2-40B4-BE49-F238E27FC236}">
                <a16:creationId xmlns:a16="http://schemas.microsoft.com/office/drawing/2014/main" id="{8BCB66FF-B5D6-7E35-9EBC-FF6AF291BFE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54892" y="1699419"/>
            <a:ext cx="3190787" cy="146357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128301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79978-6647-EDE0-87A0-C3A213094B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ptos"/>
                <a:ea typeface="Lato Medium"/>
                <a:cs typeface="Prompt Bold"/>
              </a:rPr>
              <a:t>2024 Face-to-Face Meeting</a:t>
            </a:r>
            <a:endParaRPr lang="en-US">
              <a:latin typeface="DM Sans"/>
              <a:cs typeface="Prompt Bold"/>
            </a:endParaRPr>
          </a:p>
        </p:txBody>
      </p:sp>
    </p:spTree>
    <p:extLst>
      <p:ext uri="{BB962C8B-B14F-4D97-AF65-F5344CB8AC3E}">
        <p14:creationId xmlns:p14="http://schemas.microsoft.com/office/powerpoint/2010/main" val="355896016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FC3E6-8E03-4AD0-DC5A-624DF52B6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Other ESSI Information</a:t>
            </a:r>
          </a:p>
        </p:txBody>
      </p:sp>
    </p:spTree>
    <p:extLst>
      <p:ext uri="{BB962C8B-B14F-4D97-AF65-F5344CB8AC3E}">
        <p14:creationId xmlns:p14="http://schemas.microsoft.com/office/powerpoint/2010/main" val="134178383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E3F33-C3B5-E055-DCEE-2F9C85028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22" y="383940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Data Collection Timelines</a:t>
            </a:r>
            <a:endParaRPr lang="en-US" b="1">
              <a:solidFill>
                <a:srgbClr val="1C498B"/>
              </a:solidFill>
              <a:latin typeface="DM San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FB859F-8E0E-956F-2CC7-6B79360725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400109"/>
            <a:ext cx="7007355" cy="4620279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</a:pPr>
            <a:endParaRPr lang="en-US" b="1">
              <a:latin typeface="DM Sans"/>
              <a:ea typeface="Lato"/>
              <a:cs typeface="Lato"/>
            </a:endParaRPr>
          </a:p>
          <a:p>
            <a:pPr>
              <a:lnSpc>
                <a:spcPct val="100000"/>
              </a:lnSpc>
            </a:pPr>
            <a:r>
              <a:rPr lang="en-US">
                <a:latin typeface="DM Sans"/>
                <a:ea typeface="Lato"/>
                <a:cs typeface="Calibri"/>
              </a:rPr>
              <a:t>Active initiative data, due on the final day of the following month:</a:t>
            </a:r>
          </a:p>
          <a:p>
            <a:pPr lvl="1">
              <a:lnSpc>
                <a:spcPct val="100000"/>
              </a:lnSpc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 b="1" i="1">
                <a:latin typeface="DM Sans"/>
                <a:ea typeface="Lato"/>
                <a:cs typeface="Calibri"/>
              </a:rPr>
              <a:t>May</a:t>
            </a:r>
            <a:r>
              <a:rPr lang="en-US">
                <a:latin typeface="DM Sans"/>
                <a:ea typeface="Lato"/>
                <a:cs typeface="Calibri"/>
              </a:rPr>
              <a:t> Data Due </a:t>
            </a: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Calibri"/>
              </a:rPr>
              <a:t>June 30th</a:t>
            </a:r>
          </a:p>
          <a:p>
            <a:pPr lvl="1">
              <a:lnSpc>
                <a:spcPct val="100000"/>
              </a:lnSpc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 b="1" i="1">
                <a:latin typeface="DM Sans"/>
                <a:ea typeface="Lato"/>
                <a:cs typeface="Calibri"/>
              </a:rPr>
              <a:t>June</a:t>
            </a:r>
            <a:r>
              <a:rPr lang="en-US">
                <a:latin typeface="DM Sans"/>
                <a:ea typeface="Lato"/>
                <a:cs typeface="Calibri"/>
              </a:rPr>
              <a:t> Data Due </a:t>
            </a: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Calibri"/>
              </a:rPr>
              <a:t>July 31st</a:t>
            </a:r>
          </a:p>
          <a:p>
            <a:pPr marL="457200" lvl="1" indent="0">
              <a:lnSpc>
                <a:spcPct val="100000"/>
              </a:lnSpc>
              <a:buClr>
                <a:srgbClr val="1C498B"/>
              </a:buClr>
              <a:buNone/>
            </a:pPr>
            <a:endParaRPr lang="en-US">
              <a:solidFill>
                <a:srgbClr val="000000"/>
              </a:solidFill>
              <a:latin typeface="DM Sans"/>
              <a:ea typeface="Lato"/>
              <a:cs typeface="Calibri"/>
            </a:endParaRPr>
          </a:p>
          <a:p>
            <a:pPr marL="0" indent="0" algn="ctr">
              <a:lnSpc>
                <a:spcPct val="100000"/>
              </a:lnSpc>
              <a:buNone/>
            </a:pPr>
            <a:endParaRPr lang="en-US" b="1">
              <a:solidFill>
                <a:srgbClr val="FF0000"/>
              </a:solidFill>
              <a:latin typeface="DM Sans"/>
              <a:ea typeface="Lato"/>
              <a:cs typeface="Lato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8FBD2C-EF0D-27DE-A30C-E3B2A26CD6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51</a:t>
            </a:fld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BEB7261-6CAD-A586-63E2-7EFA2E7C8857}"/>
              </a:ext>
            </a:extLst>
          </p:cNvPr>
          <p:cNvSpPr/>
          <p:nvPr/>
        </p:nvSpPr>
        <p:spPr>
          <a:xfrm>
            <a:off x="7953892" y="1399422"/>
            <a:ext cx="3950389" cy="4200386"/>
          </a:xfrm>
          <a:prstGeom prst="roundRect">
            <a:avLst/>
          </a:prstGeom>
          <a:solidFill>
            <a:srgbClr val="1C498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000" b="1">
                <a:latin typeface="DM Sans"/>
                <a:cs typeface="Calibri"/>
              </a:rPr>
              <a:t> Need clarification about ESSI Data? </a:t>
            </a:r>
            <a:endParaRPr lang="en-US" sz="3000">
              <a:latin typeface="DM Sans"/>
            </a:endParaRPr>
          </a:p>
          <a:p>
            <a:pPr algn="ctr"/>
            <a:r>
              <a:rPr lang="en-US" sz="3000" b="1">
                <a:latin typeface="DM Sans"/>
                <a:cs typeface="Calibri"/>
              </a:rPr>
              <a:t>Watch the ESSI Data training Webinar recording</a:t>
            </a:r>
            <a:endParaRPr lang="en-US" sz="3000">
              <a:latin typeface="DM Sans"/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264C5B4-96BC-52D9-4761-56A7E9B3FF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  <p:pic>
        <p:nvPicPr>
          <p:cNvPr id="5" name="Graphic 4" descr="Questions outline">
            <a:extLst>
              <a:ext uri="{FF2B5EF4-FFF2-40B4-BE49-F238E27FC236}">
                <a16:creationId xmlns:a16="http://schemas.microsoft.com/office/drawing/2014/main" id="{8B33EB59-604B-4C20-B41F-710AE570BE3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52800" y="580124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15361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077361C6-D61B-01FB-26AC-2991111038D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83263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C5E7BCD-AD66-994A-F0EA-59973C2F518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3</a:t>
            </a:fld>
            <a:endParaRPr lang="en-US"/>
          </a:p>
        </p:txBody>
      </p:sp>
      <p:pic>
        <p:nvPicPr>
          <p:cNvPr id="4" name="Picture 3" descr="A poster for a computer event&#10;&#10;Description automatically generated">
            <a:extLst>
              <a:ext uri="{FF2B5EF4-FFF2-40B4-BE49-F238E27FC236}">
                <a16:creationId xmlns:a16="http://schemas.microsoft.com/office/drawing/2014/main" id="{8432E14B-8482-86A3-AB64-CCD5BC0D6B1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28199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-62912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40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 Two ESSI Data Forms</a:t>
            </a:r>
            <a:endParaRPr lang="en-US" sz="4000" b="1">
              <a:solidFill>
                <a:srgbClr val="1C498B"/>
              </a:solidFill>
              <a:latin typeface="DM Sans"/>
            </a:endParaRP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D93EF601-CA84-ECB1-08DF-C8BAEC274FE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77975318"/>
              </p:ext>
            </p:extLst>
          </p:nvPr>
        </p:nvGraphicFramePr>
        <p:xfrm>
          <a:off x="609600" y="1215516"/>
          <a:ext cx="11255021" cy="51408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6" name="Graphic 45" descr="Hospital with solid fill">
            <a:extLst>
              <a:ext uri="{FF2B5EF4-FFF2-40B4-BE49-F238E27FC236}">
                <a16:creationId xmlns:a16="http://schemas.microsoft.com/office/drawing/2014/main" id="{5E04828F-545E-7B88-1CDE-A6B8BD1213E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7476" y="805257"/>
            <a:ext cx="914400" cy="914400"/>
          </a:xfrm>
          <a:prstGeom prst="rect">
            <a:avLst/>
          </a:prstGeom>
        </p:spPr>
      </p:pic>
      <p:pic>
        <p:nvPicPr>
          <p:cNvPr id="47" name="Graphic 46" descr="Baby with solid fill">
            <a:extLst>
              <a:ext uri="{FF2B5EF4-FFF2-40B4-BE49-F238E27FC236}">
                <a16:creationId xmlns:a16="http://schemas.microsoft.com/office/drawing/2014/main" id="{C13E9A9E-F1C1-0883-4F89-871783B27D2F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52835" y="925279"/>
            <a:ext cx="914400" cy="914400"/>
          </a:xfrm>
          <a:prstGeom prst="rect">
            <a:avLst/>
          </a:prstGeom>
        </p:spPr>
      </p:pic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7BC6E56A-CF12-B196-067F-25EE24D1B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176018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AD3F6-4276-9857-871F-5D56FB426C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610D5-0922-E3FB-2E32-5E2628A0D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267" y="606414"/>
            <a:ext cx="10972800" cy="1325563"/>
          </a:xfrm>
        </p:spPr>
        <p:txBody>
          <a:bodyPr/>
          <a:lstStyle/>
          <a:p>
            <a:r>
              <a:rPr lang="en-US">
                <a:solidFill>
                  <a:srgbClr val="F37150"/>
                </a:solidFill>
                <a:latin typeface="DM Sans"/>
                <a:ea typeface="Lato Medium"/>
                <a:cs typeface="Lato Medium"/>
              </a:rPr>
              <a:t>Upcoming ESSI Calls</a:t>
            </a:r>
            <a:endParaRPr lang="en-US">
              <a:solidFill>
                <a:srgbClr val="F37150"/>
              </a:solidFill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4628E-DEC7-C9E6-9EF3-F80B5E996A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55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742BC3D-6CDA-121F-6028-CA1546518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8368D356-AA78-0044-7D99-8A3664F5135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24644767"/>
              </p:ext>
            </p:extLst>
          </p:nvPr>
        </p:nvGraphicFramePr>
        <p:xfrm>
          <a:off x="838200" y="1825625"/>
          <a:ext cx="10515600" cy="3259455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257800">
                  <a:extLst>
                    <a:ext uri="{9D8B030D-6E8A-4147-A177-3AD203B41FA5}">
                      <a16:colId xmlns:a16="http://schemas.microsoft.com/office/drawing/2014/main" val="1671499887"/>
                    </a:ext>
                  </a:extLst>
                </a:gridCol>
                <a:gridCol w="5257800">
                  <a:extLst>
                    <a:ext uri="{9D8B030D-6E8A-4147-A177-3AD203B41FA5}">
                      <a16:colId xmlns:a16="http://schemas.microsoft.com/office/drawing/2014/main" val="1139397189"/>
                    </a:ext>
                  </a:extLst>
                </a:gridCol>
              </a:tblGrid>
              <a:tr h="942975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 b="1">
                          <a:solidFill>
                            <a:srgbClr val="FFFFFF"/>
                          </a:solidFill>
                          <a:effectLst/>
                          <a:highlight>
                            <a:srgbClr val="ED7D31"/>
                          </a:highlight>
                          <a:latin typeface="DM Sans"/>
                        </a:rPr>
                        <a:t>Date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  <a:highlight>
                          <a:srgbClr val="ED7D31"/>
                        </a:highlight>
                        <a:latin typeface="DM San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 b="1">
                          <a:solidFill>
                            <a:srgbClr val="FFFFFF"/>
                          </a:solidFill>
                          <a:effectLst/>
                          <a:highlight>
                            <a:srgbClr val="ED7D31"/>
                          </a:highlight>
                          <a:latin typeface="DM Sans"/>
                        </a:rPr>
                        <a:t>Topic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  <a:highlight>
                          <a:srgbClr val="ED7D31"/>
                        </a:highlight>
                        <a:latin typeface="DM San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473551"/>
                  </a:ext>
                </a:extLst>
              </a:tr>
              <a:tr h="857250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 b="1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/>
                        </a:rPr>
                        <a:t>July 15th, 2024</a:t>
                      </a:r>
                      <a:endParaRPr lang="en-US">
                        <a:effectLst/>
                        <a:highlight>
                          <a:srgbClr val="CCD2D8"/>
                        </a:highlight>
                        <a:latin typeface="DM Sans"/>
                      </a:endParaRPr>
                    </a:p>
                  </a:txBody>
                  <a:tcPr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2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/>
                        </a:rPr>
                        <a:t>Using Qualified Interpreters and Providing Information in Multiple Languages</a:t>
                      </a:r>
                      <a:endParaRPr lang="en-US">
                        <a:effectLst/>
                        <a:highlight>
                          <a:srgbClr val="CCD2D8"/>
                        </a:highlight>
                        <a:latin typeface="DM San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2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7079622"/>
                  </a:ext>
                </a:extLst>
              </a:tr>
              <a:tr h="85725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1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/>
                        </a:rPr>
                        <a:t>August 19th, 2024</a:t>
                      </a:r>
                    </a:p>
                  </a:txBody>
                  <a:tcPr>
                    <a:lnL w="9524">
                      <a:solidFill>
                        <a:srgbClr val="FFFFFF"/>
                      </a:solidFill>
                    </a:lnL>
                    <a:lnR w="9524">
                      <a:solidFill>
                        <a:srgbClr val="FFFFFF"/>
                      </a:solidFill>
                    </a:lnR>
                    <a:lnT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4">
                      <a:solidFill>
                        <a:srgbClr val="FFFFFF"/>
                      </a:solidFill>
                    </a:lnB>
                    <a:solidFill>
                      <a:srgbClr val="CCD2D8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/>
                        </a:rPr>
                        <a:t>Listening to Families and Respectful Care</a:t>
                      </a:r>
                    </a:p>
                  </a:txBody>
                  <a:tcPr anchor="ctr">
                    <a:lnL w="9524">
                      <a:solidFill>
                        <a:srgbClr val="FFFFFF"/>
                      </a:solidFill>
                    </a:lnL>
                    <a:lnR w="9524">
                      <a:solidFill>
                        <a:srgbClr val="FFFFFF"/>
                      </a:solidFill>
                    </a:lnR>
                    <a:lnT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4">
                      <a:solidFill>
                        <a:srgbClr val="FFFFFF"/>
                      </a:solidFill>
                    </a:lnB>
                    <a:solidFill>
                      <a:srgbClr val="CCD2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0958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763465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4" name="Google Shape;12724;p119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900"/>
              <a:buNone/>
            </a:pPr>
            <a:fld id="{00000000-1234-1234-1234-123412341234}" type="slidenum">
              <a:rPr lang="en-US" dirty="0"/>
              <a:t>56</a:t>
            </a:fld>
            <a:endParaRPr/>
          </a:p>
        </p:txBody>
      </p:sp>
      <p:sp>
        <p:nvSpPr>
          <p:cNvPr id="12728" name="Google Shape;12728;p1192"/>
          <p:cNvSpPr/>
          <p:nvPr/>
        </p:nvSpPr>
        <p:spPr>
          <a:xfrm>
            <a:off x="6789513" y="-90"/>
            <a:ext cx="5391508" cy="1437735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80BDAA27-2B2B-7C1B-EFFA-E96DF2430B73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  <p:pic>
        <p:nvPicPr>
          <p:cNvPr id="2" name="Picture 1" descr="A text on a black background&#10;&#10;Description automatically generated">
            <a:extLst>
              <a:ext uri="{FF2B5EF4-FFF2-40B4-BE49-F238E27FC236}">
                <a16:creationId xmlns:a16="http://schemas.microsoft.com/office/drawing/2014/main" id="{D0575878-0118-6365-B65E-443B258D864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8528" y="2764"/>
            <a:ext cx="12315566" cy="688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6481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17C540-50B7-3413-BA9D-9C48C225A8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526C160-4BBC-ADEB-0F2D-A0CD7ACDE69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 descr="A group of clipboards with text&#10;&#10;Description automatically generated">
            <a:extLst>
              <a:ext uri="{FF2B5EF4-FFF2-40B4-BE49-F238E27FC236}">
                <a16:creationId xmlns:a16="http://schemas.microsoft.com/office/drawing/2014/main" id="{3E3A5999-33C1-60D3-A420-7F673E58D87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2195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86612012-B54E-4301-A67F-F656371F748C}"/>
              </a:ext>
            </a:extLst>
          </p:cNvPr>
          <p:cNvSpPr/>
          <p:nvPr/>
        </p:nvSpPr>
        <p:spPr>
          <a:xfrm>
            <a:off x="6663764" y="-277"/>
            <a:ext cx="5635037" cy="16557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reeform 5"/>
          <p:cNvSpPr/>
          <p:nvPr/>
        </p:nvSpPr>
        <p:spPr>
          <a:xfrm rot="4920000">
            <a:off x="-1182930" y="4551975"/>
            <a:ext cx="2707577" cy="2873196"/>
          </a:xfrm>
          <a:custGeom>
            <a:avLst/>
            <a:gdLst/>
            <a:ahLst/>
            <a:cxnLst/>
            <a:rect l="l" t="t" r="r" b="b"/>
            <a:pathLst>
              <a:path w="4061366" h="4309794">
                <a:moveTo>
                  <a:pt x="0" y="0"/>
                </a:moveTo>
                <a:lnTo>
                  <a:pt x="4061366" y="0"/>
                </a:lnTo>
                <a:lnTo>
                  <a:pt x="4061366" y="4309794"/>
                </a:lnTo>
                <a:lnTo>
                  <a:pt x="0" y="4309794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grpSp>
        <p:nvGrpSpPr>
          <p:cNvPr id="9" name="Group 9"/>
          <p:cNvGrpSpPr/>
          <p:nvPr/>
        </p:nvGrpSpPr>
        <p:grpSpPr>
          <a:xfrm>
            <a:off x="-4411800" y="1921533"/>
            <a:ext cx="40267" cy="16167"/>
            <a:chOff x="0" y="0"/>
            <a:chExt cx="80533" cy="32333"/>
          </a:xfrm>
        </p:grpSpPr>
        <p:sp>
          <p:nvSpPr>
            <p:cNvPr id="10" name="Freeform 10"/>
            <p:cNvSpPr/>
            <p:nvPr/>
          </p:nvSpPr>
          <p:spPr>
            <a:xfrm>
              <a:off x="0" y="127"/>
              <a:ext cx="80391" cy="32258"/>
            </a:xfrm>
            <a:custGeom>
              <a:avLst/>
              <a:gdLst/>
              <a:ahLst/>
              <a:cxnLst/>
              <a:rect l="l" t="t" r="r" b="b"/>
              <a:pathLst>
                <a:path w="80391" h="32258">
                  <a:moveTo>
                    <a:pt x="6096" y="0"/>
                  </a:moveTo>
                  <a:cubicBezTo>
                    <a:pt x="0" y="22733"/>
                    <a:pt x="32639" y="32258"/>
                    <a:pt x="57785" y="32258"/>
                  </a:cubicBezTo>
                  <a:cubicBezTo>
                    <a:pt x="67183" y="32258"/>
                    <a:pt x="75565" y="30988"/>
                    <a:pt x="80391" y="28448"/>
                  </a:cubicBezTo>
                  <a:lnTo>
                    <a:pt x="609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sp>
        <p:nvSpPr>
          <p:cNvPr id="11" name="TextBox 11"/>
          <p:cNvSpPr txBox="1"/>
          <p:nvPr/>
        </p:nvSpPr>
        <p:spPr>
          <a:xfrm>
            <a:off x="786542" y="1714685"/>
            <a:ext cx="5060459" cy="69249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5400"/>
              </a:lnSpc>
            </a:pPr>
            <a:r>
              <a:rPr lang="en-US" sz="4500" b="1">
                <a:solidFill>
                  <a:srgbClr val="024996"/>
                </a:solidFill>
                <a:latin typeface="Aptos"/>
                <a:cs typeface="Dreaming Outloud Script Pro"/>
              </a:rPr>
              <a:t>ESSI Resources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454836" y="2486971"/>
            <a:ext cx="5181872" cy="243066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40"/>
              </a:lnSpc>
            </a:pPr>
            <a:endParaRPr lang="en-US" sz="2000" b="1">
              <a:solidFill>
                <a:srgbClr val="024996"/>
              </a:solidFill>
              <a:latin typeface="Aptos"/>
            </a:endParaRPr>
          </a:p>
          <a:p>
            <a:pPr marL="647700" lvl="1" indent="-323850">
              <a:lnSpc>
                <a:spcPts val="3240"/>
              </a:lnSpc>
              <a:buFont typeface="Arial"/>
              <a:buChar char="•"/>
            </a:pPr>
            <a:r>
              <a:rPr lang="en-US" sz="2000" b="1">
                <a:solidFill>
                  <a:srgbClr val="024996"/>
                </a:solidFill>
                <a:latin typeface="Aptos"/>
              </a:rPr>
              <a:t>ILPQC Initiative and ESSI Key Strategies Poster  </a:t>
            </a:r>
          </a:p>
          <a:p>
            <a:pPr marL="1295400" lvl="2" indent="-431800" algn="l">
              <a:lnSpc>
                <a:spcPts val="3240"/>
              </a:lnSpc>
              <a:buFont typeface="Arial"/>
              <a:buChar char="⚬"/>
            </a:pPr>
            <a:r>
              <a:rPr lang="en-US" sz="2000" b="1">
                <a:solidFill>
                  <a:schemeClr val="accent2"/>
                </a:solidFill>
                <a:latin typeface="Aptos"/>
              </a:rPr>
              <a:t>English and Spanish</a:t>
            </a:r>
          </a:p>
          <a:p>
            <a:pPr marL="647700" lvl="1" indent="-323850">
              <a:lnSpc>
                <a:spcPts val="3240"/>
              </a:lnSpc>
              <a:buFont typeface="Arial"/>
              <a:buChar char="•"/>
            </a:pPr>
            <a:r>
              <a:rPr lang="en-US" sz="2000" b="1">
                <a:solidFill>
                  <a:srgbClr val="024996"/>
                </a:solidFill>
                <a:latin typeface="Aptos"/>
              </a:rPr>
              <a:t>ILPQC ESSI Respectful Care Practices </a:t>
            </a:r>
          </a:p>
          <a:p>
            <a:pPr marL="1295400" lvl="2" indent="-431800" algn="l">
              <a:lnSpc>
                <a:spcPts val="3240"/>
              </a:lnSpc>
              <a:buFont typeface="Arial"/>
              <a:buChar char="⚬"/>
            </a:pPr>
            <a:r>
              <a:rPr lang="en-US" sz="2000" b="1">
                <a:solidFill>
                  <a:schemeClr val="accent2"/>
                </a:solidFill>
                <a:latin typeface="Aptos"/>
              </a:rPr>
              <a:t>English and Spanish</a:t>
            </a:r>
          </a:p>
        </p:txBody>
      </p:sp>
      <p:sp>
        <p:nvSpPr>
          <p:cNvPr id="14" name="Freeform 14"/>
          <p:cNvSpPr/>
          <p:nvPr/>
        </p:nvSpPr>
        <p:spPr>
          <a:xfrm>
            <a:off x="5097071" y="5747418"/>
            <a:ext cx="1068164" cy="967353"/>
          </a:xfrm>
          <a:custGeom>
            <a:avLst/>
            <a:gdLst/>
            <a:ahLst/>
            <a:cxnLst/>
            <a:rect l="l" t="t" r="r" b="b"/>
            <a:pathLst>
              <a:path w="1602246" h="1451030">
                <a:moveTo>
                  <a:pt x="0" y="0"/>
                </a:moveTo>
                <a:lnTo>
                  <a:pt x="1602246" y="0"/>
                </a:lnTo>
                <a:lnTo>
                  <a:pt x="1602246" y="1451030"/>
                </a:lnTo>
                <a:lnTo>
                  <a:pt x="0" y="1451030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19" name="Freeform 8">
            <a:extLst>
              <a:ext uri="{FF2B5EF4-FFF2-40B4-BE49-F238E27FC236}">
                <a16:creationId xmlns:a16="http://schemas.microsoft.com/office/drawing/2014/main" id="{DDB7BE00-04B2-F19A-5472-E6EC94573581}"/>
              </a:ext>
            </a:extLst>
          </p:cNvPr>
          <p:cNvSpPr/>
          <p:nvPr/>
        </p:nvSpPr>
        <p:spPr>
          <a:xfrm>
            <a:off x="-2662" y="545"/>
            <a:ext cx="2418504" cy="1201436"/>
          </a:xfrm>
          <a:custGeom>
            <a:avLst/>
            <a:gdLst/>
            <a:ahLst/>
            <a:cxnLst/>
            <a:rect l="l" t="t" r="r" b="b"/>
            <a:pathLst>
              <a:path w="2312452" h="1161365">
                <a:moveTo>
                  <a:pt x="0" y="0"/>
                </a:moveTo>
                <a:lnTo>
                  <a:pt x="2312452" y="0"/>
                </a:lnTo>
                <a:lnTo>
                  <a:pt x="2312452" y="1161365"/>
                </a:lnTo>
                <a:lnTo>
                  <a:pt x="0" y="1161365"/>
                </a:lnTo>
                <a:lnTo>
                  <a:pt x="0" y="0"/>
                </a:lnTo>
                <a:close/>
              </a:path>
            </a:pathLst>
          </a:custGeom>
          <a:blipFill>
            <a:blip r:embed="rId7"/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pic>
        <p:nvPicPr>
          <p:cNvPr id="18" name="Picture 17" descr="A screenshot of a web page&#10;&#10;Description automatically generated">
            <a:extLst>
              <a:ext uri="{FF2B5EF4-FFF2-40B4-BE49-F238E27FC236}">
                <a16:creationId xmlns:a16="http://schemas.microsoft.com/office/drawing/2014/main" id="{E48C3FB6-D659-DC91-51C3-6AAD952B20AC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2184" y="-331"/>
            <a:ext cx="5795804" cy="4114800"/>
          </a:xfrm>
          <a:prstGeom prst="rect">
            <a:avLst/>
          </a:prstGeom>
        </p:spPr>
      </p:pic>
      <p:pic>
        <p:nvPicPr>
          <p:cNvPr id="20" name="Picture 19" descr="A white text on a blue background&#10;&#10;Description automatically generated">
            <a:extLst>
              <a:ext uri="{FF2B5EF4-FFF2-40B4-BE49-F238E27FC236}">
                <a16:creationId xmlns:a16="http://schemas.microsoft.com/office/drawing/2014/main" id="{BC1D4C0B-6BF8-33B4-2A28-A3CB82587A0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69"/>
          <a:stretch/>
        </p:blipFill>
        <p:spPr>
          <a:xfrm>
            <a:off x="6502792" y="4118180"/>
            <a:ext cx="5791183" cy="2785542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BE33070D-2238-87A3-502F-8CE4E356DE99}"/>
              </a:ext>
            </a:extLst>
          </p:cNvPr>
          <p:cNvSpPr txBox="1"/>
          <p:nvPr/>
        </p:nvSpPr>
        <p:spPr>
          <a:xfrm>
            <a:off x="6930189" y="1026694"/>
            <a:ext cx="5165557" cy="545431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57D3733-E75E-113B-15E4-34687EE10382}"/>
              </a:ext>
            </a:extLst>
          </p:cNvPr>
          <p:cNvSpPr txBox="1"/>
          <p:nvPr/>
        </p:nvSpPr>
        <p:spPr>
          <a:xfrm>
            <a:off x="7028061" y="4913593"/>
            <a:ext cx="5165557" cy="545431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42212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6489B5F-85CD-5C54-66CF-8FFE930EA5E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8</a:t>
            </a:fld>
            <a:endParaRPr lang="en-US"/>
          </a:p>
        </p:txBody>
      </p:sp>
      <p:pic>
        <p:nvPicPr>
          <p:cNvPr id="3" name="Picture 2" descr="A brochure of a baby&#10;&#10;Description automatically generated">
            <a:extLst>
              <a:ext uri="{FF2B5EF4-FFF2-40B4-BE49-F238E27FC236}">
                <a16:creationId xmlns:a16="http://schemas.microsoft.com/office/drawing/2014/main" id="{BCB70EE3-F9DA-3439-CD4F-9F66721BEB4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8170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F84264B-A672-33EE-B7E0-F3532EE9848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 lang="en-US"/>
          </a:p>
        </p:txBody>
      </p:sp>
      <p:sp>
        <p:nvSpPr>
          <p:cNvPr id="5" name="Freeform 13">
            <a:extLst>
              <a:ext uri="{FF2B5EF4-FFF2-40B4-BE49-F238E27FC236}">
                <a16:creationId xmlns:a16="http://schemas.microsoft.com/office/drawing/2014/main" id="{DA3EA908-0CEE-B279-320E-238BED597C74}"/>
              </a:ext>
            </a:extLst>
          </p:cNvPr>
          <p:cNvSpPr/>
          <p:nvPr/>
        </p:nvSpPr>
        <p:spPr>
          <a:xfrm>
            <a:off x="-10312" y="-13086"/>
            <a:ext cx="1416325" cy="662661"/>
          </a:xfrm>
          <a:custGeom>
            <a:avLst/>
            <a:gdLst/>
            <a:ahLst/>
            <a:cxnLst/>
            <a:rect l="l" t="t" r="r" b="b"/>
            <a:pathLst>
              <a:path w="2281371" h="982786">
                <a:moveTo>
                  <a:pt x="0" y="0"/>
                </a:moveTo>
                <a:lnTo>
                  <a:pt x="2281372" y="0"/>
                </a:lnTo>
                <a:lnTo>
                  <a:pt x="2281372" y="982786"/>
                </a:lnTo>
                <a:lnTo>
                  <a:pt x="0" y="982786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4" name="Picture 3" descr="A person holding a baby&#10;&#10;Description automatically generated">
            <a:extLst>
              <a:ext uri="{FF2B5EF4-FFF2-40B4-BE49-F238E27FC236}">
                <a16:creationId xmlns:a16="http://schemas.microsoft.com/office/drawing/2014/main" id="{8FF31569-21C4-97D1-95FF-0C1441FB8A5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" y="-14941"/>
            <a:ext cx="12192000" cy="6858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9B13B12-BE32-CE26-94C3-F58828326948}"/>
              </a:ext>
            </a:extLst>
          </p:cNvPr>
          <p:cNvSpPr txBox="1"/>
          <p:nvPr/>
        </p:nvSpPr>
        <p:spPr>
          <a:xfrm>
            <a:off x="4721891" y="2567277"/>
            <a:ext cx="2743200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600">
                <a:solidFill>
                  <a:srgbClr val="20488E"/>
                </a:solidFill>
                <a:latin typeface="Aptos"/>
              </a:rPr>
              <a:t>Working on translations to </a:t>
            </a:r>
            <a:r>
              <a:rPr lang="en-US" sz="2600" b="1" i="1">
                <a:solidFill>
                  <a:srgbClr val="20488E"/>
                </a:solidFill>
                <a:latin typeface="Aptos"/>
              </a:rPr>
              <a:t>French, Arabic, and more!</a:t>
            </a:r>
          </a:p>
        </p:txBody>
      </p:sp>
    </p:spTree>
    <p:extLst>
      <p:ext uri="{BB962C8B-B14F-4D97-AF65-F5344CB8AC3E}">
        <p14:creationId xmlns:p14="http://schemas.microsoft.com/office/powerpoint/2010/main" val="34510375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Cultural Diversity XL by Slidesgo">
  <a:themeElements>
    <a:clrScheme name="Simple Light">
      <a:dk1>
        <a:srgbClr val="152041"/>
      </a:dk1>
      <a:lt1>
        <a:srgbClr val="FFFFFF"/>
      </a:lt1>
      <a:dk2>
        <a:srgbClr val="243466"/>
      </a:dk2>
      <a:lt2>
        <a:srgbClr val="FFAD80"/>
      </a:lt2>
      <a:accent1>
        <a:srgbClr val="F46440"/>
      </a:accent1>
      <a:accent2>
        <a:srgbClr val="69A1C2"/>
      </a:accent2>
      <a:accent3>
        <a:srgbClr val="FFE7D4"/>
      </a:accent3>
      <a:accent4>
        <a:srgbClr val="6D392F"/>
      </a:accent4>
      <a:accent5>
        <a:srgbClr val="89BDDB"/>
      </a:accent5>
      <a:accent6>
        <a:srgbClr val="FD8860"/>
      </a:accent6>
      <a:hlink>
        <a:srgbClr val="000000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604</Words>
  <Application>Microsoft Macintosh PowerPoint</Application>
  <PresentationFormat>Widescreen</PresentationFormat>
  <Paragraphs>258</Paragraphs>
  <Slides>56</Slides>
  <Notes>30</Notes>
  <HiddenSlides>0</HiddenSlides>
  <MMClips>0</MMClips>
  <ScaleCrop>false</ScaleCrop>
  <HeadingPairs>
    <vt:vector size="8" baseType="variant">
      <vt:variant>
        <vt:lpstr>Fonts Used</vt:lpstr>
      </vt:variant>
      <vt:variant>
        <vt:i4>2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6</vt:i4>
      </vt:variant>
    </vt:vector>
  </HeadingPairs>
  <TitlesOfParts>
    <vt:vector size="88" baseType="lpstr">
      <vt:lpstr>Aptos</vt:lpstr>
      <vt:lpstr>Aptos Display</vt:lpstr>
      <vt:lpstr>Arial</vt:lpstr>
      <vt:lpstr>Bierstadt Display</vt:lpstr>
      <vt:lpstr>Calibri</vt:lpstr>
      <vt:lpstr>Calibri,Sans-Serif</vt:lpstr>
      <vt:lpstr>Canva Sans 2 Bold</vt:lpstr>
      <vt:lpstr>Canva Sans Bold</vt:lpstr>
      <vt:lpstr>Cavolini</vt:lpstr>
      <vt:lpstr>Chelsea Market</vt:lpstr>
      <vt:lpstr>Courier New,monospace</vt:lpstr>
      <vt:lpstr>DM Sans</vt:lpstr>
      <vt:lpstr>DokChampa</vt:lpstr>
      <vt:lpstr>Fira Sans Extra Condensed Medium</vt:lpstr>
      <vt:lpstr>Helvetica Neue</vt:lpstr>
      <vt:lpstr>Helvetica Neue Medium</vt:lpstr>
      <vt:lpstr>Josefin Slab</vt:lpstr>
      <vt:lpstr>Josefin Slab SemiBold</vt:lpstr>
      <vt:lpstr>Kollektif Bold</vt:lpstr>
      <vt:lpstr>Lato Medium</vt:lpstr>
      <vt:lpstr>Noto Sans Symbols</vt:lpstr>
      <vt:lpstr>Nunito Light</vt:lpstr>
      <vt:lpstr>Tenorite</vt:lpstr>
      <vt:lpstr>Times New Roman</vt:lpstr>
      <vt:lpstr>Verdana</vt:lpstr>
      <vt:lpstr>Wingdings</vt:lpstr>
      <vt:lpstr>office theme</vt:lpstr>
      <vt:lpstr>1_Office Theme</vt:lpstr>
      <vt:lpstr>3_Office Theme</vt:lpstr>
      <vt:lpstr>3_Office Theme</vt:lpstr>
      <vt:lpstr>Cultural Diversity XL by Slidesgo</vt:lpstr>
      <vt:lpstr>think-cell Slide</vt:lpstr>
      <vt:lpstr>Equity and Safe Sleep for Infants  </vt:lpstr>
      <vt:lpstr>Overview</vt:lpstr>
      <vt:lpstr>ESSI ABP MOC Part IV </vt:lpstr>
      <vt:lpstr>ATTENDANCE POLL</vt:lpstr>
      <vt:lpstr>2024 Face-to-Face Meet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SSI Aims and Measures</vt:lpstr>
      <vt:lpstr>ESSI Initiative Aims</vt:lpstr>
      <vt:lpstr>PowerPoint Presentation</vt:lpstr>
      <vt:lpstr>Key Driver Diagram</vt:lpstr>
      <vt:lpstr>What is an inclusive clinical environment?</vt:lpstr>
      <vt:lpstr>Why are policies important to an inclusive clinical environment?</vt:lpstr>
      <vt:lpstr>Equitable and Inclusive Unit Policies</vt:lpstr>
      <vt:lpstr>PowerPoint Presentation</vt:lpstr>
      <vt:lpstr>What is health equity?</vt:lpstr>
      <vt:lpstr>What is an equity lens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LL: </vt:lpstr>
      <vt:lpstr>ESSI Homework and Next Steps: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pcoming Opportunities of Interest to ESSI Teams</vt:lpstr>
      <vt:lpstr>PowerPoint Presentation</vt:lpstr>
      <vt:lpstr>PowerPoint Presentation</vt:lpstr>
      <vt:lpstr>Diversity Science Dignity in Pregnancy &amp; Childbirth: Preventing Racial Bias in Perinatal Care</vt:lpstr>
      <vt:lpstr>Other ESSI Information</vt:lpstr>
      <vt:lpstr>Data Collection Timelines</vt:lpstr>
      <vt:lpstr>PowerPoint Presentation</vt:lpstr>
      <vt:lpstr>PowerPoint Presentation</vt:lpstr>
      <vt:lpstr> Two ESSI Data Forms</vt:lpstr>
      <vt:lpstr>Upcoming ESSI Call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ileen Fleming Suse</dc:creator>
  <cp:lastModifiedBy>Kiela Karina Moreno</cp:lastModifiedBy>
  <cp:revision>9</cp:revision>
  <dcterms:created xsi:type="dcterms:W3CDTF">2024-01-25T18:05:32Z</dcterms:created>
  <dcterms:modified xsi:type="dcterms:W3CDTF">2024-06-17T20:09:28Z</dcterms:modified>
</cp:coreProperties>
</file>